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3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4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5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6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7.xml" ContentType="application/vnd.openxmlformats-officedocument.theme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8.xml" ContentType="application/vnd.openxmlformats-officedocument.theme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9.xml" ContentType="application/vnd.openxmlformats-officedocument.theme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theme/theme10.xml" ContentType="application/vnd.openxmlformats-officedocument.theme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theme/theme11.xml" ContentType="application/vnd.openxmlformats-officedocument.theme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theme/theme12.xml" ContentType="application/vnd.openxmlformats-officedocument.theme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theme/theme1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theme/theme14.xml" ContentType="application/vnd.openxmlformats-officedocument.theme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theme/theme15.xml" ContentType="application/vnd.openxmlformats-officedocument.theme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theme/theme16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671" r:id="rId4"/>
    <p:sldMasterId id="2147484731" r:id="rId5"/>
    <p:sldMasterId id="2147484753" r:id="rId6"/>
    <p:sldMasterId id="2147484785" r:id="rId7"/>
    <p:sldMasterId id="2147484805" r:id="rId8"/>
    <p:sldMasterId id="2147484833" r:id="rId9"/>
    <p:sldMasterId id="2147484854" r:id="rId10"/>
    <p:sldMasterId id="2147484878" r:id="rId11"/>
    <p:sldMasterId id="2147484899" r:id="rId12"/>
    <p:sldMasterId id="2147484923" r:id="rId13"/>
    <p:sldMasterId id="2147484945" r:id="rId14"/>
    <p:sldMasterId id="2147484983" r:id="rId15"/>
    <p:sldMasterId id="2147485021" r:id="rId16"/>
    <p:sldMasterId id="2147485068" r:id="rId17"/>
    <p:sldMasterId id="2147485095" r:id="rId18"/>
    <p:sldMasterId id="2147485144" r:id="rId19"/>
  </p:sldMasterIdLst>
  <p:notesMasterIdLst>
    <p:notesMasterId r:id="rId50"/>
  </p:notesMasterIdLst>
  <p:handoutMasterIdLst>
    <p:handoutMasterId r:id="rId51"/>
  </p:handoutMasterIdLst>
  <p:sldIdLst>
    <p:sldId id="2076137215" r:id="rId20"/>
    <p:sldId id="2076137216" r:id="rId21"/>
    <p:sldId id="2076137217" r:id="rId22"/>
    <p:sldId id="2076137218" r:id="rId23"/>
    <p:sldId id="2076137219" r:id="rId24"/>
    <p:sldId id="2076137220" r:id="rId25"/>
    <p:sldId id="2076137221" r:id="rId26"/>
    <p:sldId id="2076137222" r:id="rId27"/>
    <p:sldId id="2076137223" r:id="rId28"/>
    <p:sldId id="2076137214" r:id="rId29"/>
    <p:sldId id="2076137205" r:id="rId30"/>
    <p:sldId id="2076137211" r:id="rId31"/>
    <p:sldId id="2076137224" r:id="rId32"/>
    <p:sldId id="2076137212" r:id="rId33"/>
    <p:sldId id="2076137195" r:id="rId34"/>
    <p:sldId id="2076137201" r:id="rId35"/>
    <p:sldId id="2076137209" r:id="rId36"/>
    <p:sldId id="2076137200" r:id="rId37"/>
    <p:sldId id="1684" r:id="rId38"/>
    <p:sldId id="10093" r:id="rId39"/>
    <p:sldId id="2076137198" r:id="rId40"/>
    <p:sldId id="10100" r:id="rId41"/>
    <p:sldId id="2076137225" r:id="rId42"/>
    <p:sldId id="2076137226" r:id="rId43"/>
    <p:sldId id="2076137199" r:id="rId44"/>
    <p:sldId id="2076137196" r:id="rId45"/>
    <p:sldId id="2076137202" r:id="rId46"/>
    <p:sldId id="2076137197" r:id="rId47"/>
    <p:sldId id="10098" r:id="rId48"/>
    <p:sldId id="2076137213" r:id="rId49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249"/>
    <a:srgbClr val="FFB900"/>
    <a:srgbClr val="D83B01"/>
    <a:srgbClr val="FFFF00"/>
    <a:srgbClr val="BDBDBD"/>
    <a:srgbClr val="46F828"/>
    <a:srgbClr val="E6E6E6"/>
    <a:srgbClr val="D2D2D2"/>
    <a:srgbClr val="303030"/>
    <a:srgbClr val="7373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C11BBD-6032-4DFE-BF77-19E6CC770CE6}" v="2" dt="2020-04-28T07:28:38.99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49" autoAdjust="0"/>
    <p:restoredTop sz="95571" autoAdjust="0"/>
  </p:normalViewPr>
  <p:slideViewPr>
    <p:cSldViewPr snapToGrid="0">
      <p:cViewPr varScale="1">
        <p:scale>
          <a:sx n="87" d="100"/>
          <a:sy n="87" d="100"/>
        </p:scale>
        <p:origin x="108" y="78"/>
      </p:cViewPr>
      <p:guideLst/>
    </p:cSldViewPr>
  </p:slideViewPr>
  <p:outlineViewPr>
    <p:cViewPr>
      <p:scale>
        <a:sx n="33" d="100"/>
        <a:sy n="33" d="100"/>
      </p:scale>
      <p:origin x="0" y="-6516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5" d="100"/>
          <a:sy n="75" d="100"/>
        </p:scale>
        <p:origin x="2766" y="3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7.xml"/><Relationship Id="rId39" Type="http://schemas.openxmlformats.org/officeDocument/2006/relationships/slide" Target="slides/slide20.xml"/><Relationship Id="rId21" Type="http://schemas.openxmlformats.org/officeDocument/2006/relationships/slide" Target="slides/slide2.xml"/><Relationship Id="rId34" Type="http://schemas.openxmlformats.org/officeDocument/2006/relationships/slide" Target="slides/slide15.xml"/><Relationship Id="rId42" Type="http://schemas.openxmlformats.org/officeDocument/2006/relationships/slide" Target="slides/slide23.xml"/><Relationship Id="rId47" Type="http://schemas.openxmlformats.org/officeDocument/2006/relationships/slide" Target="slides/slide28.xml"/><Relationship Id="rId50" Type="http://schemas.openxmlformats.org/officeDocument/2006/relationships/notesMaster" Target="notesMasters/notesMaster1.xml"/><Relationship Id="rId55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10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slide" Target="slides/slide18.xml"/><Relationship Id="rId40" Type="http://schemas.openxmlformats.org/officeDocument/2006/relationships/slide" Target="slides/slide21.xml"/><Relationship Id="rId45" Type="http://schemas.openxmlformats.org/officeDocument/2006/relationships/slide" Target="slides/slide26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9" Type="http://schemas.openxmlformats.org/officeDocument/2006/relationships/slideMaster" Target="slideMasters/slideMaster16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43" Type="http://schemas.openxmlformats.org/officeDocument/2006/relationships/slide" Target="slides/slide24.xml"/><Relationship Id="rId48" Type="http://schemas.openxmlformats.org/officeDocument/2006/relationships/slide" Target="slides/slide29.xml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slide" Target="slides/slide19.xml"/><Relationship Id="rId46" Type="http://schemas.openxmlformats.org/officeDocument/2006/relationships/slide" Target="slides/slide27.xml"/><Relationship Id="rId20" Type="http://schemas.openxmlformats.org/officeDocument/2006/relationships/slide" Target="slides/slide1.xml"/><Relationship Id="rId41" Type="http://schemas.openxmlformats.org/officeDocument/2006/relationships/slide" Target="slides/slide22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slide" Target="slides/slide17.xml"/><Relationship Id="rId49" Type="http://schemas.openxmlformats.org/officeDocument/2006/relationships/slide" Target="slides/slide30.xml"/><Relationship Id="rId57" Type="http://schemas.microsoft.com/office/2015/10/relationships/revisionInfo" Target="revisionInfo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2.xml"/><Relationship Id="rId44" Type="http://schemas.openxmlformats.org/officeDocument/2006/relationships/slide" Target="slides/slide25.xml"/><Relationship Id="rId5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F9EC6-89FF-47E1-8594-1A32E3B45134}" type="datetime8">
              <a:rPr lang="en-US" smtClean="0">
                <a:latin typeface="Segoe UI" pitchFamily="34" charset="0"/>
              </a:rPr>
              <a:t>4/28/2020 3:28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6CE63F-9E7F-4C04-9D0D-FCA25A8E9E86}" type="datetime8">
              <a:rPr lang="en-US" smtClean="0"/>
              <a:t>4/28/2020 3:28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97230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8/2020 3:28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55392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8/2020 3:28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41778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.emf"/><Relationship Id="rId4" Type="http://schemas.openxmlformats.org/officeDocument/2006/relationships/image" Target="../media/image8.png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pn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4.svg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5.jpeg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0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10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5.jpeg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emf"/><Relationship Id="rId4" Type="http://schemas.openxmlformats.org/officeDocument/2006/relationships/image" Target="../media/image8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0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0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slideMaster" Target="../slideMasters/slideMaster10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wmf"/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42.wmf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wmf"/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42.w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42.wmf"/><Relationship Id="rId4" Type="http://schemas.openxmlformats.org/officeDocument/2006/relationships/image" Target="../media/image41.wmf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41.wmf"/><Relationship Id="rId4" Type="http://schemas.openxmlformats.org/officeDocument/2006/relationships/image" Target="../media/image42.wmf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1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1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11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.emf"/><Relationship Id="rId4" Type="http://schemas.openxmlformats.org/officeDocument/2006/relationships/image" Target="../media/image8.png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emf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emf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47.png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47.png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47.png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47.png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2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47.png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emf"/><Relationship Id="rId1" Type="http://schemas.openxmlformats.org/officeDocument/2006/relationships/slideMaster" Target="../slideMasters/slideMaster1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3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13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.bin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2.bin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3.bin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4.bin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5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6.bin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7.bin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8.bin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9.bin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0.bin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1.bin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4.png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2.bin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3.bin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4.bin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5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6.bin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7.bin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8.bin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5.png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9.bin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image" Target="../media/image56.emf"/><Relationship Id="rId1" Type="http://schemas.openxmlformats.org/officeDocument/2006/relationships/slideMaster" Target="../slideMasters/slideMaster13.xml"/></Relationships>
</file>

<file path=ppt/slideLayouts/_rels/slideLayout29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g"/><Relationship Id="rId1" Type="http://schemas.openxmlformats.org/officeDocument/2006/relationships/slideMaster" Target="../slideMasters/slideMaster14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g"/><Relationship Id="rId1" Type="http://schemas.openxmlformats.org/officeDocument/2006/relationships/slideMaster" Target="../slideMasters/slideMaster14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emf"/><Relationship Id="rId1" Type="http://schemas.openxmlformats.org/officeDocument/2006/relationships/slideMaster" Target="../slideMasters/slideMaster14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61.emf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1.emf"/><Relationship Id="rId1" Type="http://schemas.openxmlformats.org/officeDocument/2006/relationships/slideMaster" Target="../slideMasters/slideMaster15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emf"/><Relationship Id="rId1" Type="http://schemas.openxmlformats.org/officeDocument/2006/relationships/slideMaster" Target="../slideMasters/slideMaster15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emf"/><Relationship Id="rId1" Type="http://schemas.openxmlformats.org/officeDocument/2006/relationships/slideMaster" Target="../slideMasters/slideMaster15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emf"/><Relationship Id="rId1" Type="http://schemas.openxmlformats.org/officeDocument/2006/relationships/slideMaster" Target="../slideMasters/slideMaster15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15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15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emf"/><Relationship Id="rId1" Type="http://schemas.openxmlformats.org/officeDocument/2006/relationships/slideMaster" Target="../slideMasters/slideMaster15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15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15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emf"/><Relationship Id="rId2" Type="http://schemas.openxmlformats.org/officeDocument/2006/relationships/image" Target="../media/image72.emf"/><Relationship Id="rId1" Type="http://schemas.openxmlformats.org/officeDocument/2006/relationships/slideMaster" Target="../slideMasters/slideMaster15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16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16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16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16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16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16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16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16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16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1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16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16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image" Target="../media/image85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87.jpeg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7" Type="http://schemas.openxmlformats.org/officeDocument/2006/relationships/image" Target="../media/image93.png"/><Relationship Id="rId2" Type="http://schemas.openxmlformats.org/officeDocument/2006/relationships/image" Target="../media/image88.png"/><Relationship Id="rId1" Type="http://schemas.openxmlformats.org/officeDocument/2006/relationships/slideMaster" Target="../slideMasters/slideMaster16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jpeg"/><Relationship Id="rId1" Type="http://schemas.openxmlformats.org/officeDocument/2006/relationships/slideMaster" Target="../slideMasters/slideMaster16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jpeg"/><Relationship Id="rId1" Type="http://schemas.openxmlformats.org/officeDocument/2006/relationships/slideMaster" Target="../slideMasters/slideMaster16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2" Type="http://schemas.openxmlformats.org/officeDocument/2006/relationships/image" Target="../media/image96.jpe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98.jpeg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Master" Target="../slideMasters/slideMaster16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Master" Target="../slideMasters/slideMaster16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Master" Target="../slideMasters/slideMaster16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16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16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5.jpeg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svg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C20C272-8E66-429C-A9F7-1C4E612DB65F}"/>
              </a:ext>
            </a:extLst>
          </p:cNvPr>
          <p:cNvCxnSpPr>
            <a:cxnSpLocks/>
          </p:cNvCxnSpPr>
          <p:nvPr userDrawn="1"/>
        </p:nvCxnSpPr>
        <p:spPr>
          <a:xfrm>
            <a:off x="11895763" y="1817370"/>
            <a:ext cx="0" cy="710565"/>
          </a:xfrm>
          <a:prstGeom prst="line">
            <a:avLst/>
          </a:prstGeom>
          <a:ln>
            <a:solidFill>
              <a:srgbClr val="D83B0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791479" y="3074916"/>
            <a:ext cx="2321486" cy="14055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74192" y="3183752"/>
            <a:ext cx="2712307" cy="1367241"/>
          </a:xfrm>
          <a:prstGeom prst="rect">
            <a:avLst/>
          </a:prstGeom>
          <a:effectLst/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786210CF-A0F8-409C-A4D3-027E8C0B2F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17519" y="1816159"/>
            <a:ext cx="3474481" cy="4149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468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49E07265-7E47-481D-9C2B-6C8BF221FAA5}"/>
              </a:ext>
            </a:extLst>
          </p:cNvPr>
          <p:cNvGrpSpPr/>
          <p:nvPr userDrawn="1"/>
        </p:nvGrpSpPr>
        <p:grpSpPr>
          <a:xfrm>
            <a:off x="6194603" y="-1"/>
            <a:ext cx="5997398" cy="6858001"/>
            <a:chOff x="6194603" y="-1"/>
            <a:chExt cx="5997398" cy="6858001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A5AE405F-E300-4B3D-9110-B06B7584150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502819" y="1461694"/>
              <a:ext cx="3689182" cy="5396306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38D0436A-7978-419B-9760-5EFC6747DD7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548652" y="-1"/>
              <a:ext cx="1182753" cy="1076699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77C68831-B0BD-42C1-AB2F-BEAC8CFD1FD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94603" y="5896894"/>
              <a:ext cx="1182753" cy="961106"/>
            </a:xfrm>
            <a:prstGeom prst="rect">
              <a:avLst/>
            </a:prstGeom>
          </p:spPr>
        </p:pic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09600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867548-8B9A-436D-9AB6-D7EA0AC78267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298AA2D-C933-41C0-B3A0-5E1B5429C617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DE45CCA4-1611-4A15-8D76-0CD4304233D4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B20432D-F3B6-4212-B616-45AD62D0A8BA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CB285A8-E7EF-4B70-8B71-2D09BE26853D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D552378-B8A4-40F9-8A64-367F9EC304F0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DED4FF8-FEAE-4CC0-8F5B-9FC2B47E570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4DD2AD2-299E-4049-881B-2BC838B6DB02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430A103C-9EC8-479D-9AEA-2FA30D0B683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FF762A67-8800-4EDC-ACA0-235237807007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C1E21E3-4EFA-46DB-B62D-888B912FEC3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C90FB2C-AED4-45EF-B005-A6F9315E6638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69EFEACE-63D5-4DE9-AE7A-022D10CBBAD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183FC86B-2504-437F-9155-736D3776FBC0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4BE281D9-0C46-4685-8A97-79D102C868ED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0B982782-C326-41A6-88DF-60D0069AAC1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C69C78E5-CDD7-45AD-9FAC-A193057F255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5E678CA-56AB-4822-8F79-1B384711F464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4D454C8-0C5D-4654-B977-447674D5459E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FD26513-923A-4E4E-88AB-484CF7F390D1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75F3DAB6-E46E-498F-AC8D-245DB12E86FA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2FF22795-13BD-4A36-8B98-FAE4B2B9567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26E68192-BBC2-4E66-BC2E-A6F5E839A4EC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74CE4AB-E3EC-4485-A9DB-D3875DE15509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8D9197E-BD70-40A3-872D-2F635C47602A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DA35C218-6C8E-4E07-9EA7-15A37B43AD66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47F6A62-B1EC-420D-A385-9A9A03966E9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8195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BF7881-8D09-4F22-B10B-0916A242A2CD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5B1D67C-D600-4009-9F96-DBD9F692B67A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89ED409-83AE-42D1-A29E-F5ACE1D5379C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A47E83EE-C7AB-4851-AC1F-A2E965DE8A4F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17874BE-F982-46B6-83B3-569DB8A26C11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72B84FE-1FBD-4DB0-A1BB-1D393BABFD96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F0612185-AF46-47F9-B984-65C416463817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F4FE628-8992-4D3C-9177-54650A419B37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F0C1-51BC-433D-B643-499296AD9EB3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F95DA3E-A7A9-4898-8537-3057A04A80B1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A0885F40-F98C-4749-AF50-8D882201C7B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DF4BDA5-0196-465B-9592-AD537FCE4B9C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C953882-CF21-4072-808A-AFC6C6427081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4ACD3F6-35BF-4463-9A90-5F5B9025D6D9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6E0228F-415B-4662-977D-90C5D263A103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BA85FE8-C6CE-42AD-9924-C426CEBA2C5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0FBB4D3-1D1C-41F7-856E-89287C5609D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F5EE762-48D4-46D8-8ECD-7595053F7D6E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5602528A-0204-4F83-A3CC-B19E5ED41C75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70E694A-2FDE-4ED0-B17A-283BAEEEBC3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014F876-92BB-450A-A3A6-EB7B6C2CB558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AFE4E51-6693-4C7C-9EE7-633EA9AAA2AC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522550D5-A578-4C33-B405-092D50801565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A5C88A0-A89F-42B9-B5E5-623E0E0D755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4AD7328-AEE6-43BE-8744-DE52D5F8CC2E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0DC1356-0D84-4394-B0FF-A91903B8585E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CA4391C-EE34-4D39-AC03-6D3272F213DC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96475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15136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99772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2927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7530967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44605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9268" y="291068"/>
            <a:ext cx="6769045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129267" y="4773828"/>
            <a:ext cx="6769045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5"/>
              </a:spcBef>
              <a:buNone/>
              <a:defRPr sz="2000"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543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BB1AE5-10B0-4C55-B4E3-62EE131A8C7F}" type="datetimeFigureOut">
              <a:rPr lang="en-US" smtClean="0"/>
              <a:t>4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96D0CA-DDEB-44A3-AD04-2D8A419674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58469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9239" y="1189176"/>
            <a:ext cx="11653523" cy="5343825"/>
          </a:xfrm>
        </p:spPr>
        <p:txBody>
          <a:bodyPr>
            <a:normAutofit/>
          </a:bodyPr>
          <a:lstStyle>
            <a:lvl1pPr>
              <a:spcBef>
                <a:spcPts val="1200"/>
              </a:spcBef>
              <a:defRPr sz="3921"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4490857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2B071B18-AE3E-4C1A-8C40-38A79DBA86AA}"/>
              </a:ext>
            </a:extLst>
          </p:cNvPr>
          <p:cNvGrpSpPr/>
          <p:nvPr userDrawn="1"/>
        </p:nvGrpSpPr>
        <p:grpSpPr>
          <a:xfrm>
            <a:off x="6194603" y="0"/>
            <a:ext cx="5997398" cy="6858001"/>
            <a:chOff x="6194603" y="0"/>
            <a:chExt cx="5997398" cy="6858001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A874D211-CD8A-4B0E-B9C0-C2FF7D72BEE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471513C0-489E-4E2E-9C12-D1DC6B98AB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984DC410-B12F-4706-B9C8-EBBBA766DAC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20774799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 noChangeAspect="1"/>
          </p:cNvSpPr>
          <p:nvPr>
            <p:ph type="title"/>
          </p:nvPr>
        </p:nvSpPr>
        <p:spPr>
          <a:xfrm>
            <a:off x="304800" y="358227"/>
            <a:ext cx="11582400" cy="88900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5867">
                <a:solidFill>
                  <a:schemeClr val="tx2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304261"/>
            <a:ext cx="11582400" cy="4768519"/>
          </a:xfrm>
          <a:prstGeom prst="rect">
            <a:avLst/>
          </a:prstGeom>
        </p:spPr>
        <p:txBody>
          <a:bodyPr lIns="0" tIns="0" rIns="0" bIns="0"/>
          <a:lstStyle>
            <a:lvl1pPr marL="243834" indent="-243834">
              <a:lnSpc>
                <a:spcPct val="100000"/>
              </a:lnSpc>
              <a:spcBef>
                <a:spcPts val="667"/>
              </a:spcBef>
              <a:buFont typeface="Arial" charset="0"/>
              <a:buChar char="•"/>
              <a:defRPr sz="3200" baseline="0">
                <a:solidFill>
                  <a:schemeClr val="tx1"/>
                </a:solidFill>
                <a:latin typeface="Segoe UI Light"/>
                <a:cs typeface="Segoe UI Light"/>
              </a:defRPr>
            </a:lvl1pPr>
            <a:lvl2pPr marL="609585" indent="-243834">
              <a:lnSpc>
                <a:spcPct val="10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933">
                <a:solidFill>
                  <a:schemeClr val="tx1"/>
                </a:solidFill>
                <a:latin typeface="Segoe UI Light"/>
                <a:cs typeface="Segoe UI Light"/>
              </a:defRPr>
            </a:lvl2pPr>
            <a:lvl3pPr marL="914377" indent="-243834">
              <a:lnSpc>
                <a:spcPct val="100000"/>
              </a:lnSpc>
              <a:spcBef>
                <a:spcPts val="667"/>
              </a:spcBef>
              <a:buFont typeface="Arial"/>
              <a:buChar char="•"/>
              <a:defRPr sz="2667">
                <a:solidFill>
                  <a:schemeClr val="tx1"/>
                </a:solidFill>
                <a:latin typeface="Segoe UI Light"/>
                <a:cs typeface="Segoe UI Light"/>
              </a:defRPr>
            </a:lvl3pPr>
            <a:lvl4pPr marL="1219170" marR="0" indent="-243834" algn="l" defTabSz="121917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400" baseline="0">
                <a:solidFill>
                  <a:schemeClr val="tx1"/>
                </a:solidFill>
                <a:latin typeface="Segoe UI Light"/>
                <a:cs typeface="Segoe UI Light"/>
              </a:defRPr>
            </a:lvl4pPr>
            <a:lvl5pPr marL="2072588" indent="243834">
              <a:spcBef>
                <a:spcPts val="1333"/>
              </a:spcBef>
              <a:buFont typeface="Arial"/>
              <a:buChar char="•"/>
              <a:tabLst>
                <a:tab pos="2135664" algn="l"/>
              </a:tabLst>
              <a:defRPr sz="2667" baseline="0">
                <a:solidFill>
                  <a:schemeClr val="bg1"/>
                </a:solidFill>
                <a:latin typeface="Segoe UI Light"/>
                <a:cs typeface="Segoe UI Light"/>
              </a:defRPr>
            </a:lvl5pPr>
          </a:lstStyle>
          <a:p>
            <a:pPr lvl="0"/>
            <a:r>
              <a:rPr lang="en-US"/>
              <a:t>Bullet first level</a:t>
            </a:r>
          </a:p>
          <a:p>
            <a:pPr lvl="1"/>
            <a:r>
              <a:rPr lang="en-US"/>
              <a:t>Bullet second level</a:t>
            </a:r>
          </a:p>
          <a:p>
            <a:pPr lvl="2"/>
            <a:r>
              <a:rPr lang="en-US"/>
              <a:t>Bullet third level</a:t>
            </a:r>
          </a:p>
          <a:p>
            <a:pPr lvl="3"/>
            <a:r>
              <a:rPr lang="en-US"/>
              <a:t>Bullet fourth level</a:t>
            </a:r>
          </a:p>
        </p:txBody>
      </p:sp>
    </p:spTree>
    <p:extLst>
      <p:ext uri="{BB962C8B-B14F-4D97-AF65-F5344CB8AC3E}">
        <p14:creationId xmlns:p14="http://schemas.microsoft.com/office/powerpoint/2010/main" val="976979902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3F42D-A8D5-4426-AF07-8472BDF6FF3F}" type="datetimeFigureOut">
              <a:rPr lang="en-US" smtClean="0"/>
              <a:t>4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B6230-016B-40BA-9D19-DB0367FEB7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2534080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209610" y="2"/>
            <a:ext cx="5982390" cy="6858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87B2D435-6763-4273-8B58-EEB8756175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6" y="440495"/>
            <a:ext cx="5555966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 1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145843"/>
            <a:ext cx="5555965" cy="2573509"/>
          </a:xfrm>
        </p:spPr>
        <p:txBody>
          <a:bodyPr wrap="square"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9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</p:txBody>
      </p:sp>
    </p:spTree>
    <p:extLst>
      <p:ext uri="{BB962C8B-B14F-4D97-AF65-F5344CB8AC3E}">
        <p14:creationId xmlns:p14="http://schemas.microsoft.com/office/powerpoint/2010/main" val="37774636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C20C272-8E66-429C-A9F7-1C4E612DB65F}"/>
              </a:ext>
            </a:extLst>
          </p:cNvPr>
          <p:cNvCxnSpPr>
            <a:cxnSpLocks/>
          </p:cNvCxnSpPr>
          <p:nvPr userDrawn="1"/>
        </p:nvCxnSpPr>
        <p:spPr>
          <a:xfrm>
            <a:off x="11895763" y="1817370"/>
            <a:ext cx="0" cy="710565"/>
          </a:xfrm>
          <a:prstGeom prst="line">
            <a:avLst/>
          </a:prstGeom>
          <a:ln>
            <a:solidFill>
              <a:srgbClr val="D83B0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791479" y="3074916"/>
            <a:ext cx="2321486" cy="14055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74192" y="3183752"/>
            <a:ext cx="2712307" cy="1367241"/>
          </a:xfrm>
          <a:prstGeom prst="rect">
            <a:avLst/>
          </a:prstGeom>
          <a:effectLst/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786210CF-A0F8-409C-A4D3-027E8C0B2F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17519" y="1816159"/>
            <a:ext cx="3474481" cy="4149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8443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36EA2AC-FEA2-4901-8495-272A5FA7FC20}"/>
              </a:ext>
            </a:extLst>
          </p:cNvPr>
          <p:cNvGrpSpPr/>
          <p:nvPr userDrawn="1"/>
        </p:nvGrpSpPr>
        <p:grpSpPr>
          <a:xfrm>
            <a:off x="6194603" y="-1"/>
            <a:ext cx="5997398" cy="6858001"/>
            <a:chOff x="6194603" y="-1"/>
            <a:chExt cx="5997398" cy="6858001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A096FE2B-3270-4E2C-AD0E-3AB4FD1B86F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502819" y="1461694"/>
              <a:ext cx="3689182" cy="5396306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94A5D7CE-1FED-4CEA-810D-4198E992429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548652" y="-1"/>
              <a:ext cx="1182753" cy="1076699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9BF408BE-3FB0-4FA0-B683-0E647B7E04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94603" y="5896894"/>
              <a:ext cx="1182753" cy="961106"/>
            </a:xfrm>
            <a:prstGeom prst="rect">
              <a:avLst/>
            </a:prstGeom>
          </p:spPr>
        </p:pic>
      </p:grpSp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7757" y="585788"/>
            <a:ext cx="2691631" cy="276999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00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>
                <a:latin typeface="+mj-lt"/>
              </a:rPr>
              <a:t>Session code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0119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46463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40851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94025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60206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51894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3765DB89-7B31-44F9-9B76-2E06E7805A5E}"/>
              </a:ext>
            </a:extLst>
          </p:cNvPr>
          <p:cNvGrpSpPr/>
          <p:nvPr userDrawn="1"/>
        </p:nvGrpSpPr>
        <p:grpSpPr>
          <a:xfrm>
            <a:off x="6194603" y="0"/>
            <a:ext cx="5997398" cy="6858001"/>
            <a:chOff x="6194603" y="0"/>
            <a:chExt cx="5997398" cy="6858001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58E8D605-B082-4C02-839C-9C18EA6541D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3E9382F8-B3AE-4F98-8782-19AA597713F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3D3278C9-22EA-4588-8125-8F64C455E53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10078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00240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167336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49E07265-7E47-481D-9C2B-6C8BF221FAA5}"/>
              </a:ext>
            </a:extLst>
          </p:cNvPr>
          <p:cNvGrpSpPr/>
          <p:nvPr userDrawn="1"/>
        </p:nvGrpSpPr>
        <p:grpSpPr>
          <a:xfrm>
            <a:off x="6194603" y="-1"/>
            <a:ext cx="5997398" cy="6858001"/>
            <a:chOff x="6194603" y="-1"/>
            <a:chExt cx="5997398" cy="6858001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A5AE405F-E300-4B3D-9110-B06B7584150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502819" y="1461694"/>
              <a:ext cx="3689182" cy="5396306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38D0436A-7978-419B-9760-5EFC6747DD7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548652" y="-1"/>
              <a:ext cx="1182753" cy="1076699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77C68831-B0BD-42C1-AB2F-BEAC8CFD1FD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94603" y="5896894"/>
              <a:ext cx="1182753" cy="961106"/>
            </a:xfrm>
            <a:prstGeom prst="rect">
              <a:avLst/>
            </a:prstGeom>
          </p:spPr>
        </p:pic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59824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2B071B18-AE3E-4C1A-8C40-38A79DBA86AA}"/>
              </a:ext>
            </a:extLst>
          </p:cNvPr>
          <p:cNvGrpSpPr/>
          <p:nvPr userDrawn="1"/>
        </p:nvGrpSpPr>
        <p:grpSpPr>
          <a:xfrm>
            <a:off x="6194603" y="0"/>
            <a:ext cx="5997398" cy="6858001"/>
            <a:chOff x="6194603" y="0"/>
            <a:chExt cx="5997398" cy="6858001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A874D211-CD8A-4B0E-B9C0-C2FF7D72BEE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471513C0-489E-4E2E-9C12-D1DC6B98AB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984DC410-B12F-4706-B9C8-EBBBA766DAC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157189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3765DB89-7B31-44F9-9B76-2E06E7805A5E}"/>
              </a:ext>
            </a:extLst>
          </p:cNvPr>
          <p:cNvGrpSpPr/>
          <p:nvPr userDrawn="1"/>
        </p:nvGrpSpPr>
        <p:grpSpPr>
          <a:xfrm>
            <a:off x="6194603" y="0"/>
            <a:ext cx="5997398" cy="6858001"/>
            <a:chOff x="6194603" y="0"/>
            <a:chExt cx="5997398" cy="6858001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58E8D605-B082-4C02-839C-9C18EA6541D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3E9382F8-B3AE-4F98-8782-19AA597713F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3D3278C9-22EA-4588-8125-8F64C455E53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623462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9ECE3688-F7FF-4D8A-BE15-6CEE4046B621}"/>
              </a:ext>
            </a:extLst>
          </p:cNvPr>
          <p:cNvGrpSpPr/>
          <p:nvPr userDrawn="1"/>
        </p:nvGrpSpPr>
        <p:grpSpPr>
          <a:xfrm>
            <a:off x="6194603" y="0"/>
            <a:ext cx="5997398" cy="6858001"/>
            <a:chOff x="6194603" y="0"/>
            <a:chExt cx="5997398" cy="6858001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CDA126B3-3793-49DF-951A-6BEC5934FFC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7DE8673A-798E-4BFA-88EE-4BCCF0BF217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05970F2A-65AD-4C60-92A1-97326C8B610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3626404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A8E8A28C-CBDE-4C67-825F-C47808C9BDD6}"/>
              </a:ext>
            </a:extLst>
          </p:cNvPr>
          <p:cNvGrpSpPr/>
          <p:nvPr userDrawn="1"/>
        </p:nvGrpSpPr>
        <p:grpSpPr>
          <a:xfrm>
            <a:off x="6194603" y="0"/>
            <a:ext cx="5997398" cy="6858001"/>
            <a:chOff x="6194603" y="0"/>
            <a:chExt cx="5997398" cy="6858001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E6ED7E4A-DB81-4ED7-82E1-34B79F3FF4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11E4BCF2-710C-4869-A4C5-C1345D5F2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7B7B7A20-BA31-44FA-9F1C-298649B34CF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52268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36032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59662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71985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9ECE3688-F7FF-4D8A-BE15-6CEE4046B621}"/>
              </a:ext>
            </a:extLst>
          </p:cNvPr>
          <p:cNvGrpSpPr/>
          <p:nvPr userDrawn="1"/>
        </p:nvGrpSpPr>
        <p:grpSpPr>
          <a:xfrm>
            <a:off x="6194603" y="0"/>
            <a:ext cx="5997398" cy="6858001"/>
            <a:chOff x="6194603" y="0"/>
            <a:chExt cx="5997398" cy="6858001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CDA126B3-3793-49DF-951A-6BEC5934FFC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7DE8673A-798E-4BFA-88EE-4BCCF0BF217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05970F2A-65AD-4C60-92A1-97326C8B610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3963771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0509065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9268" y="291068"/>
            <a:ext cx="6769045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129267" y="4773828"/>
            <a:ext cx="6769045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5"/>
              </a:spcBef>
              <a:buNone/>
              <a:defRPr sz="2000"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862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6FAD87F-DBF5-4E2F-A61B-3CCEC5C7D0B9}"/>
              </a:ext>
            </a:extLst>
          </p:cNvPr>
          <p:cNvGrpSpPr/>
          <p:nvPr userDrawn="1"/>
        </p:nvGrpSpPr>
        <p:grpSpPr bwMode="ltGray">
          <a:xfrm>
            <a:off x="8710812" y="1771650"/>
            <a:ext cx="3481189" cy="4196081"/>
            <a:chOff x="8710812" y="1771650"/>
            <a:chExt cx="3481189" cy="4196081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6B0365F1-E7DF-4958-962E-9FFD3A39414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3720628"/>
              <a:ext cx="531187" cy="974975"/>
            </a:xfrm>
            <a:custGeom>
              <a:avLst/>
              <a:gdLst>
                <a:gd name="T0" fmla="*/ 547 w 547"/>
                <a:gd name="T1" fmla="*/ 704 h 1004"/>
                <a:gd name="T2" fmla="*/ 0 w 547"/>
                <a:gd name="T3" fmla="*/ 1004 h 1004"/>
                <a:gd name="T4" fmla="*/ 0 w 547"/>
                <a:gd name="T5" fmla="*/ 300 h 1004"/>
                <a:gd name="T6" fmla="*/ 547 w 547"/>
                <a:gd name="T7" fmla="*/ 0 h 1004"/>
                <a:gd name="T8" fmla="*/ 547 w 547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4"/>
                  </a:moveTo>
                  <a:lnTo>
                    <a:pt x="0" y="1004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4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39253E4C-431D-4257-8CC7-C1456CD2F32D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8040" y="3720628"/>
              <a:ext cx="532157" cy="974975"/>
            </a:xfrm>
            <a:custGeom>
              <a:avLst/>
              <a:gdLst>
                <a:gd name="T0" fmla="*/ 0 w 548"/>
                <a:gd name="T1" fmla="*/ 704 h 1004"/>
                <a:gd name="T2" fmla="*/ 548 w 548"/>
                <a:gd name="T3" fmla="*/ 1004 h 1004"/>
                <a:gd name="T4" fmla="*/ 548 w 548"/>
                <a:gd name="T5" fmla="*/ 300 h 1004"/>
                <a:gd name="T6" fmla="*/ 0 w 548"/>
                <a:gd name="T7" fmla="*/ 0 h 1004"/>
                <a:gd name="T8" fmla="*/ 0 w 548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4"/>
                  </a:moveTo>
                  <a:lnTo>
                    <a:pt x="548" y="1004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4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E928826C-9C74-4194-A556-98EC9A96F6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4404276"/>
              <a:ext cx="1063344" cy="586538"/>
            </a:xfrm>
            <a:custGeom>
              <a:avLst/>
              <a:gdLst>
                <a:gd name="T0" fmla="*/ 547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7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7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7ACB5DE1-DAC6-4C99-B2CC-0EB12CE0D5F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5D630C8B-3A7C-4321-A3EF-B1D0A698F7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2969" y="2748567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2A590461-2675-4E4A-B9BB-BF5471E895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3434156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48EAECFD-0CA3-492F-BA94-22EF6EB2205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62FFEC32-2F2F-43F4-9C21-7F15A26966A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3434157"/>
              <a:ext cx="1063345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  <a:gd name="connsiteX0" fmla="*/ 5005 w 10000"/>
                <a:gd name="connsiteY0" fmla="*/ 0 h 10000"/>
                <a:gd name="connsiteX1" fmla="*/ 0 w 10000"/>
                <a:gd name="connsiteY1" fmla="*/ 4967 h 10000"/>
                <a:gd name="connsiteX2" fmla="*/ 5048 w 10000"/>
                <a:gd name="connsiteY2" fmla="*/ 10000 h 10000"/>
                <a:gd name="connsiteX3" fmla="*/ 10000 w 10000"/>
                <a:gd name="connsiteY3" fmla="*/ 4967 h 10000"/>
                <a:gd name="connsiteX4" fmla="*/ 5005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5005" y="0"/>
                  </a:moveTo>
                  <a:lnTo>
                    <a:pt x="0" y="4967"/>
                  </a:lnTo>
                  <a:lnTo>
                    <a:pt x="5048" y="10000"/>
                  </a:lnTo>
                  <a:lnTo>
                    <a:pt x="10000" y="4967"/>
                  </a:lnTo>
                  <a:lnTo>
                    <a:pt x="5005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3">
              <a:extLst>
                <a:ext uri="{FF2B5EF4-FFF2-40B4-BE49-F238E27FC236}">
                  <a16:creationId xmlns:a16="http://schemas.microsoft.com/office/drawing/2014/main" id="{647709D2-F4CC-4414-B183-427A6D2A22A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1823" y="2748566"/>
              <a:ext cx="534332" cy="982635"/>
            </a:xfrm>
            <a:custGeom>
              <a:avLst/>
              <a:gdLst>
                <a:gd name="T0" fmla="*/ 0 w 548"/>
                <a:gd name="T1" fmla="*/ 706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6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72928ABA-DF2E-4C8E-B194-7FA5282298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3616" y="3434158"/>
              <a:ext cx="1060195" cy="586539"/>
            </a:xfrm>
            <a:custGeom>
              <a:avLst/>
              <a:gdLst>
                <a:gd name="T0" fmla="*/ 548 w 1096"/>
                <a:gd name="T1" fmla="*/ 0 h 604"/>
                <a:gd name="T2" fmla="*/ 0 w 1096"/>
                <a:gd name="T3" fmla="*/ 300 h 604"/>
                <a:gd name="T4" fmla="*/ 560 w 1096"/>
                <a:gd name="T5" fmla="*/ 604 h 604"/>
                <a:gd name="T6" fmla="*/ 1096 w 1096"/>
                <a:gd name="T7" fmla="*/ 300 h 604"/>
                <a:gd name="T8" fmla="*/ 548 w 1096"/>
                <a:gd name="T9" fmla="*/ 0 h 604"/>
                <a:gd name="connsiteX0" fmla="*/ 5000 w 9956"/>
                <a:gd name="connsiteY0" fmla="*/ 0 h 10000"/>
                <a:gd name="connsiteX1" fmla="*/ 0 w 9956"/>
                <a:gd name="connsiteY1" fmla="*/ 4967 h 10000"/>
                <a:gd name="connsiteX2" fmla="*/ 5109 w 9956"/>
                <a:gd name="connsiteY2" fmla="*/ 10000 h 10000"/>
                <a:gd name="connsiteX3" fmla="*/ 9956 w 9956"/>
                <a:gd name="connsiteY3" fmla="*/ 4967 h 10000"/>
                <a:gd name="connsiteX4" fmla="*/ 5000 w 9956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56" h="10000">
                  <a:moveTo>
                    <a:pt x="5000" y="0"/>
                  </a:moveTo>
                  <a:lnTo>
                    <a:pt x="0" y="4967"/>
                  </a:lnTo>
                  <a:lnTo>
                    <a:pt x="5109" y="10000"/>
                  </a:lnTo>
                  <a:lnTo>
                    <a:pt x="9956" y="4967"/>
                  </a:lnTo>
                  <a:lnTo>
                    <a:pt x="5000" y="0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5A52C6C9-8220-4E26-B41D-1AA4F49DF9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1771650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8548CD94-9B34-4B91-BB2B-8736861E89E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1673" y="1771650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CFFFDB94-105D-4570-A938-4AD7CE4AE78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2457240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id="{AC2A78A9-4071-45DC-BAE8-1C643EDD9B0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1" y="1771650"/>
              <a:ext cx="531187" cy="976917"/>
            </a:xfrm>
            <a:custGeom>
              <a:avLst/>
              <a:gdLst>
                <a:gd name="T0" fmla="*/ 547 w 547"/>
                <a:gd name="T1" fmla="*/ 706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0EEF9B-FB8E-409B-A24F-BD7570B88204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895988" y="1771650"/>
              <a:ext cx="296013" cy="847641"/>
            </a:xfrm>
            <a:custGeom>
              <a:avLst/>
              <a:gdLst>
                <a:gd name="connsiteX0" fmla="*/ 0 w 296013"/>
                <a:gd name="connsiteY0" fmla="*/ 0 h 847641"/>
                <a:gd name="connsiteX1" fmla="*/ 296013 w 296013"/>
                <a:gd name="connsiteY1" fmla="*/ 162051 h 847641"/>
                <a:gd name="connsiteX2" fmla="*/ 296013 w 296013"/>
                <a:gd name="connsiteY2" fmla="*/ 847641 h 847641"/>
                <a:gd name="connsiteX3" fmla="*/ 0 w 296013"/>
                <a:gd name="connsiteY3" fmla="*/ 685590 h 84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013" h="847641">
                  <a:moveTo>
                    <a:pt x="0" y="0"/>
                  </a:moveTo>
                  <a:lnTo>
                    <a:pt x="296013" y="162051"/>
                  </a:lnTo>
                  <a:lnTo>
                    <a:pt x="296013" y="847641"/>
                  </a:lnTo>
                  <a:lnTo>
                    <a:pt x="0" y="685590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90FC8DE-C4AD-4BD3-9506-276C17F0C33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0" y="2457240"/>
              <a:ext cx="827200" cy="593577"/>
            </a:xfrm>
            <a:custGeom>
              <a:avLst/>
              <a:gdLst>
                <a:gd name="connsiteX0" fmla="*/ 531141 w 827200"/>
                <a:gd name="connsiteY0" fmla="*/ 0 h 593577"/>
                <a:gd name="connsiteX1" fmla="*/ 827200 w 827200"/>
                <a:gd name="connsiteY1" fmla="*/ 162066 h 593577"/>
                <a:gd name="connsiteX2" fmla="*/ 827200 w 827200"/>
                <a:gd name="connsiteY2" fmla="*/ 425095 h 593577"/>
                <a:gd name="connsiteX3" fmla="*/ 529758 w 827200"/>
                <a:gd name="connsiteY3" fmla="*/ 593577 h 593577"/>
                <a:gd name="connsiteX4" fmla="*/ 0 w 827200"/>
                <a:gd name="connsiteY4" fmla="*/ 291334 h 59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7200" h="593577">
                  <a:moveTo>
                    <a:pt x="531141" y="0"/>
                  </a:moveTo>
                  <a:lnTo>
                    <a:pt x="827200" y="162066"/>
                  </a:lnTo>
                  <a:lnTo>
                    <a:pt x="827200" y="425095"/>
                  </a:lnTo>
                  <a:lnTo>
                    <a:pt x="529758" y="593577"/>
                  </a:lnTo>
                  <a:lnTo>
                    <a:pt x="0" y="291334"/>
                  </a:lnTo>
                  <a:close/>
                </a:path>
              </a:pathLst>
            </a:custGeom>
            <a:solidFill>
              <a:srgbClr val="303030"/>
            </a:solidFill>
            <a:ln w="9525">
              <a:solidFill>
                <a:srgbClr val="30303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eform 21">
              <a:extLst>
                <a:ext uri="{FF2B5EF4-FFF2-40B4-BE49-F238E27FC236}">
                  <a16:creationId xmlns:a16="http://schemas.microsoft.com/office/drawing/2014/main" id="{77297A5A-69AC-4DF4-95F9-A09D48D814E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4400391"/>
              <a:ext cx="531187" cy="976917"/>
            </a:xfrm>
            <a:custGeom>
              <a:avLst/>
              <a:gdLst>
                <a:gd name="T0" fmla="*/ 547 w 547"/>
                <a:gd name="T1" fmla="*/ 707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7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7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2">
              <a:extLst>
                <a:ext uri="{FF2B5EF4-FFF2-40B4-BE49-F238E27FC236}">
                  <a16:creationId xmlns:a16="http://schemas.microsoft.com/office/drawing/2014/main" id="{E65087DC-7AC8-4AA7-9010-A067ADE1CF79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47210" y="4400391"/>
              <a:ext cx="532157" cy="976917"/>
            </a:xfrm>
            <a:custGeom>
              <a:avLst/>
              <a:gdLst>
                <a:gd name="T0" fmla="*/ 0 w 548"/>
                <a:gd name="T1" fmla="*/ 707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7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7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3B4C2EBB-4C89-4380-A5E7-A7BD40C2B90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5086952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">
              <a:extLst>
                <a:ext uri="{FF2B5EF4-FFF2-40B4-BE49-F238E27FC236}">
                  <a16:creationId xmlns:a16="http://schemas.microsoft.com/office/drawing/2014/main" id="{0D7CD4FA-6D18-4E1F-9C7D-91AA2E32B2B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4697545"/>
              <a:ext cx="531187" cy="974975"/>
            </a:xfrm>
            <a:custGeom>
              <a:avLst/>
              <a:gdLst>
                <a:gd name="T0" fmla="*/ 547 w 547"/>
                <a:gd name="T1" fmla="*/ 705 h 1004"/>
                <a:gd name="T2" fmla="*/ 0 w 547"/>
                <a:gd name="T3" fmla="*/ 1004 h 1004"/>
                <a:gd name="T4" fmla="*/ 0 w 547"/>
                <a:gd name="T5" fmla="*/ 298 h 1004"/>
                <a:gd name="T6" fmla="*/ 547 w 547"/>
                <a:gd name="T7" fmla="*/ 0 h 1004"/>
                <a:gd name="T8" fmla="*/ 547 w 547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5"/>
                  </a:moveTo>
                  <a:lnTo>
                    <a:pt x="0" y="1004"/>
                  </a:lnTo>
                  <a:lnTo>
                    <a:pt x="0" y="298"/>
                  </a:lnTo>
                  <a:lnTo>
                    <a:pt x="547" y="0"/>
                  </a:lnTo>
                  <a:lnTo>
                    <a:pt x="547" y="705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5">
              <a:extLst>
                <a:ext uri="{FF2B5EF4-FFF2-40B4-BE49-F238E27FC236}">
                  <a16:creationId xmlns:a16="http://schemas.microsoft.com/office/drawing/2014/main" id="{5D06D6BE-8F81-4F1F-9E44-429E129C195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51709" y="4697545"/>
              <a:ext cx="532157" cy="974975"/>
            </a:xfrm>
            <a:custGeom>
              <a:avLst/>
              <a:gdLst>
                <a:gd name="T0" fmla="*/ 0 w 548"/>
                <a:gd name="T1" fmla="*/ 705 h 1004"/>
                <a:gd name="T2" fmla="*/ 548 w 548"/>
                <a:gd name="T3" fmla="*/ 1004 h 1004"/>
                <a:gd name="T4" fmla="*/ 548 w 548"/>
                <a:gd name="T5" fmla="*/ 298 h 1004"/>
                <a:gd name="T6" fmla="*/ 0 w 548"/>
                <a:gd name="T7" fmla="*/ 0 h 1004"/>
                <a:gd name="T8" fmla="*/ 0 w 548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5"/>
                  </a:moveTo>
                  <a:lnTo>
                    <a:pt x="548" y="1004"/>
                  </a:lnTo>
                  <a:lnTo>
                    <a:pt x="548" y="298"/>
                  </a:lnTo>
                  <a:lnTo>
                    <a:pt x="0" y="0"/>
                  </a:lnTo>
                  <a:lnTo>
                    <a:pt x="0" y="705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">
              <a:extLst>
                <a:ext uri="{FF2B5EF4-FFF2-40B4-BE49-F238E27FC236}">
                  <a16:creationId xmlns:a16="http://schemas.microsoft.com/office/drawing/2014/main" id="{3F7CF64D-F067-41E4-8D9F-41FF3897282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5382163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791479" y="3074916"/>
            <a:ext cx="2321486" cy="14055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74192" y="3183752"/>
            <a:ext cx="2712307" cy="1367241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7458207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7757" y="585788"/>
            <a:ext cx="2691631" cy="276999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00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>
                <a:latin typeface="+mj-lt"/>
              </a:rPr>
              <a:t>Session code here</a:t>
            </a:r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DCBAFEF-FDA0-4148-B6F8-D1D9029A0218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9BE868E-A240-4959-BD66-6BC44EE5A4A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DDB4654-32A2-47CE-B324-C597C756E402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18BE353-242E-4429-9D4C-1D50CEEC277C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2B25198-469F-44A8-946B-689A24DC3C72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5460766-0EE4-4C99-BD2E-1BAD7FD9C3AC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EFBC909F-DC50-4DDC-91C9-2509E0F5633F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E0DC1718-52A4-4705-AE14-45A352ACBC2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D51C16AF-F6FA-4CD2-B0A5-3663CD02799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3A105041-F999-49D6-BE4B-7630F1204F6C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190B08C-67D4-4DAD-8158-2B4D4A1318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43F7B37-FD03-4D73-932B-77D49AB6A515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8F01A60D-F904-4399-87EA-23E33C45969F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450C50C-26FC-42C5-BA39-AE97627B772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8924B0-E78A-4770-AF30-C78056E7AAAB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D8AB0228-AC44-413D-A029-1BBF7B18CBCC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89C067BE-7550-4D8F-9A42-B78AB594CD54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54D97435-6932-4E2A-A217-DEA06FDA510A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FF9C9FB6-79F2-41F1-872D-2184B91C8E00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577AEC4-9502-4D2D-B373-2F1CB4EFF9B8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13EA48F-163A-410A-8C97-A08AA1B2EE50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3E1E199B-B230-4884-9F60-9B781B11B8FF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B98E4A3-2599-4DEB-8ECC-F004500FBF6A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6B74F55-4583-4B26-A4E0-71C00B14AFF6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C4D1900-D812-4B27-AC50-B2795AD953C3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83ECFC2-9749-4525-973B-EAA0BC0FC62B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A3ABF7E-B2D4-4B7A-9B6E-0EB3223E4EE4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25055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53221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003403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40910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066319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492443"/>
          </a:xfrm>
        </p:spPr>
        <p:txBody>
          <a:bodyPr/>
          <a:lstStyle>
            <a:lvl1pPr>
              <a:defRPr lang="en-US"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147972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50165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A8E8A28C-CBDE-4C67-825F-C47808C9BDD6}"/>
              </a:ext>
            </a:extLst>
          </p:cNvPr>
          <p:cNvGrpSpPr/>
          <p:nvPr userDrawn="1"/>
        </p:nvGrpSpPr>
        <p:grpSpPr>
          <a:xfrm>
            <a:off x="6194603" y="0"/>
            <a:ext cx="5997398" cy="6858001"/>
            <a:chOff x="6194603" y="0"/>
            <a:chExt cx="5997398" cy="6858001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E6ED7E4A-DB81-4ED7-82E1-34B79F3FF4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11E4BCF2-710C-4869-A4C5-C1345D5F2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7B7B7A20-BA31-44FA-9F1C-298649B34CF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51141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8197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3B08910-F1C3-47B2-8C69-1B107282064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FE7A031-B4AB-4071-98FF-24E766F9BB5C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6DC7067D-3957-4163-9442-C167A0A6216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9AE235F-4F6C-4565-AADC-752626D64B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EAADF52-7CC0-4715-8BAC-4186C7CE9B0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8AC140A-9DFB-45B7-82C2-CF25166A0D41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3436FDC7-3DF0-4E6A-B4A8-7EB4FF30AAF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D72FB5AA-3C69-4BB6-9C10-682E95EF1AAE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20321A7F-C5FC-4514-A3AC-41CC16FA85FD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3C4B3CE-95D2-45A5-917E-A5389B118222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A5270AF0-DA91-4FF8-9B1C-35937E49D88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1B4AB4EC-0302-4902-B797-9B84C91FDE1B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941D13F-2DD6-4121-8220-CC08400DD382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98F2381-17CE-4672-96D3-D3E4A8C1115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6A42BAE-DCEA-4A1A-8779-E499D67DA7B9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8D7995E7-6761-41BA-BE88-30DD0DF70D22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4D7B6AA-459B-44CF-9930-A05720C41315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0EBE7D0E-F0D6-4EA3-A151-C26BF3138977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118A379-1639-4C1C-9E5B-A39F1CD0A9D9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8DE972F-9FF1-4743-BF7F-15CC5403A6C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95596FA-D3B2-4953-81FC-9958337AF5DC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D57090A-B887-4CA7-A022-90564F12A9A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F9749B2E-C284-42A2-A061-B635FBBBD461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A74F4CD-889D-4E91-AB27-CCB11E8677AE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CE97AB5-F3D1-4D1A-8F2F-166F6F85A189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5281A29-9018-48AF-8B81-EB9F71FE5ABA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2B1B3F07-773E-4FC0-9A04-73F52683190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5493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867548-8B9A-436D-9AB6-D7EA0AC78267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298AA2D-C933-41C0-B3A0-5E1B5429C617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DE45CCA4-1611-4A15-8D76-0CD4304233D4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B20432D-F3B6-4212-B616-45AD62D0A8BA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CB285A8-E7EF-4B70-8B71-2D09BE26853D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D552378-B8A4-40F9-8A64-367F9EC304F0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DED4FF8-FEAE-4CC0-8F5B-9FC2B47E570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4DD2AD2-299E-4049-881B-2BC838B6DB02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430A103C-9EC8-479D-9AEA-2FA30D0B683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FF762A67-8800-4EDC-ACA0-235237807007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C1E21E3-4EFA-46DB-B62D-888B912FEC3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C90FB2C-AED4-45EF-B005-A6F9315E6638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69EFEACE-63D5-4DE9-AE7A-022D10CBBAD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183FC86B-2504-437F-9155-736D3776FBC0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4BE281D9-0C46-4685-8A97-79D102C868ED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0B982782-C326-41A6-88DF-60D0069AAC1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C69C78E5-CDD7-45AD-9FAC-A193057F255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5E678CA-56AB-4822-8F79-1B384711F464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4D454C8-0C5D-4654-B977-447674D5459E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FD26513-923A-4E4E-88AB-484CF7F390D1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75F3DAB6-E46E-498F-AC8D-245DB12E86FA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2FF22795-13BD-4A36-8B98-FAE4B2B9567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26E68192-BBC2-4E66-BC2E-A6F5E839A4EC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74CE4AB-E3EC-4485-A9DB-D3875DE15509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8D9197E-BD70-40A3-872D-2F635C47602A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DA35C218-6C8E-4E07-9EA7-15A37B43AD66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47F6A62-B1EC-420D-A385-9A9A03966E9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59858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BF7881-8D09-4F22-B10B-0916A242A2CD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5B1D67C-D600-4009-9F96-DBD9F692B67A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89ED409-83AE-42D1-A29E-F5ACE1D5379C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A47E83EE-C7AB-4851-AC1F-A2E965DE8A4F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17874BE-F982-46B6-83B3-569DB8A26C11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72B84FE-1FBD-4DB0-A1BB-1D393BABFD96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F0612185-AF46-47F9-B984-65C416463817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F4FE628-8992-4D3C-9177-54650A419B37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F0C1-51BC-433D-B643-499296AD9EB3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F95DA3E-A7A9-4898-8537-3057A04A80B1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A0885F40-F98C-4749-AF50-8D882201C7B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DF4BDA5-0196-465B-9592-AD537FCE4B9C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C953882-CF21-4072-808A-AFC6C6427081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4ACD3F6-35BF-4463-9A90-5F5B9025D6D9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6E0228F-415B-4662-977D-90C5D263A103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BA85FE8-C6CE-42AD-9924-C426CEBA2C5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0FBB4D3-1D1C-41F7-856E-89287C5609D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F5EE762-48D4-46D8-8ECD-7595053F7D6E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5602528A-0204-4F83-A3CC-B19E5ED41C75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70E694A-2FDE-4ED0-B17A-283BAEEEBC3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014F876-92BB-450A-A3A6-EB7B6C2CB558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AFE4E51-6693-4C7C-9EE7-633EA9AAA2AC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522550D5-A578-4C33-B405-092D50801565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A5C88A0-A89F-42B9-B5E5-623E0E0D755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4AD7328-AEE6-43BE-8744-DE52D5F8CC2E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0DC1356-0D84-4394-B0FF-A91903B8585E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CA4391C-EE34-4D39-AC03-6D3272F213DC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25456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96595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59402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382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1316435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2"/>
            <a:ext cx="8964185" cy="1793104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0725"/>
            <a:ext cx="8964186" cy="715931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3696656"/>
            <a:ext cx="8964248" cy="452654"/>
          </a:xfrm>
        </p:spPr>
        <p:txBody>
          <a:bodyPr/>
          <a:lstStyle>
            <a:lvl1pPr marL="0" indent="0">
              <a:buNone/>
              <a:defRPr lang="en-US" sz="1961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Optional (City, State or venue)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61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027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267682" y="2084171"/>
            <a:ext cx="6274974" cy="3586208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3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gradFill>
                  <a:gsLst>
                    <a:gs pos="91720">
                      <a:srgbClr val="FFFFFF"/>
                    </a:gs>
                    <a:gs pos="75796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5"/>
            <a:ext cx="6276530" cy="656077"/>
          </a:xfrm>
          <a:noFill/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91720">
                      <a:srgbClr val="FFFFFF"/>
                    </a:gs>
                    <a:gs pos="75796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3" name="MS logo white - E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826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1792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9272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5"/>
            <a:ext cx="4840694" cy="1799462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2" y="3877277"/>
            <a:ext cx="4840694" cy="717249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137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32731" y="0"/>
            <a:ext cx="685753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3503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44319617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2408384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56468198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5432371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2072655"/>
      </p:ext>
    </p:extLst>
  </p:cSld>
  <p:clrMapOvr>
    <a:masterClrMapping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1241677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9883124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048852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4756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943295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823003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5379313"/>
      </p:ext>
    </p:extLst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55605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8168670"/>
      </p:ext>
    </p:extLst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5952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21311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3F3274D-8F90-4F75-B990-F6B7A291DE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383" y="437538"/>
            <a:ext cx="11333080" cy="742300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577395140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29544" y="3029995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Microsoft 365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6426" y="4838790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68" spc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F4A718E-6F7C-414B-B5B4-AA6809C768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9544" y="437137"/>
            <a:ext cx="896425" cy="190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5075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bg>
      <p:bgPr>
        <a:solidFill>
          <a:srgbClr val="0278D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CA1BD43-4947-4C7D-B1C8-B6C8FC3789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681" y="437140"/>
            <a:ext cx="896425" cy="19114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E73B716-5AC1-4E6F-99C0-F195B0C587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544" y="3029995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Microsoft 365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78FD896-9F6B-4251-9F12-35FEF1AF74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426" y="4838790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68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8217068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244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sitting in a chair using a computer&#10;&#10;Description generated with very high confidence">
            <a:extLst>
              <a:ext uri="{FF2B5EF4-FFF2-40B4-BE49-F238E27FC236}">
                <a16:creationId xmlns:a16="http://schemas.microsoft.com/office/drawing/2014/main" id="{03D2BC42-713B-428D-8ED4-A1554F175C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3509" y="0"/>
            <a:ext cx="12205509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6918950D-BA52-4C37-9FC7-9B2441DAB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544" y="3029995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Microsoft 365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B7969DA-51E9-4FB3-BFCC-63C88E80862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426" y="4838790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68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0D28F43-8FFF-4944-9497-29A9A4AAFE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9544" y="437137"/>
            <a:ext cx="896425" cy="190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2017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425" y="1202871"/>
            <a:ext cx="3632388" cy="1172553"/>
          </a:xfrm>
        </p:spPr>
        <p:txBody>
          <a:bodyPr lIns="0" tIns="0" rIns="0" bIns="0"/>
          <a:lstStyle>
            <a:lvl1pPr>
              <a:defRPr sz="1961" spc="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12722" y="1202872"/>
            <a:ext cx="3618382" cy="3289228"/>
          </a:xfrm>
        </p:spPr>
        <p:txBody>
          <a:bodyPr wrap="square" lIns="0" tIns="0" rIns="0" bIns="0">
            <a:noAutofit/>
          </a:bodyPr>
          <a:lstStyle>
            <a:lvl1pPr marL="0" marR="0" indent="0" algn="l" defTabSz="507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961" spc="0" baseline="0">
                <a:solidFill>
                  <a:schemeClr val="accent1"/>
                </a:solidFill>
                <a:latin typeface="+mj-lt"/>
              </a:defRPr>
            </a:lvl1pPr>
            <a:lvl2pPr marL="224097" indent="0">
              <a:buNone/>
              <a:defRPr sz="1765"/>
            </a:lvl2pPr>
            <a:lvl3pPr marL="448193" indent="0">
              <a:buNone/>
              <a:defRPr sz="1765"/>
            </a:lvl3pPr>
            <a:lvl4pPr marL="672290" indent="0">
              <a:buNone/>
              <a:defRPr sz="1765"/>
            </a:lvl4pPr>
            <a:lvl5pPr marL="896386" indent="0">
              <a:buNone/>
              <a:defRPr sz="1765"/>
            </a:lvl5pPr>
          </a:lstStyle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8803263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2139702"/>
            <a:ext cx="11339774" cy="122317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None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None/>
              <a:defRPr sz="1961">
                <a:solidFill>
                  <a:srgbClr val="000000"/>
                </a:solidFill>
              </a:defRPr>
            </a:lvl2pPr>
            <a:lvl3pPr marL="448193" indent="0">
              <a:spcBef>
                <a:spcPts val="0"/>
              </a:spcBef>
              <a:spcAft>
                <a:spcPts val="1274"/>
              </a:spcAft>
              <a:buNone/>
              <a:defRPr sz="1961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26pt</a:t>
            </a:r>
          </a:p>
          <a:p>
            <a:pPr lvl="1"/>
            <a:r>
              <a:rPr lang="en-US"/>
              <a:t>Second level Segoe UI 20pt</a:t>
            </a:r>
          </a:p>
          <a:p>
            <a:pPr lvl="2"/>
            <a:r>
              <a:rPr lang="en-US"/>
              <a:t>Third level Segoe UI 20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pt</a:t>
            </a:r>
          </a:p>
        </p:txBody>
      </p:sp>
    </p:spTree>
    <p:extLst>
      <p:ext uri="{BB962C8B-B14F-4D97-AF65-F5344CB8AC3E}">
        <p14:creationId xmlns:p14="http://schemas.microsoft.com/office/powerpoint/2010/main" val="2130691351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slide (with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9" y="2141394"/>
            <a:ext cx="11339774" cy="1223171"/>
          </a:xfrm>
        </p:spPr>
        <p:txBody>
          <a:bodyPr wrap="square" lIns="0" tIns="0" rIns="0" bIns="0">
            <a:spAutoFit/>
          </a:bodyPr>
          <a:lstStyle>
            <a:lvl1pPr marL="268916" indent="-268916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Clr>
                <a:srgbClr val="000000"/>
              </a:buClr>
              <a:buSzPct val="77000"/>
              <a:buFont typeface="Arial" panose="020B0604020202020204" pitchFamily="34" charset="0"/>
              <a:buChar char="•"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537832" indent="-224097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Clr>
                <a:srgbClr val="000000"/>
              </a:buClr>
              <a:buSzPct val="77000"/>
              <a:buFont typeface="Arial" panose="020B0604020202020204" pitchFamily="34" charset="0"/>
              <a:buChar char="•"/>
              <a:defRPr sz="1961">
                <a:solidFill>
                  <a:srgbClr val="000000"/>
                </a:solidFill>
              </a:defRPr>
            </a:lvl2pPr>
            <a:lvl3pPr marL="806748" indent="-224097">
              <a:spcBef>
                <a:spcPts val="0"/>
              </a:spcBef>
              <a:spcAft>
                <a:spcPts val="1274"/>
              </a:spcAft>
              <a:buClr>
                <a:srgbClr val="000000"/>
              </a:buClr>
              <a:buSzPct val="77000"/>
              <a:buFont typeface="Arial" panose="020B0604020202020204" pitchFamily="34" charset="0"/>
              <a:buChar char="•"/>
              <a:defRPr sz="1961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26pt</a:t>
            </a:r>
          </a:p>
          <a:p>
            <a:pPr lvl="1"/>
            <a:r>
              <a:rPr lang="en-US"/>
              <a:t>Second level Segoe UI 20pt</a:t>
            </a:r>
          </a:p>
          <a:p>
            <a:pPr lvl="2"/>
            <a:r>
              <a:rPr lang="en-US"/>
              <a:t>Third level Segoe UI 20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5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pt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F94EA65-2CBF-4A04-9D22-169D8572F3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423" y="1083831"/>
            <a:ext cx="11339774" cy="353070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None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None/>
              <a:defRPr sz="1961">
                <a:solidFill>
                  <a:schemeClr val="tx2"/>
                </a:solidFill>
              </a:defRPr>
            </a:lvl2pPr>
            <a:lvl3pPr marL="448193" indent="0">
              <a:spcBef>
                <a:spcPts val="0"/>
              </a:spcBef>
              <a:spcAft>
                <a:spcPts val="1274"/>
              </a:spcAft>
              <a:buNone/>
              <a:defRPr sz="1961"/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title Segoe UI 26pt</a:t>
            </a:r>
          </a:p>
        </p:txBody>
      </p:sp>
    </p:spTree>
    <p:extLst>
      <p:ext uri="{BB962C8B-B14F-4D97-AF65-F5344CB8AC3E}">
        <p14:creationId xmlns:p14="http://schemas.microsoft.com/office/powerpoint/2010/main" val="3253144051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5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62236925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209610" y="0"/>
            <a:ext cx="5982390" cy="6858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87B2D435-6763-4273-8B58-EEB8756175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440495"/>
            <a:ext cx="5555966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 1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145841"/>
            <a:ext cx="5555965" cy="2573509"/>
          </a:xfrm>
        </p:spPr>
        <p:txBody>
          <a:bodyPr wrap="square"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9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</p:txBody>
      </p:sp>
    </p:spTree>
    <p:extLst>
      <p:ext uri="{BB962C8B-B14F-4D97-AF65-F5344CB8AC3E}">
        <p14:creationId xmlns:p14="http://schemas.microsoft.com/office/powerpoint/2010/main" val="7929535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26424" y="2135537"/>
            <a:ext cx="3632388" cy="258381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 hasCustomPrompt="1"/>
          </p:nvPr>
        </p:nvSpPr>
        <p:spPr>
          <a:xfrm>
            <a:off x="4281364" y="2135537"/>
            <a:ext cx="3623050" cy="2583813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8126963" y="2135536"/>
            <a:ext cx="3634002" cy="2583814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4927922"/>
            <a:ext cx="3630521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 b="1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4927922"/>
            <a:ext cx="3623050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4927922"/>
            <a:ext cx="3630521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 2</a:t>
            </a:r>
          </a:p>
        </p:txBody>
      </p:sp>
    </p:spTree>
    <p:extLst>
      <p:ext uri="{BB962C8B-B14F-4D97-AF65-F5344CB8AC3E}">
        <p14:creationId xmlns:p14="http://schemas.microsoft.com/office/powerpoint/2010/main" val="202075698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nline Image Placeholder 2">
            <a:extLst>
              <a:ext uri="{FF2B5EF4-FFF2-40B4-BE49-F238E27FC236}">
                <a16:creationId xmlns:a16="http://schemas.microsoft.com/office/drawing/2014/main" id="{562D5679-B66F-A244-9E94-0FFE5F1B6168}"/>
              </a:ext>
            </a:extLst>
          </p:cNvPr>
          <p:cNvSpPr>
            <a:spLocks noGrp="1"/>
          </p:cNvSpPr>
          <p:nvPr>
            <p:ph type="clipArt" sz="quarter" idx="11" hasCustomPrompt="1"/>
          </p:nvPr>
        </p:nvSpPr>
        <p:spPr>
          <a:xfrm>
            <a:off x="5982391" y="2145841"/>
            <a:ext cx="5780073" cy="3756460"/>
          </a:xfrm>
        </p:spPr>
        <p:txBody>
          <a:bodyPr anchor="ctr">
            <a:noAutofit/>
          </a:bodyPr>
          <a:lstStyle>
            <a:lvl1pPr algn="ctr">
              <a:defRPr sz="1961"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2145841"/>
            <a:ext cx="5138175" cy="2573509"/>
          </a:xfrm>
        </p:spPr>
        <p:txBody>
          <a:bodyPr wrap="square"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9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60CBD1C-0AFE-4EB9-94D7-943981FE0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Device layout</a:t>
            </a:r>
          </a:p>
        </p:txBody>
      </p:sp>
    </p:spTree>
    <p:extLst>
      <p:ext uri="{BB962C8B-B14F-4D97-AF65-F5344CB8AC3E}">
        <p14:creationId xmlns:p14="http://schemas.microsoft.com/office/powerpoint/2010/main" val="2688036862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layout: three columns graphic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426425" y="1599723"/>
            <a:ext cx="3632388" cy="31289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897219" y="1958468"/>
            <a:ext cx="2698612" cy="2411476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4281363" y="1599723"/>
            <a:ext cx="3623052" cy="31289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8126965" y="1599723"/>
            <a:ext cx="3635499" cy="31289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Content Placeholder 15"/>
          <p:cNvSpPr>
            <a:spLocks noGrp="1"/>
          </p:cNvSpPr>
          <p:nvPr userDrawn="1">
            <p:ph sz="quarter" idx="18" hasCustomPrompt="1"/>
          </p:nvPr>
        </p:nvSpPr>
        <p:spPr>
          <a:xfrm>
            <a:off x="4746694" y="1958468"/>
            <a:ext cx="2698612" cy="2411476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5"/>
          <p:cNvSpPr>
            <a:spLocks noGrp="1"/>
          </p:cNvSpPr>
          <p:nvPr userDrawn="1">
            <p:ph sz="quarter" idx="19" hasCustomPrompt="1"/>
          </p:nvPr>
        </p:nvSpPr>
        <p:spPr>
          <a:xfrm>
            <a:off x="8598490" y="1958468"/>
            <a:ext cx="2698612" cy="2411476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C74E6E5-9DAD-4A14-9C20-D9F9150874F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26424" y="44049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Graphic layout: three columns graphic an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B052D15-67DF-4845-863F-FEC853640A9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26425" y="4927922"/>
            <a:ext cx="3627659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 b="1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5ECD4C7-D870-4003-9FA8-85EBBED87940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281362" y="4927922"/>
            <a:ext cx="3623051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A9BECBA-B2CC-4EE6-B54E-9ADB03EB2595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26963" y="4927922"/>
            <a:ext cx="3635502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15213799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layout: four columns graphic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9594C393-E06E-3A4C-A658-2526A14DA5A1}"/>
              </a:ext>
            </a:extLst>
          </p:cNvPr>
          <p:cNvSpPr/>
          <p:nvPr userDrawn="1"/>
        </p:nvSpPr>
        <p:spPr bwMode="auto">
          <a:xfrm>
            <a:off x="9109046" y="1590385"/>
            <a:ext cx="2653417" cy="31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>
            <a:outerShdw blurRad="76200" algn="ctr" rotWithShape="0">
              <a:schemeClr val="bg2">
                <a:lumMod val="50000"/>
                <a:alpha val="8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011C51E-94BA-C44D-ABF4-E87C4124DAF0}"/>
              </a:ext>
            </a:extLst>
          </p:cNvPr>
          <p:cNvSpPr/>
          <p:nvPr userDrawn="1"/>
        </p:nvSpPr>
        <p:spPr bwMode="auto">
          <a:xfrm>
            <a:off x="6214840" y="1590385"/>
            <a:ext cx="2653417" cy="31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>
            <a:outerShdw blurRad="76200" algn="ctr" rotWithShape="0">
              <a:schemeClr val="bg2">
                <a:lumMod val="50000"/>
                <a:alpha val="8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6DDB665-2DD7-AE40-9862-C6E8E22E9215}"/>
              </a:ext>
            </a:extLst>
          </p:cNvPr>
          <p:cNvSpPr/>
          <p:nvPr userDrawn="1"/>
        </p:nvSpPr>
        <p:spPr bwMode="auto">
          <a:xfrm>
            <a:off x="3320633" y="1590385"/>
            <a:ext cx="2653417" cy="31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>
            <a:outerShdw blurRad="76200" algn="ctr" rotWithShape="0">
              <a:schemeClr val="bg2">
                <a:lumMod val="50000"/>
                <a:alpha val="8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CD677DE-AA2C-984C-BAE1-54D5F0B518CE}"/>
              </a:ext>
            </a:extLst>
          </p:cNvPr>
          <p:cNvSpPr/>
          <p:nvPr userDrawn="1"/>
        </p:nvSpPr>
        <p:spPr bwMode="auto">
          <a:xfrm>
            <a:off x="426426" y="1590385"/>
            <a:ext cx="2653417" cy="31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>
            <a:outerShdw blurRad="76200" algn="ctr" rotWithShape="0">
              <a:schemeClr val="bg2">
                <a:lumMod val="50000"/>
                <a:alpha val="8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47712A-15EB-884C-BF95-7C690BA77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35824"/>
            <a:ext cx="11336039" cy="74401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Graphic layout: four columns graphic and text</a:t>
            </a:r>
          </a:p>
        </p:txBody>
      </p:sp>
      <p:sp>
        <p:nvSpPr>
          <p:cNvPr id="4" name="Content Placeholder 15">
            <a:extLst>
              <a:ext uri="{FF2B5EF4-FFF2-40B4-BE49-F238E27FC236}">
                <a16:creationId xmlns:a16="http://schemas.microsoft.com/office/drawing/2014/main" id="{F580A529-D3A8-5643-80BA-3E2BE1AA8D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966751" y="2135537"/>
            <a:ext cx="1572767" cy="2038660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" name="Content Placeholder 15">
            <a:extLst>
              <a:ext uri="{FF2B5EF4-FFF2-40B4-BE49-F238E27FC236}">
                <a16:creationId xmlns:a16="http://schemas.microsoft.com/office/drawing/2014/main" id="{1F6D7A4B-5FFE-2741-8477-E0CAA019B07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849259" y="2135537"/>
            <a:ext cx="1596164" cy="2038660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7CF99F6-2487-AC48-8A09-B34B72BD5F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6" y="4927922"/>
            <a:ext cx="2653417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 b="1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F7B5F75-90C0-F44E-9322-8FF1108BD3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20633" y="4927922"/>
            <a:ext cx="2653417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E444E9C-8096-FE42-BE2A-094180C611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4840" y="4927922"/>
            <a:ext cx="2653417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  <p:sp>
        <p:nvSpPr>
          <p:cNvPr id="13" name="Content Placeholder 15">
            <a:extLst>
              <a:ext uri="{FF2B5EF4-FFF2-40B4-BE49-F238E27FC236}">
                <a16:creationId xmlns:a16="http://schemas.microsoft.com/office/drawing/2014/main" id="{30602BFF-4B8C-D046-AD65-47970BC89DF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743466" y="2135537"/>
            <a:ext cx="1596164" cy="2038660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88A8CB35-A244-544E-8BAE-53CB85074FB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637672" y="2135537"/>
            <a:ext cx="1596164" cy="2038660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8D35D15-66F4-4840-BA72-4B7AB5A24E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09046" y="4927922"/>
            <a:ext cx="2653417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9342969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6765863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26424" y="2135536"/>
            <a:ext cx="11336039" cy="4288197"/>
          </a:xfrm>
        </p:spPr>
        <p:txBody>
          <a:bodyPr bIns="1737360" anchor="ctr">
            <a:noAutofit/>
          </a:bodyPr>
          <a:lstStyle>
            <a:lvl1pPr algn="ctr">
              <a:defRPr sz="1961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4F997AC3-87B6-4E0B-88C2-A05069E413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able layout</a:t>
            </a:r>
          </a:p>
        </p:txBody>
      </p:sp>
    </p:spTree>
    <p:extLst>
      <p:ext uri="{BB962C8B-B14F-4D97-AF65-F5344CB8AC3E}">
        <p14:creationId xmlns:p14="http://schemas.microsoft.com/office/powerpoint/2010/main" val="3223777850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spc="-147" dirty="0">
                <a:solidFill>
                  <a:srgbClr val="000000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915092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bg>
      <p:bgPr>
        <a:solidFill>
          <a:srgbClr val="0278D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>
            <a:extLst>
              <a:ext uri="{FF2B5EF4-FFF2-40B4-BE49-F238E27FC236}">
                <a16:creationId xmlns:a16="http://schemas.microsoft.com/office/drawing/2014/main" id="{51E9DCD3-357B-4AF7-BDD2-18E09F714F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spc="-147" dirty="0">
                <a:solidFill>
                  <a:schemeClr val="tx2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886788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in a blue shirt&#10;&#10;Description generated with high confidence">
            <a:extLst>
              <a:ext uri="{FF2B5EF4-FFF2-40B4-BE49-F238E27FC236}">
                <a16:creationId xmlns:a16="http://schemas.microsoft.com/office/drawing/2014/main" id="{6ED214DD-0EEC-4ACC-A022-15CDD9C0AD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0264" cy="6857996"/>
          </a:xfrm>
          <a:prstGeom prst="rect">
            <a:avLst/>
          </a:prstGeom>
        </p:spPr>
      </p:pic>
      <p:sp>
        <p:nvSpPr>
          <p:cNvPr id="5" name="Title 35">
            <a:extLst>
              <a:ext uri="{FF2B5EF4-FFF2-40B4-BE49-F238E27FC236}">
                <a16:creationId xmlns:a16="http://schemas.microsoft.com/office/drawing/2014/main" id="{8441881C-06B8-4CD2-ADC6-DFD3519E6A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spc="-147" dirty="0">
                <a:solidFill>
                  <a:srgbClr val="000000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853971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2356129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07DE85-B70F-4309-8506-6C011BC20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1829711"/>
            <a:ext cx="7477989" cy="1473396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74"/>
              </a:spcAft>
              <a:defRPr sz="2549" spc="-147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sp>
        <p:nvSpPr>
          <p:cNvPr id="7" name="Text Box 3">
            <a:extLst>
              <a:ext uri="{FF2B5EF4-FFF2-40B4-BE49-F238E27FC236}">
                <a16:creationId xmlns:a16="http://schemas.microsoft.com/office/drawing/2014/main" id="{F3523A4C-09FD-49AC-AA6D-1A6E7B7893EE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rgbClr val="000000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4C8B45-9D01-4389-94BD-CBAF3D8B35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9544" y="437137"/>
            <a:ext cx="896425" cy="190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5138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blue">
    <p:bg>
      <p:bgPr>
        <a:solidFill>
          <a:srgbClr val="0278D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26425" y="1829711"/>
            <a:ext cx="7477989" cy="1473396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74"/>
              </a:spcAft>
              <a:defRPr sz="2549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sp>
        <p:nvSpPr>
          <p:cNvPr id="4" name="Text Box 3">
            <a:extLst>
              <a:ext uri="{FF2B5EF4-FFF2-40B4-BE49-F238E27FC236}">
                <a16:creationId xmlns:a16="http://schemas.microsoft.com/office/drawing/2014/main" id="{1688BD8D-D2E4-4DFC-B39C-D55D84362354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2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36BDE7C-8AED-4A87-A171-2EB14E4B98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681" y="437140"/>
            <a:ext cx="896425" cy="191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2868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571CC8-5FD6-48E6-BEE7-FDBE21D4A1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5A946AE-8A38-4F7F-9621-0CB4A6F776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208419-28C7-4315-AC88-2723173E0C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2459B-4590-4212-9986-42F101C06FB7}" type="datetimeFigureOut">
              <a:rPr lang="en-US" smtClean="0"/>
              <a:t>4/2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F81208-3B8F-4A55-A457-9FE42DE2A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0C6005-C032-4DB0-A6BA-F0EF985E2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238A3-9442-4904-8F0D-59B136D267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562134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29545" y="3029995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3" strike="noStrike" spc="-147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Microsoft 365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6428" y="4838790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67" spc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F4A718E-6F7C-414B-B5B4-AA6809C768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9545" y="437139"/>
            <a:ext cx="896425" cy="190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711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bg>
      <p:bgPr>
        <a:solidFill>
          <a:srgbClr val="02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CA1BD43-4947-4C7D-B1C8-B6C8FC3789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682" y="437142"/>
            <a:ext cx="896425" cy="19114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E73B716-5AC1-4E6F-99C0-F195B0C587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545" y="3029995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3" strike="noStrike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Microsoft 365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78FD896-9F6B-4251-9F12-35FEF1AF74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428" y="4838790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67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0559275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28/32</a:t>
            </a:r>
          </a:p>
        </p:txBody>
      </p:sp>
      <p:sp>
        <p:nvSpPr>
          <p:cNvPr id="18" name="Text Box 3">
            <a:extLst>
              <a:ext uri="{FF2B5EF4-FFF2-40B4-BE49-F238E27FC236}">
                <a16:creationId xmlns:a16="http://schemas.microsoft.com/office/drawing/2014/main" id="{19F02595-114B-2D46-ABDC-5E65D166807C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EE1E43F-C091-614B-AA20-F39D0AACAA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586"/>
            <a:ext cx="9384447" cy="33655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36145" marR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961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ulleted list Segoe UI Regular 20/24. Dis </a:t>
            </a:r>
            <a:r>
              <a:rPr lang="en-US" err="1"/>
              <a:t>apid</a:t>
            </a:r>
            <a:r>
              <a:rPr lang="en-US"/>
              <a:t> es </a:t>
            </a:r>
            <a:r>
              <a:rPr lang="en-US" err="1"/>
              <a:t>simusanditi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ex et </a:t>
            </a:r>
            <a:r>
              <a:rPr lang="en-US" err="1"/>
              <a:t>illore</a:t>
            </a:r>
            <a:r>
              <a:rPr lang="en-US"/>
              <a:t>, </a:t>
            </a:r>
            <a:r>
              <a:rPr lang="en-US" err="1"/>
              <a:t>nectatione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dic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vit </a:t>
            </a:r>
            <a:r>
              <a:rPr lang="en-US" err="1"/>
              <a:t>velestium</a:t>
            </a:r>
            <a:r>
              <a:rPr lang="en-US"/>
              <a:t> </a:t>
            </a:r>
            <a:r>
              <a:rPr lang="en-US" err="1"/>
              <a:t>reperro</a:t>
            </a:r>
            <a:r>
              <a:rPr lang="en-US"/>
              <a:t> </a:t>
            </a:r>
            <a:r>
              <a:rPr lang="en-US" err="1"/>
              <a:t>rroviduntion</a:t>
            </a:r>
            <a:r>
              <a:rPr lang="en-US"/>
              <a:t> </a:t>
            </a:r>
            <a:r>
              <a:rPr lang="en-US" err="1"/>
              <a:t>conem</a:t>
            </a:r>
            <a:r>
              <a:rPr lang="en-US"/>
              <a:t> </a:t>
            </a:r>
            <a:r>
              <a:rPr lang="en-US" err="1"/>
              <a:t>rehend</a:t>
            </a:r>
            <a:br>
              <a:rPr lang="en-US"/>
            </a:br>
            <a:endParaRPr lang="en-US"/>
          </a:p>
          <a:p>
            <a:pPr marL="336145" marR="0" lvl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ulleted list Segoe UI Regular 20/24. Dis </a:t>
            </a:r>
            <a:r>
              <a:rPr lang="en-US" err="1"/>
              <a:t>apid</a:t>
            </a:r>
            <a:r>
              <a:rPr lang="en-US"/>
              <a:t> es </a:t>
            </a:r>
            <a:r>
              <a:rPr lang="en-US" err="1"/>
              <a:t>simusanditi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ex et </a:t>
            </a:r>
            <a:r>
              <a:rPr lang="en-US" err="1"/>
              <a:t>illore</a:t>
            </a:r>
            <a:r>
              <a:rPr lang="en-US"/>
              <a:t>, </a:t>
            </a:r>
            <a:r>
              <a:rPr lang="en-US" err="1"/>
              <a:t>nectatione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dic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vit </a:t>
            </a:r>
            <a:r>
              <a:rPr lang="en-US" err="1"/>
              <a:t>velestium</a:t>
            </a:r>
            <a:r>
              <a:rPr lang="en-US"/>
              <a:t> </a:t>
            </a:r>
            <a:r>
              <a:rPr lang="en-US" err="1"/>
              <a:t>reperro</a:t>
            </a:r>
            <a:r>
              <a:rPr lang="en-US"/>
              <a:t> </a:t>
            </a:r>
            <a:r>
              <a:rPr lang="en-US" err="1"/>
              <a:t>rroviduntion</a:t>
            </a:r>
            <a:r>
              <a:rPr lang="en-US"/>
              <a:t> </a:t>
            </a:r>
            <a:r>
              <a:rPr lang="en-US" err="1"/>
              <a:t>conem</a:t>
            </a:r>
            <a:r>
              <a:rPr lang="en-US"/>
              <a:t> </a:t>
            </a:r>
            <a:r>
              <a:rPr lang="en-US" err="1"/>
              <a:t>rehend</a:t>
            </a:r>
            <a:br>
              <a:rPr lang="en-US"/>
            </a:br>
            <a:endParaRPr lang="en-US"/>
          </a:p>
          <a:p>
            <a:pPr marL="336145" marR="0" lvl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ulleted list Segoe UI Regular 20/24. Dis </a:t>
            </a:r>
            <a:r>
              <a:rPr lang="en-US" err="1"/>
              <a:t>apid</a:t>
            </a:r>
            <a:r>
              <a:rPr lang="en-US"/>
              <a:t> es </a:t>
            </a:r>
            <a:r>
              <a:rPr lang="en-US" err="1"/>
              <a:t>simusanditi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ex et </a:t>
            </a:r>
            <a:r>
              <a:rPr lang="en-US" err="1"/>
              <a:t>illore</a:t>
            </a:r>
            <a:r>
              <a:rPr lang="en-US"/>
              <a:t>, </a:t>
            </a:r>
            <a:r>
              <a:rPr lang="en-US" err="1"/>
              <a:t>nectatione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dic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vit </a:t>
            </a:r>
            <a:r>
              <a:rPr lang="en-US" err="1"/>
              <a:t>velestium</a:t>
            </a:r>
            <a:r>
              <a:rPr lang="en-US"/>
              <a:t> </a:t>
            </a:r>
            <a:r>
              <a:rPr lang="en-US" err="1"/>
              <a:t>reperro</a:t>
            </a:r>
            <a:r>
              <a:rPr lang="en-US"/>
              <a:t> </a:t>
            </a:r>
            <a:r>
              <a:rPr lang="en-US" err="1"/>
              <a:t>rroviduntion</a:t>
            </a:r>
            <a:r>
              <a:rPr lang="en-US"/>
              <a:t> </a:t>
            </a:r>
            <a:r>
              <a:rPr lang="en-US" err="1"/>
              <a:t>conem</a:t>
            </a:r>
            <a:r>
              <a:rPr lang="en-US"/>
              <a:t> </a:t>
            </a:r>
            <a:r>
              <a:rPr lang="en-US" err="1"/>
              <a:t>rehend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770900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wearing a suit and tie&#10;&#10;Description generated with very high confidence">
            <a:extLst>
              <a:ext uri="{FF2B5EF4-FFF2-40B4-BE49-F238E27FC236}">
                <a16:creationId xmlns:a16="http://schemas.microsoft.com/office/drawing/2014/main" id="{D7C7894B-0FFD-4641-97BE-1876DDD190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973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6918950D-BA52-4C37-9FC7-9B2441DAB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544" y="3029995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3" strike="noStrike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Microsoft 365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B7969DA-51E9-4FB3-BFCC-63C88E80862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427" y="4838790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67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90DFA7B-97BC-46B8-B956-1ACFF1DA09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424" y="438439"/>
            <a:ext cx="1364901" cy="224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9324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computer&#10;&#10;Description generated with very high confidence">
            <a:extLst>
              <a:ext uri="{FF2B5EF4-FFF2-40B4-BE49-F238E27FC236}">
                <a16:creationId xmlns:a16="http://schemas.microsoft.com/office/drawing/2014/main" id="{526CAB38-C067-42AB-B30D-0B60633D91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b="-1"/>
          <a:stretch/>
        </p:blipFill>
        <p:spPr>
          <a:xfrm>
            <a:off x="1766" y="0"/>
            <a:ext cx="12188468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49DE887-6B72-4CA7-9C1C-CD555B5F7493}"/>
              </a:ext>
            </a:extLst>
          </p:cNvPr>
          <p:cNvSpPr/>
          <p:nvPr userDrawn="1"/>
        </p:nvSpPr>
        <p:spPr bwMode="auto">
          <a:xfrm>
            <a:off x="2" y="0"/>
            <a:ext cx="7262561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5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918950D-BA52-4C37-9FC7-9B2441DAB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545" y="3029995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3" strike="noStrike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Microsoft 365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B7969DA-51E9-4FB3-BFCC-63C88E80862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428" y="4838790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67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4F71F07-3FF3-4902-A108-DE5C884EF8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682" y="437142"/>
            <a:ext cx="896425" cy="191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4122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426" y="1202872"/>
            <a:ext cx="3632388" cy="1172553"/>
          </a:xfrm>
        </p:spPr>
        <p:txBody>
          <a:bodyPr lIns="0" tIns="0" rIns="0" bIns="0"/>
          <a:lstStyle>
            <a:lvl1pPr>
              <a:defRPr sz="1961" spc="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12722" y="1202872"/>
            <a:ext cx="3618382" cy="3289228"/>
          </a:xfrm>
        </p:spPr>
        <p:txBody>
          <a:bodyPr wrap="square" lIns="0" tIns="0" rIns="0" bIns="0">
            <a:noAutofit/>
          </a:bodyPr>
          <a:lstStyle>
            <a:lvl1pPr marL="0" marR="0" indent="0" algn="l" defTabSz="5072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961" spc="0" baseline="0">
                <a:solidFill>
                  <a:schemeClr val="accent1"/>
                </a:solidFill>
                <a:latin typeface="+mj-lt"/>
              </a:defRPr>
            </a:lvl1pPr>
            <a:lvl2pPr marL="224054" indent="0">
              <a:buNone/>
              <a:defRPr sz="1765"/>
            </a:lvl2pPr>
            <a:lvl3pPr marL="448107" indent="0">
              <a:buNone/>
              <a:defRPr sz="1765"/>
            </a:lvl3pPr>
            <a:lvl4pPr marL="672161" indent="0">
              <a:buNone/>
              <a:defRPr sz="1765"/>
            </a:lvl4pPr>
            <a:lvl5pPr marL="896214" indent="0">
              <a:buNone/>
              <a:defRPr sz="1765"/>
            </a:lvl5pPr>
          </a:lstStyle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63236866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2139704"/>
            <a:ext cx="11339774" cy="122317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73"/>
              </a:spcAft>
              <a:buNone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54" indent="0">
              <a:lnSpc>
                <a:spcPct val="90000"/>
              </a:lnSpc>
              <a:spcBef>
                <a:spcPts val="0"/>
              </a:spcBef>
              <a:spcAft>
                <a:spcPts val="1273"/>
              </a:spcAft>
              <a:buNone/>
              <a:defRPr sz="1961">
                <a:solidFill>
                  <a:srgbClr val="000000"/>
                </a:solidFill>
              </a:defRPr>
            </a:lvl2pPr>
            <a:lvl3pPr marL="448107" indent="0">
              <a:spcBef>
                <a:spcPts val="0"/>
              </a:spcBef>
              <a:spcAft>
                <a:spcPts val="1273"/>
              </a:spcAft>
              <a:buNone/>
              <a:defRPr sz="1961">
                <a:solidFill>
                  <a:srgbClr val="000000"/>
                </a:solidFill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First level Segoe UI 26pt</a:t>
            </a:r>
          </a:p>
          <a:p>
            <a:pPr lvl="1"/>
            <a:r>
              <a:rPr lang="en-US"/>
              <a:t>Second level Segoe UI 20pt</a:t>
            </a:r>
          </a:p>
          <a:p>
            <a:pPr lvl="2"/>
            <a:r>
              <a:rPr lang="en-US"/>
              <a:t>Third level Segoe UI 20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8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pt</a:t>
            </a:r>
          </a:p>
        </p:txBody>
      </p:sp>
    </p:spTree>
    <p:extLst>
      <p:ext uri="{BB962C8B-B14F-4D97-AF65-F5344CB8AC3E}">
        <p14:creationId xmlns:p14="http://schemas.microsoft.com/office/powerpoint/2010/main" val="4214365226"/>
      </p:ext>
    </p:extLst>
  </p:cSld>
  <p:clrMapOvr>
    <a:masterClrMapping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slide (with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9" y="2141397"/>
            <a:ext cx="11339774" cy="1223171"/>
          </a:xfrm>
        </p:spPr>
        <p:txBody>
          <a:bodyPr wrap="square" lIns="0" tIns="0" rIns="0" bIns="0">
            <a:spAutoFit/>
          </a:bodyPr>
          <a:lstStyle>
            <a:lvl1pPr marL="268864" indent="-268864">
              <a:lnSpc>
                <a:spcPct val="90000"/>
              </a:lnSpc>
              <a:spcBef>
                <a:spcPts val="0"/>
              </a:spcBef>
              <a:spcAft>
                <a:spcPts val="1273"/>
              </a:spcAft>
              <a:buClr>
                <a:srgbClr val="000000"/>
              </a:buClr>
              <a:buSzPct val="77000"/>
              <a:buFont typeface="Arial" panose="020B0604020202020204" pitchFamily="34" charset="0"/>
              <a:buChar char="•"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537729" indent="-224054">
              <a:lnSpc>
                <a:spcPct val="90000"/>
              </a:lnSpc>
              <a:spcBef>
                <a:spcPts val="0"/>
              </a:spcBef>
              <a:spcAft>
                <a:spcPts val="1273"/>
              </a:spcAft>
              <a:buClr>
                <a:srgbClr val="000000"/>
              </a:buClr>
              <a:buSzPct val="77000"/>
              <a:buFont typeface="Arial" panose="020B0604020202020204" pitchFamily="34" charset="0"/>
              <a:buChar char="•"/>
              <a:defRPr sz="1961">
                <a:solidFill>
                  <a:srgbClr val="000000"/>
                </a:solidFill>
              </a:defRPr>
            </a:lvl2pPr>
            <a:lvl3pPr marL="806593" indent="-224054">
              <a:spcBef>
                <a:spcPts val="0"/>
              </a:spcBef>
              <a:spcAft>
                <a:spcPts val="1273"/>
              </a:spcAft>
              <a:buClr>
                <a:srgbClr val="000000"/>
              </a:buClr>
              <a:buSzPct val="77000"/>
              <a:buFont typeface="Arial" panose="020B0604020202020204" pitchFamily="34" charset="0"/>
              <a:buChar char="•"/>
              <a:defRPr sz="1961">
                <a:solidFill>
                  <a:srgbClr val="000000"/>
                </a:solidFill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First level Segoe UI 26pt</a:t>
            </a:r>
          </a:p>
          <a:p>
            <a:pPr lvl="1"/>
            <a:r>
              <a:rPr lang="en-US"/>
              <a:t>Second level Segoe UI 20pt</a:t>
            </a:r>
          </a:p>
          <a:p>
            <a:pPr lvl="2"/>
            <a:r>
              <a:rPr lang="en-US"/>
              <a:t>Third level Segoe UI 20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5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pt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F94EA65-2CBF-4A04-9D22-169D8572F3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423" y="1083833"/>
            <a:ext cx="11339774" cy="353070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73"/>
              </a:spcAft>
              <a:buNone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54" indent="0">
              <a:lnSpc>
                <a:spcPct val="90000"/>
              </a:lnSpc>
              <a:spcBef>
                <a:spcPts val="0"/>
              </a:spcBef>
              <a:spcAft>
                <a:spcPts val="1273"/>
              </a:spcAft>
              <a:buNone/>
              <a:defRPr sz="1961">
                <a:solidFill>
                  <a:schemeClr val="tx2"/>
                </a:solidFill>
              </a:defRPr>
            </a:lvl2pPr>
            <a:lvl3pPr marL="448107" indent="0">
              <a:spcBef>
                <a:spcPts val="0"/>
              </a:spcBef>
              <a:spcAft>
                <a:spcPts val="1273"/>
              </a:spcAft>
              <a:buNone/>
              <a:defRPr sz="1961"/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title Segoe UI 26pt</a:t>
            </a:r>
          </a:p>
        </p:txBody>
      </p:sp>
    </p:spTree>
    <p:extLst>
      <p:ext uri="{BB962C8B-B14F-4D97-AF65-F5344CB8AC3E}">
        <p14:creationId xmlns:p14="http://schemas.microsoft.com/office/powerpoint/2010/main" val="3154317777"/>
      </p:ext>
    </p:extLst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5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912592908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209611" y="2"/>
            <a:ext cx="5982390" cy="6858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87B2D435-6763-4273-8B58-EEB8756175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7" y="440495"/>
            <a:ext cx="5555966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 1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145844"/>
            <a:ext cx="5555965" cy="2573509"/>
          </a:xfrm>
        </p:spPr>
        <p:txBody>
          <a:bodyPr wrap="square" lIns="0" tIns="0" rIns="0" bIns="0">
            <a:noAutofit/>
          </a:bodyPr>
          <a:lstStyle>
            <a:lvl1pPr marL="0" marR="0" indent="0" algn="l" defTabSz="91419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54" marR="0" indent="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</p:txBody>
      </p:sp>
    </p:spTree>
    <p:extLst>
      <p:ext uri="{BB962C8B-B14F-4D97-AF65-F5344CB8AC3E}">
        <p14:creationId xmlns:p14="http://schemas.microsoft.com/office/powerpoint/2010/main" val="35444729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26425" y="2135538"/>
            <a:ext cx="3632388" cy="258381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 hasCustomPrompt="1"/>
          </p:nvPr>
        </p:nvSpPr>
        <p:spPr>
          <a:xfrm>
            <a:off x="4281364" y="2135538"/>
            <a:ext cx="3623050" cy="2583813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8126965" y="2135538"/>
            <a:ext cx="3634002" cy="2583814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6" y="4927922"/>
            <a:ext cx="3630521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7" b="1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7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4927922"/>
            <a:ext cx="3623050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7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7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26964" y="4927922"/>
            <a:ext cx="3630521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7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7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8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 2</a:t>
            </a:r>
          </a:p>
        </p:txBody>
      </p:sp>
    </p:spTree>
    <p:extLst>
      <p:ext uri="{BB962C8B-B14F-4D97-AF65-F5344CB8AC3E}">
        <p14:creationId xmlns:p14="http://schemas.microsoft.com/office/powerpoint/2010/main" val="3935097406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nline Image Placeholder 2">
            <a:extLst>
              <a:ext uri="{FF2B5EF4-FFF2-40B4-BE49-F238E27FC236}">
                <a16:creationId xmlns:a16="http://schemas.microsoft.com/office/drawing/2014/main" id="{562D5679-B66F-A244-9E94-0FFE5F1B6168}"/>
              </a:ext>
            </a:extLst>
          </p:cNvPr>
          <p:cNvSpPr>
            <a:spLocks noGrp="1"/>
          </p:cNvSpPr>
          <p:nvPr>
            <p:ph type="clipArt" sz="quarter" idx="11" hasCustomPrompt="1"/>
          </p:nvPr>
        </p:nvSpPr>
        <p:spPr>
          <a:xfrm>
            <a:off x="5982393" y="2145843"/>
            <a:ext cx="5780073" cy="3756460"/>
          </a:xfrm>
        </p:spPr>
        <p:txBody>
          <a:bodyPr anchor="ctr">
            <a:noAutofit/>
          </a:bodyPr>
          <a:lstStyle>
            <a:lvl1pPr algn="ctr">
              <a:defRPr sz="1961"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26425" y="2145844"/>
            <a:ext cx="5138175" cy="2573509"/>
          </a:xfrm>
        </p:spPr>
        <p:txBody>
          <a:bodyPr wrap="square" lIns="0" tIns="0" rIns="0" bIns="0">
            <a:noAutofit/>
          </a:bodyPr>
          <a:lstStyle>
            <a:lvl1pPr marL="0" marR="0" indent="0" algn="l" defTabSz="91419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54" marR="0" indent="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60CBD1C-0AFE-4EB9-94D7-943981FE0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8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Device layout</a:t>
            </a:r>
          </a:p>
        </p:txBody>
      </p:sp>
    </p:spTree>
    <p:extLst>
      <p:ext uri="{BB962C8B-B14F-4D97-AF65-F5344CB8AC3E}">
        <p14:creationId xmlns:p14="http://schemas.microsoft.com/office/powerpoint/2010/main" val="2348685780"/>
      </p:ext>
    </p:extLst>
  </p:cSld>
  <p:clrMapOvr>
    <a:masterClrMapping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layout: three columns graphic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426426" y="1599723"/>
            <a:ext cx="3632388" cy="31289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897219" y="1958468"/>
            <a:ext cx="2698612" cy="2411476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4281363" y="1599723"/>
            <a:ext cx="3623052" cy="31289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8126965" y="1599723"/>
            <a:ext cx="3635499" cy="31289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Content Placeholder 15"/>
          <p:cNvSpPr>
            <a:spLocks noGrp="1"/>
          </p:cNvSpPr>
          <p:nvPr userDrawn="1">
            <p:ph sz="quarter" idx="18" hasCustomPrompt="1"/>
          </p:nvPr>
        </p:nvSpPr>
        <p:spPr>
          <a:xfrm>
            <a:off x="4746694" y="1958468"/>
            <a:ext cx="2698612" cy="2411476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5"/>
          <p:cNvSpPr>
            <a:spLocks noGrp="1"/>
          </p:cNvSpPr>
          <p:nvPr userDrawn="1">
            <p:ph sz="quarter" idx="19" hasCustomPrompt="1"/>
          </p:nvPr>
        </p:nvSpPr>
        <p:spPr>
          <a:xfrm>
            <a:off x="8598491" y="1958468"/>
            <a:ext cx="2698612" cy="2411476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C74E6E5-9DAD-4A14-9C20-D9F9150874F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26424" y="440498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Graphic layout: three columns graphic an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B052D15-67DF-4845-863F-FEC853640A9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26427" y="4927922"/>
            <a:ext cx="3627659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7" b="1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7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5ECD4C7-D870-4003-9FA8-85EBBED87940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281364" y="4927922"/>
            <a:ext cx="3623051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7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7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A9BECBA-B2CC-4EE6-B54E-9ADB03EB2595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26965" y="4927922"/>
            <a:ext cx="3635502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7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7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4606353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36EA2AC-FEA2-4901-8495-272A5FA7FC20}"/>
              </a:ext>
            </a:extLst>
          </p:cNvPr>
          <p:cNvGrpSpPr/>
          <p:nvPr userDrawn="1"/>
        </p:nvGrpSpPr>
        <p:grpSpPr>
          <a:xfrm>
            <a:off x="6194603" y="-1"/>
            <a:ext cx="5997398" cy="6858001"/>
            <a:chOff x="6194603" y="-1"/>
            <a:chExt cx="5997398" cy="6858001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A096FE2B-3270-4E2C-AD0E-3AB4FD1B86F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502819" y="1461694"/>
              <a:ext cx="3689182" cy="5396306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94A5D7CE-1FED-4CEA-810D-4198E992429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548652" y="-1"/>
              <a:ext cx="1182753" cy="1076699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9BF408BE-3FB0-4FA0-B683-0E647B7E04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94603" y="5896894"/>
              <a:ext cx="1182753" cy="961106"/>
            </a:xfrm>
            <a:prstGeom prst="rect">
              <a:avLst/>
            </a:prstGeom>
          </p:spPr>
        </p:pic>
      </p:grpSp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7757" y="585788"/>
            <a:ext cx="2691631" cy="276999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00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>
                <a:latin typeface="+mj-lt"/>
              </a:rPr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 userDrawn="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6FAD87F-DBF5-4E2F-A61B-3CCEC5C7D0B9}"/>
              </a:ext>
            </a:extLst>
          </p:cNvPr>
          <p:cNvGrpSpPr/>
          <p:nvPr userDrawn="1"/>
        </p:nvGrpSpPr>
        <p:grpSpPr bwMode="ltGray">
          <a:xfrm>
            <a:off x="8710812" y="1771650"/>
            <a:ext cx="3481189" cy="4196081"/>
            <a:chOff x="8710812" y="1771650"/>
            <a:chExt cx="3481189" cy="4196081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6B0365F1-E7DF-4958-962E-9FFD3A39414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3720628"/>
              <a:ext cx="531187" cy="974975"/>
            </a:xfrm>
            <a:custGeom>
              <a:avLst/>
              <a:gdLst>
                <a:gd name="T0" fmla="*/ 547 w 547"/>
                <a:gd name="T1" fmla="*/ 704 h 1004"/>
                <a:gd name="T2" fmla="*/ 0 w 547"/>
                <a:gd name="T3" fmla="*/ 1004 h 1004"/>
                <a:gd name="T4" fmla="*/ 0 w 547"/>
                <a:gd name="T5" fmla="*/ 300 h 1004"/>
                <a:gd name="T6" fmla="*/ 547 w 547"/>
                <a:gd name="T7" fmla="*/ 0 h 1004"/>
                <a:gd name="T8" fmla="*/ 547 w 547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4"/>
                  </a:moveTo>
                  <a:lnTo>
                    <a:pt x="0" y="1004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4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39253E4C-431D-4257-8CC7-C1456CD2F32D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8040" y="3720628"/>
              <a:ext cx="532157" cy="974975"/>
            </a:xfrm>
            <a:custGeom>
              <a:avLst/>
              <a:gdLst>
                <a:gd name="T0" fmla="*/ 0 w 548"/>
                <a:gd name="T1" fmla="*/ 704 h 1004"/>
                <a:gd name="T2" fmla="*/ 548 w 548"/>
                <a:gd name="T3" fmla="*/ 1004 h 1004"/>
                <a:gd name="T4" fmla="*/ 548 w 548"/>
                <a:gd name="T5" fmla="*/ 300 h 1004"/>
                <a:gd name="T6" fmla="*/ 0 w 548"/>
                <a:gd name="T7" fmla="*/ 0 h 1004"/>
                <a:gd name="T8" fmla="*/ 0 w 548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4"/>
                  </a:moveTo>
                  <a:lnTo>
                    <a:pt x="548" y="1004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4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E928826C-9C74-4194-A556-98EC9A96F6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4404276"/>
              <a:ext cx="1063344" cy="586538"/>
            </a:xfrm>
            <a:custGeom>
              <a:avLst/>
              <a:gdLst>
                <a:gd name="T0" fmla="*/ 547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7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7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7ACB5DE1-DAC6-4C99-B2CC-0EB12CE0D5F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5D630C8B-3A7C-4321-A3EF-B1D0A698F7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2969" y="2748567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2A590461-2675-4E4A-B9BB-BF5471E895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3434156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48EAECFD-0CA3-492F-BA94-22EF6EB2205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62FFEC32-2F2F-43F4-9C21-7F15A26966A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3434157"/>
              <a:ext cx="1063345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  <a:gd name="connsiteX0" fmla="*/ 5005 w 10000"/>
                <a:gd name="connsiteY0" fmla="*/ 0 h 10000"/>
                <a:gd name="connsiteX1" fmla="*/ 0 w 10000"/>
                <a:gd name="connsiteY1" fmla="*/ 4967 h 10000"/>
                <a:gd name="connsiteX2" fmla="*/ 5048 w 10000"/>
                <a:gd name="connsiteY2" fmla="*/ 10000 h 10000"/>
                <a:gd name="connsiteX3" fmla="*/ 10000 w 10000"/>
                <a:gd name="connsiteY3" fmla="*/ 4967 h 10000"/>
                <a:gd name="connsiteX4" fmla="*/ 5005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5005" y="0"/>
                  </a:moveTo>
                  <a:lnTo>
                    <a:pt x="0" y="4967"/>
                  </a:lnTo>
                  <a:lnTo>
                    <a:pt x="5048" y="10000"/>
                  </a:lnTo>
                  <a:lnTo>
                    <a:pt x="10000" y="4967"/>
                  </a:lnTo>
                  <a:lnTo>
                    <a:pt x="5005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3">
              <a:extLst>
                <a:ext uri="{FF2B5EF4-FFF2-40B4-BE49-F238E27FC236}">
                  <a16:creationId xmlns:a16="http://schemas.microsoft.com/office/drawing/2014/main" id="{647709D2-F4CC-4414-B183-427A6D2A22A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1823" y="2748566"/>
              <a:ext cx="534332" cy="982635"/>
            </a:xfrm>
            <a:custGeom>
              <a:avLst/>
              <a:gdLst>
                <a:gd name="T0" fmla="*/ 0 w 548"/>
                <a:gd name="T1" fmla="*/ 706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6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72928ABA-DF2E-4C8E-B194-7FA5282298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3616" y="3434158"/>
              <a:ext cx="1060195" cy="586539"/>
            </a:xfrm>
            <a:custGeom>
              <a:avLst/>
              <a:gdLst>
                <a:gd name="T0" fmla="*/ 548 w 1096"/>
                <a:gd name="T1" fmla="*/ 0 h 604"/>
                <a:gd name="T2" fmla="*/ 0 w 1096"/>
                <a:gd name="T3" fmla="*/ 300 h 604"/>
                <a:gd name="T4" fmla="*/ 560 w 1096"/>
                <a:gd name="T5" fmla="*/ 604 h 604"/>
                <a:gd name="T6" fmla="*/ 1096 w 1096"/>
                <a:gd name="T7" fmla="*/ 300 h 604"/>
                <a:gd name="T8" fmla="*/ 548 w 1096"/>
                <a:gd name="T9" fmla="*/ 0 h 604"/>
                <a:gd name="connsiteX0" fmla="*/ 5000 w 9956"/>
                <a:gd name="connsiteY0" fmla="*/ 0 h 10000"/>
                <a:gd name="connsiteX1" fmla="*/ 0 w 9956"/>
                <a:gd name="connsiteY1" fmla="*/ 4967 h 10000"/>
                <a:gd name="connsiteX2" fmla="*/ 5109 w 9956"/>
                <a:gd name="connsiteY2" fmla="*/ 10000 h 10000"/>
                <a:gd name="connsiteX3" fmla="*/ 9956 w 9956"/>
                <a:gd name="connsiteY3" fmla="*/ 4967 h 10000"/>
                <a:gd name="connsiteX4" fmla="*/ 5000 w 9956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56" h="10000">
                  <a:moveTo>
                    <a:pt x="5000" y="0"/>
                  </a:moveTo>
                  <a:lnTo>
                    <a:pt x="0" y="4967"/>
                  </a:lnTo>
                  <a:lnTo>
                    <a:pt x="5109" y="10000"/>
                  </a:lnTo>
                  <a:lnTo>
                    <a:pt x="9956" y="4967"/>
                  </a:lnTo>
                  <a:lnTo>
                    <a:pt x="5000" y="0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5A52C6C9-8220-4E26-B41D-1AA4F49DF9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1771650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8548CD94-9B34-4B91-BB2B-8736861E89E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1673" y="1771650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CFFFDB94-105D-4570-A938-4AD7CE4AE78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2457240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id="{AC2A78A9-4071-45DC-BAE8-1C643EDD9B0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1" y="1771650"/>
              <a:ext cx="531187" cy="976917"/>
            </a:xfrm>
            <a:custGeom>
              <a:avLst/>
              <a:gdLst>
                <a:gd name="T0" fmla="*/ 547 w 547"/>
                <a:gd name="T1" fmla="*/ 706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0EEF9B-FB8E-409B-A24F-BD7570B88204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895988" y="1771650"/>
              <a:ext cx="296013" cy="847641"/>
            </a:xfrm>
            <a:custGeom>
              <a:avLst/>
              <a:gdLst>
                <a:gd name="connsiteX0" fmla="*/ 0 w 296013"/>
                <a:gd name="connsiteY0" fmla="*/ 0 h 847641"/>
                <a:gd name="connsiteX1" fmla="*/ 296013 w 296013"/>
                <a:gd name="connsiteY1" fmla="*/ 162051 h 847641"/>
                <a:gd name="connsiteX2" fmla="*/ 296013 w 296013"/>
                <a:gd name="connsiteY2" fmla="*/ 847641 h 847641"/>
                <a:gd name="connsiteX3" fmla="*/ 0 w 296013"/>
                <a:gd name="connsiteY3" fmla="*/ 685590 h 84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013" h="847641">
                  <a:moveTo>
                    <a:pt x="0" y="0"/>
                  </a:moveTo>
                  <a:lnTo>
                    <a:pt x="296013" y="162051"/>
                  </a:lnTo>
                  <a:lnTo>
                    <a:pt x="296013" y="847641"/>
                  </a:lnTo>
                  <a:lnTo>
                    <a:pt x="0" y="685590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90FC8DE-C4AD-4BD3-9506-276C17F0C33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0" y="2457240"/>
              <a:ext cx="827200" cy="593577"/>
            </a:xfrm>
            <a:custGeom>
              <a:avLst/>
              <a:gdLst>
                <a:gd name="connsiteX0" fmla="*/ 531141 w 827200"/>
                <a:gd name="connsiteY0" fmla="*/ 0 h 593577"/>
                <a:gd name="connsiteX1" fmla="*/ 827200 w 827200"/>
                <a:gd name="connsiteY1" fmla="*/ 162066 h 593577"/>
                <a:gd name="connsiteX2" fmla="*/ 827200 w 827200"/>
                <a:gd name="connsiteY2" fmla="*/ 425095 h 593577"/>
                <a:gd name="connsiteX3" fmla="*/ 529758 w 827200"/>
                <a:gd name="connsiteY3" fmla="*/ 593577 h 593577"/>
                <a:gd name="connsiteX4" fmla="*/ 0 w 827200"/>
                <a:gd name="connsiteY4" fmla="*/ 291334 h 59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7200" h="593577">
                  <a:moveTo>
                    <a:pt x="531141" y="0"/>
                  </a:moveTo>
                  <a:lnTo>
                    <a:pt x="827200" y="162066"/>
                  </a:lnTo>
                  <a:lnTo>
                    <a:pt x="827200" y="425095"/>
                  </a:lnTo>
                  <a:lnTo>
                    <a:pt x="529758" y="593577"/>
                  </a:lnTo>
                  <a:lnTo>
                    <a:pt x="0" y="291334"/>
                  </a:lnTo>
                  <a:close/>
                </a:path>
              </a:pathLst>
            </a:custGeom>
            <a:solidFill>
              <a:srgbClr val="303030"/>
            </a:solidFill>
            <a:ln w="9525">
              <a:solidFill>
                <a:srgbClr val="30303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eform 21">
              <a:extLst>
                <a:ext uri="{FF2B5EF4-FFF2-40B4-BE49-F238E27FC236}">
                  <a16:creationId xmlns:a16="http://schemas.microsoft.com/office/drawing/2014/main" id="{77297A5A-69AC-4DF4-95F9-A09D48D814E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4400391"/>
              <a:ext cx="531187" cy="976917"/>
            </a:xfrm>
            <a:custGeom>
              <a:avLst/>
              <a:gdLst>
                <a:gd name="T0" fmla="*/ 547 w 547"/>
                <a:gd name="T1" fmla="*/ 707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7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7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2">
              <a:extLst>
                <a:ext uri="{FF2B5EF4-FFF2-40B4-BE49-F238E27FC236}">
                  <a16:creationId xmlns:a16="http://schemas.microsoft.com/office/drawing/2014/main" id="{E65087DC-7AC8-4AA7-9010-A067ADE1CF79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47210" y="4400391"/>
              <a:ext cx="532157" cy="976917"/>
            </a:xfrm>
            <a:custGeom>
              <a:avLst/>
              <a:gdLst>
                <a:gd name="T0" fmla="*/ 0 w 548"/>
                <a:gd name="T1" fmla="*/ 707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7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7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3B4C2EBB-4C89-4380-A5E7-A7BD40C2B90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5086952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">
              <a:extLst>
                <a:ext uri="{FF2B5EF4-FFF2-40B4-BE49-F238E27FC236}">
                  <a16:creationId xmlns:a16="http://schemas.microsoft.com/office/drawing/2014/main" id="{0D7CD4FA-6D18-4E1F-9C7D-91AA2E32B2B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4697545"/>
              <a:ext cx="531187" cy="974975"/>
            </a:xfrm>
            <a:custGeom>
              <a:avLst/>
              <a:gdLst>
                <a:gd name="T0" fmla="*/ 547 w 547"/>
                <a:gd name="T1" fmla="*/ 705 h 1004"/>
                <a:gd name="T2" fmla="*/ 0 w 547"/>
                <a:gd name="T3" fmla="*/ 1004 h 1004"/>
                <a:gd name="T4" fmla="*/ 0 w 547"/>
                <a:gd name="T5" fmla="*/ 298 h 1004"/>
                <a:gd name="T6" fmla="*/ 547 w 547"/>
                <a:gd name="T7" fmla="*/ 0 h 1004"/>
                <a:gd name="T8" fmla="*/ 547 w 547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5"/>
                  </a:moveTo>
                  <a:lnTo>
                    <a:pt x="0" y="1004"/>
                  </a:lnTo>
                  <a:lnTo>
                    <a:pt x="0" y="298"/>
                  </a:lnTo>
                  <a:lnTo>
                    <a:pt x="547" y="0"/>
                  </a:lnTo>
                  <a:lnTo>
                    <a:pt x="547" y="705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5">
              <a:extLst>
                <a:ext uri="{FF2B5EF4-FFF2-40B4-BE49-F238E27FC236}">
                  <a16:creationId xmlns:a16="http://schemas.microsoft.com/office/drawing/2014/main" id="{5D06D6BE-8F81-4F1F-9E44-429E129C195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51709" y="4697545"/>
              <a:ext cx="532157" cy="974975"/>
            </a:xfrm>
            <a:custGeom>
              <a:avLst/>
              <a:gdLst>
                <a:gd name="T0" fmla="*/ 0 w 548"/>
                <a:gd name="T1" fmla="*/ 705 h 1004"/>
                <a:gd name="T2" fmla="*/ 548 w 548"/>
                <a:gd name="T3" fmla="*/ 1004 h 1004"/>
                <a:gd name="T4" fmla="*/ 548 w 548"/>
                <a:gd name="T5" fmla="*/ 298 h 1004"/>
                <a:gd name="T6" fmla="*/ 0 w 548"/>
                <a:gd name="T7" fmla="*/ 0 h 1004"/>
                <a:gd name="T8" fmla="*/ 0 w 548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5"/>
                  </a:moveTo>
                  <a:lnTo>
                    <a:pt x="548" y="1004"/>
                  </a:lnTo>
                  <a:lnTo>
                    <a:pt x="548" y="298"/>
                  </a:lnTo>
                  <a:lnTo>
                    <a:pt x="0" y="0"/>
                  </a:lnTo>
                  <a:lnTo>
                    <a:pt x="0" y="705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">
              <a:extLst>
                <a:ext uri="{FF2B5EF4-FFF2-40B4-BE49-F238E27FC236}">
                  <a16:creationId xmlns:a16="http://schemas.microsoft.com/office/drawing/2014/main" id="{3F7CF64D-F067-41E4-8D9F-41FF3897282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5382163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791479" y="3074916"/>
            <a:ext cx="2321486" cy="14055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74192" y="3183752"/>
            <a:ext cx="2712307" cy="1367241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297577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layout: four columns graphic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9594C393-E06E-3A4C-A658-2526A14DA5A1}"/>
              </a:ext>
            </a:extLst>
          </p:cNvPr>
          <p:cNvSpPr/>
          <p:nvPr userDrawn="1"/>
        </p:nvSpPr>
        <p:spPr bwMode="auto">
          <a:xfrm>
            <a:off x="9109047" y="1590388"/>
            <a:ext cx="2653417" cy="31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>
            <a:outerShdw blurRad="76200" algn="ctr" rotWithShape="0">
              <a:schemeClr val="bg2">
                <a:lumMod val="50000"/>
                <a:alpha val="8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011C51E-94BA-C44D-ABF4-E87C4124DAF0}"/>
              </a:ext>
            </a:extLst>
          </p:cNvPr>
          <p:cNvSpPr/>
          <p:nvPr userDrawn="1"/>
        </p:nvSpPr>
        <p:spPr bwMode="auto">
          <a:xfrm>
            <a:off x="6214842" y="1590388"/>
            <a:ext cx="2653417" cy="31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>
            <a:outerShdw blurRad="76200" algn="ctr" rotWithShape="0">
              <a:schemeClr val="bg2">
                <a:lumMod val="50000"/>
                <a:alpha val="8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6DDB665-2DD7-AE40-9862-C6E8E22E9215}"/>
              </a:ext>
            </a:extLst>
          </p:cNvPr>
          <p:cNvSpPr/>
          <p:nvPr userDrawn="1"/>
        </p:nvSpPr>
        <p:spPr bwMode="auto">
          <a:xfrm>
            <a:off x="3320635" y="1590388"/>
            <a:ext cx="2653417" cy="31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>
            <a:outerShdw blurRad="76200" algn="ctr" rotWithShape="0">
              <a:schemeClr val="bg2">
                <a:lumMod val="50000"/>
                <a:alpha val="8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CD677DE-AA2C-984C-BAE1-54D5F0B518CE}"/>
              </a:ext>
            </a:extLst>
          </p:cNvPr>
          <p:cNvSpPr/>
          <p:nvPr userDrawn="1"/>
        </p:nvSpPr>
        <p:spPr bwMode="auto">
          <a:xfrm>
            <a:off x="426426" y="1590388"/>
            <a:ext cx="2653417" cy="31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>
            <a:outerShdw blurRad="76200" algn="ctr" rotWithShape="0">
              <a:schemeClr val="bg2">
                <a:lumMod val="50000"/>
                <a:alpha val="8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47712A-15EB-884C-BF95-7C690BA77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35826"/>
            <a:ext cx="11336039" cy="74401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Graphic layout: four columns graphic and text</a:t>
            </a:r>
          </a:p>
        </p:txBody>
      </p:sp>
      <p:sp>
        <p:nvSpPr>
          <p:cNvPr id="4" name="Content Placeholder 15">
            <a:extLst>
              <a:ext uri="{FF2B5EF4-FFF2-40B4-BE49-F238E27FC236}">
                <a16:creationId xmlns:a16="http://schemas.microsoft.com/office/drawing/2014/main" id="{F580A529-D3A8-5643-80BA-3E2BE1AA8D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966751" y="2135537"/>
            <a:ext cx="1572767" cy="2038660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" name="Content Placeholder 15">
            <a:extLst>
              <a:ext uri="{FF2B5EF4-FFF2-40B4-BE49-F238E27FC236}">
                <a16:creationId xmlns:a16="http://schemas.microsoft.com/office/drawing/2014/main" id="{1F6D7A4B-5FFE-2741-8477-E0CAA019B07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849259" y="2135537"/>
            <a:ext cx="1596164" cy="2038660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7CF99F6-2487-AC48-8A09-B34B72BD5F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6" y="4927922"/>
            <a:ext cx="2653417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7" b="1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7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F7B5F75-90C0-F44E-9322-8FF1108BD3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20635" y="4927922"/>
            <a:ext cx="2653417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7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7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E444E9C-8096-FE42-BE2A-094180C611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4842" y="4927922"/>
            <a:ext cx="2653417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7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7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  <p:sp>
        <p:nvSpPr>
          <p:cNvPr id="13" name="Content Placeholder 15">
            <a:extLst>
              <a:ext uri="{FF2B5EF4-FFF2-40B4-BE49-F238E27FC236}">
                <a16:creationId xmlns:a16="http://schemas.microsoft.com/office/drawing/2014/main" id="{30602BFF-4B8C-D046-AD65-47970BC89DF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743466" y="2135537"/>
            <a:ext cx="1596164" cy="2038660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88A8CB35-A244-544E-8BAE-53CB85074FB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637672" y="2135537"/>
            <a:ext cx="1596164" cy="2038660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8D35D15-66F4-4840-BA72-4B7AB5A24E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09047" y="4927922"/>
            <a:ext cx="2653417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7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7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31700706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26424" y="2135536"/>
            <a:ext cx="11336039" cy="4288197"/>
          </a:xfrm>
        </p:spPr>
        <p:txBody>
          <a:bodyPr bIns="1737360" anchor="ctr">
            <a:noAutofit/>
          </a:bodyPr>
          <a:lstStyle>
            <a:lvl1pPr algn="ctr">
              <a:defRPr sz="1961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4F997AC3-87B6-4E0B-88C2-A05069E413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8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able layout</a:t>
            </a:r>
          </a:p>
        </p:txBody>
      </p:sp>
    </p:spTree>
    <p:extLst>
      <p:ext uri="{BB962C8B-B14F-4D97-AF65-F5344CB8AC3E}">
        <p14:creationId xmlns:p14="http://schemas.microsoft.com/office/powerpoint/2010/main" val="2365445768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22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3" spc="-147" dirty="0">
                <a:solidFill>
                  <a:srgbClr val="000000"/>
                </a:solidFill>
              </a:defRPr>
            </a:lvl1pPr>
          </a:lstStyle>
          <a:p>
            <a:pPr marL="0" lvl="0">
              <a:lnSpc>
                <a:spcPts val="5489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399272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bg>
      <p:bgPr>
        <a:solidFill>
          <a:srgbClr val="02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>
            <a:extLst>
              <a:ext uri="{FF2B5EF4-FFF2-40B4-BE49-F238E27FC236}">
                <a16:creationId xmlns:a16="http://schemas.microsoft.com/office/drawing/2014/main" id="{51E9DCD3-357B-4AF7-BDD2-18E09F714F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1184322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3" spc="-147" dirty="0">
                <a:solidFill>
                  <a:schemeClr val="tx2"/>
                </a:solidFill>
              </a:defRPr>
            </a:lvl1pPr>
          </a:lstStyle>
          <a:p>
            <a:pPr marL="0" lvl="0">
              <a:lnSpc>
                <a:spcPts val="5489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317582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in a blue shirt&#10;&#10;Description generated with high confidence">
            <a:extLst>
              <a:ext uri="{FF2B5EF4-FFF2-40B4-BE49-F238E27FC236}">
                <a16:creationId xmlns:a16="http://schemas.microsoft.com/office/drawing/2014/main" id="{6ED214DD-0EEC-4ACC-A022-15CDD9C0AD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"/>
            <a:ext cx="12190264" cy="6857996"/>
          </a:xfrm>
          <a:prstGeom prst="rect">
            <a:avLst/>
          </a:prstGeom>
        </p:spPr>
      </p:pic>
      <p:sp>
        <p:nvSpPr>
          <p:cNvPr id="5" name="Title 35">
            <a:extLst>
              <a:ext uri="{FF2B5EF4-FFF2-40B4-BE49-F238E27FC236}">
                <a16:creationId xmlns:a16="http://schemas.microsoft.com/office/drawing/2014/main" id="{8441881C-06B8-4CD2-ADC6-DFD3519E6A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1184322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3" spc="-147" dirty="0">
                <a:solidFill>
                  <a:srgbClr val="000000"/>
                </a:solidFill>
              </a:defRPr>
            </a:lvl1pPr>
          </a:lstStyle>
          <a:p>
            <a:pPr marL="0" lvl="0">
              <a:lnSpc>
                <a:spcPts val="5489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822081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9154561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07DE85-B70F-4309-8506-6C011BC20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1829711"/>
            <a:ext cx="7477989" cy="1473396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73"/>
              </a:spcAft>
              <a:defRPr sz="2549" spc="-147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sp>
        <p:nvSpPr>
          <p:cNvPr id="7" name="Text Box 3">
            <a:extLst>
              <a:ext uri="{FF2B5EF4-FFF2-40B4-BE49-F238E27FC236}">
                <a16:creationId xmlns:a16="http://schemas.microsoft.com/office/drawing/2014/main" id="{F3523A4C-09FD-49AC-AA6D-1A6E7B7893EE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55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>
                <a:solidFill>
                  <a:srgbClr val="000000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4C8B45-9D01-4389-94BD-CBAF3D8B35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9545" y="437137"/>
            <a:ext cx="896425" cy="190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7411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blue">
    <p:bg>
      <p:bgPr>
        <a:solidFill>
          <a:srgbClr val="0278D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26425" y="1829711"/>
            <a:ext cx="7477989" cy="1473396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73"/>
              </a:spcAft>
              <a:defRPr sz="2549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sp>
        <p:nvSpPr>
          <p:cNvPr id="4" name="Text Box 3">
            <a:extLst>
              <a:ext uri="{FF2B5EF4-FFF2-40B4-BE49-F238E27FC236}">
                <a16:creationId xmlns:a16="http://schemas.microsoft.com/office/drawing/2014/main" id="{1688BD8D-D2E4-4DFC-B39C-D55D84362354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55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>
                <a:solidFill>
                  <a:schemeClr val="bg2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43D6C48-3EEE-4B3F-A414-320F7597CE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424" y="438439"/>
            <a:ext cx="1364901" cy="224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9167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Walk-in slide">
    <p:bg>
      <p:bgPr>
        <a:solidFill>
          <a:srgbClr val="0078D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58293A6-EFA3-B644-9CE9-BBD8B7F450B6}"/>
              </a:ext>
            </a:extLst>
          </p:cNvPr>
          <p:cNvSpPr/>
          <p:nvPr userDrawn="1"/>
        </p:nvSpPr>
        <p:spPr bwMode="auto">
          <a:xfrm>
            <a:off x="0" y="0"/>
            <a:ext cx="7010400" cy="6858000"/>
          </a:xfrm>
          <a:prstGeom prst="rect">
            <a:avLst/>
          </a:prstGeom>
          <a:solidFill>
            <a:srgbClr val="00386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AA220987-CAF7-45F3-B22A-77038A8D81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5216" y="585788"/>
            <a:ext cx="1366245" cy="29260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C26C47D-DABF-6247-BFE8-3CA4697463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3627" y="1846012"/>
            <a:ext cx="898795" cy="45610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9E96E32-016D-BB49-834D-F4DEF32BB3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6738" y="2667785"/>
            <a:ext cx="4995147" cy="4209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2716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Walk-in slide">
    <p:bg>
      <p:bgPr>
        <a:solidFill>
          <a:srgbClr val="0078D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58293A6-EFA3-B644-9CE9-BBD8B7F450B6}"/>
              </a:ext>
            </a:extLst>
          </p:cNvPr>
          <p:cNvSpPr/>
          <p:nvPr userDrawn="1"/>
        </p:nvSpPr>
        <p:spPr bwMode="auto">
          <a:xfrm>
            <a:off x="-1" y="0"/>
            <a:ext cx="12200867" cy="1293779"/>
          </a:xfrm>
          <a:prstGeom prst="rect">
            <a:avLst/>
          </a:prstGeom>
          <a:solidFill>
            <a:srgbClr val="00386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AA220987-CAF7-45F3-B22A-77038A8D81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5216" y="585788"/>
            <a:ext cx="1366245" cy="29260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E021549-55C5-2F4A-A037-67F7A448CC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3240" y="1469946"/>
            <a:ext cx="898795" cy="45610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D0BC0B2-07F6-7A4F-A65F-469CB899126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697999"/>
            <a:ext cx="6145886" cy="5179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8905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7757" y="585788"/>
            <a:ext cx="2691631" cy="276999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00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>
                <a:latin typeface="+mj-lt"/>
              </a:rPr>
              <a:t>Session code here</a:t>
            </a:r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DCBAFEF-FDA0-4148-B6F8-D1D9029A0218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9BE868E-A240-4959-BD66-6BC44EE5A4A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DDB4654-32A2-47CE-B324-C597C756E402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18BE353-242E-4429-9D4C-1D50CEEC277C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2B25198-469F-44A8-946B-689A24DC3C72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5460766-0EE4-4C99-BD2E-1BAD7FD9C3AC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EFBC909F-DC50-4DDC-91C9-2509E0F5633F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E0DC1718-52A4-4705-AE14-45A352ACBC2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D51C16AF-F6FA-4CD2-B0A5-3663CD02799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3A105041-F999-49D6-BE4B-7630F1204F6C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190B08C-67D4-4DAD-8158-2B4D4A1318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43F7B37-FD03-4D73-932B-77D49AB6A515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8F01A60D-F904-4399-87EA-23E33C45969F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450C50C-26FC-42C5-BA39-AE97627B772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8924B0-E78A-4770-AF30-C78056E7AAAB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D8AB0228-AC44-413D-A029-1BBF7B18CBCC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89C067BE-7550-4D8F-9A42-B78AB594CD54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54D97435-6932-4E2A-A217-DEA06FDA510A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FF9C9FB6-79F2-41F1-872D-2184B91C8E00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577AEC4-9502-4D2D-B373-2F1CB4EFF9B8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13EA48F-163A-410A-8C97-A08AA1B2EE50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3E1E199B-B230-4884-9F60-9B781B11B8FF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B98E4A3-2599-4DEB-8ECC-F004500FBF6A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6B74F55-4583-4B26-A4E0-71C00B14AFF6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C4D1900-D812-4B27-AC50-B2795AD953C3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83ECFC2-9749-4525-973B-EAA0BC0FC62B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A3ABF7E-B2D4-4B7A-9B6E-0EB3223E4EE4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95752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slide">
    <p:bg>
      <p:bgPr>
        <a:solidFill>
          <a:srgbClr val="0038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AA220987-CAF7-45F3-B22A-77038A8D81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5216" y="585788"/>
            <a:ext cx="1366245" cy="29260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B87212C-1D3E-5B4A-AAF5-CA96ECB446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10400" y="0"/>
            <a:ext cx="518159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14FF17B-32FB-194D-9F80-B9408091A3D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6602" y="3592778"/>
            <a:ext cx="898795" cy="45610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5385256-EB1E-CE4E-9052-319AF27C843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0917" y="4275955"/>
            <a:ext cx="3086911" cy="260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8989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979539"/>
            <a:ext cx="4167887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F439125-9C0C-0040-B90D-B6E1313A2D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10400" y="0"/>
            <a:ext cx="518159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2380DFD-0D28-F74A-898A-E8701DC0AAE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0917" y="4275955"/>
            <a:ext cx="3086911" cy="26015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06D6959-1E8B-5446-B9F0-53EFAABE74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6602" y="3592778"/>
            <a:ext cx="898795" cy="456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49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77062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14959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95198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934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87317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280827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34636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622676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670667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91573328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1440234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44887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74820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41570399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342839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03029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3674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00380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2798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19801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44990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2E2AE02-2E53-E54D-B667-977ABBE7C63F}"/>
              </a:ext>
            </a:extLst>
          </p:cNvPr>
          <p:cNvSpPr/>
          <p:nvPr userDrawn="1"/>
        </p:nvSpPr>
        <p:spPr bwMode="auto">
          <a:xfrm>
            <a:off x="-1" y="0"/>
            <a:ext cx="12200867" cy="1293779"/>
          </a:xfrm>
          <a:prstGeom prst="rect">
            <a:avLst/>
          </a:prstGeom>
          <a:solidFill>
            <a:srgbClr val="00386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29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4110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267755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36EA2AC-FEA2-4901-8495-272A5FA7FC20}"/>
              </a:ext>
            </a:extLst>
          </p:cNvPr>
          <p:cNvGrpSpPr/>
          <p:nvPr userDrawn="1"/>
        </p:nvGrpSpPr>
        <p:grpSpPr>
          <a:xfrm>
            <a:off x="6194603" y="-1"/>
            <a:ext cx="5997398" cy="6858001"/>
            <a:chOff x="6194603" y="-1"/>
            <a:chExt cx="5997398" cy="6858001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A096FE2B-3270-4E2C-AD0E-3AB4FD1B86F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502819" y="1461694"/>
              <a:ext cx="3689182" cy="5396306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94A5D7CE-1FED-4CEA-810D-4198E992429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548652" y="-1"/>
              <a:ext cx="1182753" cy="1076699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9BF408BE-3FB0-4FA0-B683-0E647B7E04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94603" y="5896894"/>
              <a:ext cx="1182753" cy="961106"/>
            </a:xfrm>
            <a:prstGeom prst="rect">
              <a:avLst/>
            </a:prstGeom>
          </p:spPr>
        </p:pic>
      </p:grpSp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7757" y="585788"/>
            <a:ext cx="2691631" cy="276999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00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>
                <a:latin typeface="+mj-lt"/>
              </a:rPr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984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bg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2"/>
            <a:ext cx="8964185" cy="1793104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mote Desktop Interoperabilit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0725"/>
            <a:ext cx="8964186" cy="715931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30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March 25th – 28th 2019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3696656"/>
            <a:ext cx="8964248" cy="452654"/>
          </a:xfrm>
        </p:spPr>
        <p:txBody>
          <a:bodyPr/>
          <a:lstStyle>
            <a:lvl1pPr marL="0" indent="0">
              <a:buNone/>
              <a:defRPr lang="en-US" sz="1961" kern="1200" spc="0" baseline="0" dirty="0" smtClean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Reactor @Redmond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48212" y="471692"/>
            <a:ext cx="1454257" cy="304828"/>
          </a:xfrm>
          <a:prstGeom prst="rect">
            <a:avLst/>
          </a:prstGeom>
        </p:spPr>
      </p:pic>
      <p:grpSp>
        <p:nvGrpSpPr>
          <p:cNvPr id="86" name="Group 85">
            <a:extLst>
              <a:ext uri="{FF2B5EF4-FFF2-40B4-BE49-F238E27FC236}">
                <a16:creationId xmlns:a16="http://schemas.microsoft.com/office/drawing/2014/main" id="{3A62B272-976A-4828-9261-D360383FACA1}"/>
              </a:ext>
            </a:extLst>
          </p:cNvPr>
          <p:cNvGrpSpPr/>
          <p:nvPr userDrawn="1"/>
        </p:nvGrpSpPr>
        <p:grpSpPr>
          <a:xfrm>
            <a:off x="5468357" y="4139517"/>
            <a:ext cx="6723644" cy="2716134"/>
            <a:chOff x="5789470" y="4224320"/>
            <a:chExt cx="6858467" cy="2770205"/>
          </a:xfrm>
        </p:grpSpPr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277C4743-55B3-4F9E-8952-280C66F0BB7E}"/>
                </a:ext>
              </a:extLst>
            </p:cNvPr>
            <p:cNvGrpSpPr>
              <a:grpSpLocks noChangeAspect="1"/>
            </p:cNvGrpSpPr>
            <p:nvPr userDrawn="1"/>
          </p:nvGrpSpPr>
          <p:grpSpPr bwMode="gray">
            <a:xfrm>
              <a:off x="5789470" y="4224320"/>
              <a:ext cx="6858467" cy="2770205"/>
              <a:chOff x="5788926" y="4224320"/>
              <a:chExt cx="6858467" cy="2770205"/>
            </a:xfrm>
          </p:grpSpPr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DF1C243D-C00A-4BBB-B0D3-9D5563874AE6}"/>
                  </a:ext>
                </a:extLst>
              </p:cNvPr>
              <p:cNvSpPr/>
              <p:nvPr userDrawn="1"/>
            </p:nvSpPr>
            <p:spPr bwMode="gray">
              <a:xfrm>
                <a:off x="5788926" y="5758835"/>
                <a:ext cx="2577047" cy="1235690"/>
              </a:xfrm>
              <a:custGeom>
                <a:avLst/>
                <a:gdLst>
                  <a:gd name="connsiteX0" fmla="*/ 1214715 w 2577047"/>
                  <a:gd name="connsiteY0" fmla="*/ 0 h 1235690"/>
                  <a:gd name="connsiteX1" fmla="*/ 1914672 w 2577047"/>
                  <a:gd name="connsiteY1" fmla="*/ 468064 h 1235690"/>
                  <a:gd name="connsiteX2" fmla="*/ 2060300 w 2577047"/>
                  <a:gd name="connsiteY2" fmla="*/ 446221 h 1235690"/>
                  <a:gd name="connsiteX3" fmla="*/ 2577047 w 2577047"/>
                  <a:gd name="connsiteY3" fmla="*/ 957972 h 1235690"/>
                  <a:gd name="connsiteX4" fmla="*/ 2495620 w 2577047"/>
                  <a:gd name="connsiteY4" fmla="*/ 1235690 h 1235690"/>
                  <a:gd name="connsiteX5" fmla="*/ 1889591 w 2577047"/>
                  <a:gd name="connsiteY5" fmla="*/ 1235690 h 1235690"/>
                  <a:gd name="connsiteX6" fmla="*/ 1799319 w 2577047"/>
                  <a:gd name="connsiteY6" fmla="*/ 1235690 h 1235690"/>
                  <a:gd name="connsiteX7" fmla="*/ 31390 w 2577047"/>
                  <a:gd name="connsiteY7" fmla="*/ 1235690 h 1235690"/>
                  <a:gd name="connsiteX8" fmla="*/ 9264 w 2577047"/>
                  <a:gd name="connsiteY8" fmla="*/ 1164413 h 1235690"/>
                  <a:gd name="connsiteX9" fmla="*/ 0 w 2577047"/>
                  <a:gd name="connsiteY9" fmla="*/ 1072517 h 1235690"/>
                  <a:gd name="connsiteX10" fmla="*/ 455981 w 2577047"/>
                  <a:gd name="connsiteY10" fmla="*/ 616536 h 1235690"/>
                  <a:gd name="connsiteX11" fmla="*/ 459500 w 2577047"/>
                  <a:gd name="connsiteY11" fmla="*/ 616891 h 1235690"/>
                  <a:gd name="connsiteX12" fmla="*/ 459640 w 2577047"/>
                  <a:gd name="connsiteY12" fmla="*/ 615506 h 1235690"/>
                  <a:gd name="connsiteX13" fmla="*/ 720719 w 2577047"/>
                  <a:gd name="connsiteY13" fmla="*/ 182302 h 1235690"/>
                  <a:gd name="connsiteX14" fmla="*/ 739060 w 2577047"/>
                  <a:gd name="connsiteY14" fmla="*/ 169592 h 1235690"/>
                  <a:gd name="connsiteX15" fmla="*/ 747661 w 2577047"/>
                  <a:gd name="connsiteY15" fmla="*/ 161263 h 1235690"/>
                  <a:gd name="connsiteX16" fmla="*/ 1214715 w 2577047"/>
                  <a:gd name="connsiteY16" fmla="*/ 0 h 123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577047" h="1235690">
                    <a:moveTo>
                      <a:pt x="1214715" y="0"/>
                    </a:moveTo>
                    <a:cubicBezTo>
                      <a:pt x="1532592" y="0"/>
                      <a:pt x="1803493" y="191906"/>
                      <a:pt x="1914672" y="468064"/>
                    </a:cubicBezTo>
                    <a:cubicBezTo>
                      <a:pt x="1961649" y="454022"/>
                      <a:pt x="2010192" y="446221"/>
                      <a:pt x="2060300" y="446221"/>
                    </a:cubicBezTo>
                    <a:cubicBezTo>
                      <a:pt x="2346860" y="446221"/>
                      <a:pt x="2577047" y="675573"/>
                      <a:pt x="2577047" y="957972"/>
                    </a:cubicBezTo>
                    <a:cubicBezTo>
                      <a:pt x="2577047" y="1060946"/>
                      <a:pt x="2547295" y="1156119"/>
                      <a:pt x="2495620" y="1235690"/>
                    </a:cubicBezTo>
                    <a:cubicBezTo>
                      <a:pt x="2495620" y="1235690"/>
                      <a:pt x="2495620" y="1235690"/>
                      <a:pt x="1889591" y="1235690"/>
                    </a:cubicBezTo>
                    <a:lnTo>
                      <a:pt x="1799319" y="1235690"/>
                    </a:lnTo>
                    <a:lnTo>
                      <a:pt x="31390" y="1235690"/>
                    </a:lnTo>
                    <a:lnTo>
                      <a:pt x="9264" y="1164413"/>
                    </a:lnTo>
                    <a:cubicBezTo>
                      <a:pt x="3190" y="1134730"/>
                      <a:pt x="0" y="1103996"/>
                      <a:pt x="0" y="1072517"/>
                    </a:cubicBezTo>
                    <a:cubicBezTo>
                      <a:pt x="0" y="820686"/>
                      <a:pt x="204150" y="616536"/>
                      <a:pt x="455981" y="616536"/>
                    </a:cubicBezTo>
                    <a:lnTo>
                      <a:pt x="459500" y="616891"/>
                    </a:lnTo>
                    <a:lnTo>
                      <a:pt x="459640" y="615506"/>
                    </a:lnTo>
                    <a:cubicBezTo>
                      <a:pt x="495067" y="442379"/>
                      <a:pt x="589371" y="290700"/>
                      <a:pt x="720719" y="182302"/>
                    </a:cubicBezTo>
                    <a:lnTo>
                      <a:pt x="739060" y="169592"/>
                    </a:lnTo>
                    <a:lnTo>
                      <a:pt x="747661" y="161263"/>
                    </a:lnTo>
                    <a:cubicBezTo>
                      <a:pt x="876480" y="60556"/>
                      <a:pt x="1038551" y="0"/>
                      <a:pt x="1214715" y="0"/>
                    </a:cubicBezTo>
                    <a:close/>
                  </a:path>
                </a:pathLst>
              </a:cu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4" name="Freeform 6">
                <a:extLst>
                  <a:ext uri="{FF2B5EF4-FFF2-40B4-BE49-F238E27FC236}">
                    <a16:creationId xmlns:a16="http://schemas.microsoft.com/office/drawing/2014/main" id="{438577E9-C9F5-45AD-9891-A661A977CA4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422506" y="4305084"/>
                <a:ext cx="2008331" cy="1846803"/>
              </a:xfrm>
              <a:custGeom>
                <a:avLst/>
                <a:gdLst>
                  <a:gd name="T0" fmla="*/ 948 w 1281"/>
                  <a:gd name="T1" fmla="*/ 6 h 1185"/>
                  <a:gd name="T2" fmla="*/ 641 w 1281"/>
                  <a:gd name="T3" fmla="*/ 168 h 1185"/>
                  <a:gd name="T4" fmla="*/ 333 w 1281"/>
                  <a:gd name="T5" fmla="*/ 6 h 1185"/>
                  <a:gd name="T6" fmla="*/ 10 w 1281"/>
                  <a:gd name="T7" fmla="*/ 362 h 1185"/>
                  <a:gd name="T8" fmla="*/ 641 w 1281"/>
                  <a:gd name="T9" fmla="*/ 1185 h 1185"/>
                  <a:gd name="T10" fmla="*/ 641 w 1281"/>
                  <a:gd name="T11" fmla="*/ 1184 h 1185"/>
                  <a:gd name="T12" fmla="*/ 641 w 1281"/>
                  <a:gd name="T13" fmla="*/ 1185 h 1185"/>
                  <a:gd name="T14" fmla="*/ 1272 w 1281"/>
                  <a:gd name="T15" fmla="*/ 361 h 1185"/>
                  <a:gd name="T16" fmla="*/ 948 w 1281"/>
                  <a:gd name="T17" fmla="*/ 6 h 1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81" h="1185">
                    <a:moveTo>
                      <a:pt x="948" y="6"/>
                    </a:moveTo>
                    <a:cubicBezTo>
                      <a:pt x="820" y="0"/>
                      <a:pt x="703" y="65"/>
                      <a:pt x="641" y="168"/>
                    </a:cubicBezTo>
                    <a:cubicBezTo>
                      <a:pt x="578" y="65"/>
                      <a:pt x="461" y="0"/>
                      <a:pt x="333" y="6"/>
                    </a:cubicBezTo>
                    <a:cubicBezTo>
                      <a:pt x="144" y="15"/>
                      <a:pt x="0" y="175"/>
                      <a:pt x="10" y="362"/>
                    </a:cubicBezTo>
                    <a:cubicBezTo>
                      <a:pt x="19" y="548"/>
                      <a:pt x="641" y="1185"/>
                      <a:pt x="641" y="1185"/>
                    </a:cubicBezTo>
                    <a:cubicBezTo>
                      <a:pt x="641" y="1185"/>
                      <a:pt x="641" y="1185"/>
                      <a:pt x="641" y="1184"/>
                    </a:cubicBezTo>
                    <a:cubicBezTo>
                      <a:pt x="641" y="1185"/>
                      <a:pt x="641" y="1185"/>
                      <a:pt x="641" y="1185"/>
                    </a:cubicBezTo>
                    <a:cubicBezTo>
                      <a:pt x="641" y="1185"/>
                      <a:pt x="1263" y="548"/>
                      <a:pt x="1272" y="361"/>
                    </a:cubicBezTo>
                    <a:cubicBezTo>
                      <a:pt x="1281" y="174"/>
                      <a:pt x="1137" y="15"/>
                      <a:pt x="948" y="6"/>
                    </a:cubicBezTo>
                    <a:close/>
                  </a:path>
                </a:pathLst>
              </a:custGeom>
              <a:solidFill>
                <a:srgbClr val="3393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A30247B6-8DBC-4D92-A7C9-6A483619B48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601660" y="4515070"/>
                <a:ext cx="573425" cy="1445676"/>
              </a:xfrm>
              <a:prstGeom prst="rect">
                <a:avLst/>
              </a:pr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EB9C228C-EE32-4272-8418-29B783EE78D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640568" y="4224320"/>
                <a:ext cx="576116" cy="1445676"/>
              </a:xfrm>
              <a:prstGeom prst="rect">
                <a:avLst/>
              </a:pr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BB1224E8-4526-4BF3-B25A-22E5B91F02E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771264" y="4698135"/>
                <a:ext cx="573425" cy="1445676"/>
              </a:xfrm>
              <a:prstGeom prst="rect">
                <a:avLst/>
              </a:pr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498DB50C-DBE6-4E66-B42F-0D78C0C25FD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351291" y="4843510"/>
                <a:ext cx="320365" cy="1397218"/>
              </a:xfrm>
              <a:prstGeom prst="rect">
                <a:avLst/>
              </a:pr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9" name="Rectangle 98">
                <a:extLst>
                  <a:ext uri="{FF2B5EF4-FFF2-40B4-BE49-F238E27FC236}">
                    <a16:creationId xmlns:a16="http://schemas.microsoft.com/office/drawing/2014/main" id="{2090C2DE-B9F2-4AC4-9F83-196B517BF5B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505962" y="4708904"/>
                <a:ext cx="309596" cy="1292224"/>
              </a:xfrm>
              <a:prstGeom prst="rect">
                <a:avLst/>
              </a:pr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4AF580A0-C5A4-4BE1-8C5B-E36EC061743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780559" y="4576988"/>
                <a:ext cx="570732" cy="1518363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1" name="Freeform 13">
                <a:extLst>
                  <a:ext uri="{FF2B5EF4-FFF2-40B4-BE49-F238E27FC236}">
                    <a16:creationId xmlns:a16="http://schemas.microsoft.com/office/drawing/2014/main" id="{5C276EC8-567A-4E8A-A398-835195941D4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4665830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2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2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2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2"/>
                      <a:pt x="286" y="22"/>
                      <a:pt x="286" y="22"/>
                    </a:cubicBezTo>
                    <a:cubicBezTo>
                      <a:pt x="286" y="22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2" name="Freeform 14">
                <a:extLst>
                  <a:ext uri="{FF2B5EF4-FFF2-40B4-BE49-F238E27FC236}">
                    <a16:creationId xmlns:a16="http://schemas.microsoft.com/office/drawing/2014/main" id="{683F4771-EAF0-4EC7-8A7C-ECB05E67268D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4805821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3" name="Freeform 15">
                <a:extLst>
                  <a:ext uri="{FF2B5EF4-FFF2-40B4-BE49-F238E27FC236}">
                    <a16:creationId xmlns:a16="http://schemas.microsoft.com/office/drawing/2014/main" id="{1256DDA8-7B9D-4015-90B1-7BF165A180B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4943118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4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4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4"/>
                      <a:pt x="286" y="24"/>
                      <a:pt x="286" y="24"/>
                    </a:cubicBezTo>
                    <a:cubicBezTo>
                      <a:pt x="286" y="24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4" name="Freeform 16">
                <a:extLst>
                  <a:ext uri="{FF2B5EF4-FFF2-40B4-BE49-F238E27FC236}">
                    <a16:creationId xmlns:a16="http://schemas.microsoft.com/office/drawing/2014/main" id="{4003E68D-6066-4CAC-A990-2F9F169D4A8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080418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1" name="Freeform 17">
                <a:extLst>
                  <a:ext uri="{FF2B5EF4-FFF2-40B4-BE49-F238E27FC236}">
                    <a16:creationId xmlns:a16="http://schemas.microsoft.com/office/drawing/2014/main" id="{3C5010FA-31E8-4B5B-81B9-B5F23C03B33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220409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2" name="Freeform 18">
                <a:extLst>
                  <a:ext uri="{FF2B5EF4-FFF2-40B4-BE49-F238E27FC236}">
                    <a16:creationId xmlns:a16="http://schemas.microsoft.com/office/drawing/2014/main" id="{B8C9D676-4EB5-4A2D-953A-D8B43B84BA0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357707"/>
                <a:ext cx="446894" cy="78073"/>
              </a:xfrm>
              <a:custGeom>
                <a:avLst/>
                <a:gdLst>
                  <a:gd name="T0" fmla="*/ 24 w 286"/>
                  <a:gd name="T1" fmla="*/ 0 h 51"/>
                  <a:gd name="T2" fmla="*/ 0 w 286"/>
                  <a:gd name="T3" fmla="*/ 24 h 51"/>
                  <a:gd name="T4" fmla="*/ 0 w 286"/>
                  <a:gd name="T5" fmla="*/ 28 h 51"/>
                  <a:gd name="T6" fmla="*/ 24 w 286"/>
                  <a:gd name="T7" fmla="*/ 51 h 51"/>
                  <a:gd name="T8" fmla="*/ 262 w 286"/>
                  <a:gd name="T9" fmla="*/ 51 h 51"/>
                  <a:gd name="T10" fmla="*/ 286 w 286"/>
                  <a:gd name="T11" fmla="*/ 28 h 51"/>
                  <a:gd name="T12" fmla="*/ 286 w 286"/>
                  <a:gd name="T13" fmla="*/ 24 h 51"/>
                  <a:gd name="T14" fmla="*/ 262 w 286"/>
                  <a:gd name="T15" fmla="*/ 0 h 51"/>
                  <a:gd name="T16" fmla="*/ 152 w 286"/>
                  <a:gd name="T17" fmla="*/ 0 h 51"/>
                  <a:gd name="T18" fmla="*/ 24 w 286"/>
                  <a:gd name="T1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1">
                    <a:moveTo>
                      <a:pt x="24" y="0"/>
                    </a:moveTo>
                    <a:cubicBezTo>
                      <a:pt x="24" y="0"/>
                      <a:pt x="0" y="0"/>
                      <a:pt x="0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1"/>
                      <a:pt x="24" y="51"/>
                    </a:cubicBezTo>
                    <a:cubicBezTo>
                      <a:pt x="262" y="51"/>
                      <a:pt x="262" y="51"/>
                      <a:pt x="262" y="51"/>
                    </a:cubicBezTo>
                    <a:cubicBezTo>
                      <a:pt x="262" y="51"/>
                      <a:pt x="286" y="51"/>
                      <a:pt x="286" y="28"/>
                    </a:cubicBezTo>
                    <a:cubicBezTo>
                      <a:pt x="286" y="24"/>
                      <a:pt x="286" y="24"/>
                      <a:pt x="286" y="24"/>
                    </a:cubicBezTo>
                    <a:cubicBezTo>
                      <a:pt x="286" y="24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3" name="Freeform 19">
                <a:extLst>
                  <a:ext uri="{FF2B5EF4-FFF2-40B4-BE49-F238E27FC236}">
                    <a16:creationId xmlns:a16="http://schemas.microsoft.com/office/drawing/2014/main" id="{E0F1E033-C526-4845-806D-E749E77A0327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495006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4" name="Freeform 20">
                <a:extLst>
                  <a:ext uri="{FF2B5EF4-FFF2-40B4-BE49-F238E27FC236}">
                    <a16:creationId xmlns:a16="http://schemas.microsoft.com/office/drawing/2014/main" id="{F56E2200-4928-46DE-91CC-854F11513F5F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634997"/>
                <a:ext cx="446894" cy="78073"/>
              </a:xfrm>
              <a:custGeom>
                <a:avLst/>
                <a:gdLst>
                  <a:gd name="T0" fmla="*/ 24 w 286"/>
                  <a:gd name="T1" fmla="*/ 0 h 51"/>
                  <a:gd name="T2" fmla="*/ 0 w 286"/>
                  <a:gd name="T3" fmla="*/ 23 h 51"/>
                  <a:gd name="T4" fmla="*/ 0 w 286"/>
                  <a:gd name="T5" fmla="*/ 27 h 51"/>
                  <a:gd name="T6" fmla="*/ 24 w 286"/>
                  <a:gd name="T7" fmla="*/ 51 h 51"/>
                  <a:gd name="T8" fmla="*/ 262 w 286"/>
                  <a:gd name="T9" fmla="*/ 51 h 51"/>
                  <a:gd name="T10" fmla="*/ 286 w 286"/>
                  <a:gd name="T11" fmla="*/ 27 h 51"/>
                  <a:gd name="T12" fmla="*/ 286 w 286"/>
                  <a:gd name="T13" fmla="*/ 23 h 51"/>
                  <a:gd name="T14" fmla="*/ 262 w 286"/>
                  <a:gd name="T15" fmla="*/ 0 h 51"/>
                  <a:gd name="T16" fmla="*/ 152 w 286"/>
                  <a:gd name="T17" fmla="*/ 0 h 51"/>
                  <a:gd name="T18" fmla="*/ 24 w 286"/>
                  <a:gd name="T1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1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1"/>
                      <a:pt x="24" y="51"/>
                    </a:cubicBezTo>
                    <a:cubicBezTo>
                      <a:pt x="262" y="51"/>
                      <a:pt x="262" y="51"/>
                      <a:pt x="262" y="51"/>
                    </a:cubicBezTo>
                    <a:cubicBezTo>
                      <a:pt x="262" y="51"/>
                      <a:pt x="286" y="51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F947EAFB-7216-4C14-AA8F-CCC54E686CF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4681982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C2EABB97-1B21-4CF9-9387-E3DBEB351B9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4821973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7" name="Oval 146">
                <a:extLst>
                  <a:ext uri="{FF2B5EF4-FFF2-40B4-BE49-F238E27FC236}">
                    <a16:creationId xmlns:a16="http://schemas.microsoft.com/office/drawing/2014/main" id="{3F95CA90-D808-4679-9A15-F5027AA8A4B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4959271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8" name="Oval 147">
                <a:extLst>
                  <a:ext uri="{FF2B5EF4-FFF2-40B4-BE49-F238E27FC236}">
                    <a16:creationId xmlns:a16="http://schemas.microsoft.com/office/drawing/2014/main" id="{8CE48FD8-98D4-4178-9368-0F4D95E256A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099262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9" name="Freeform 25">
                <a:extLst>
                  <a:ext uri="{FF2B5EF4-FFF2-40B4-BE49-F238E27FC236}">
                    <a16:creationId xmlns:a16="http://schemas.microsoft.com/office/drawing/2014/main" id="{AA5184DB-BC61-4922-BCE9-FB03A4FF5FC5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203225" y="5236562"/>
                <a:ext cx="45767" cy="43074"/>
              </a:xfrm>
              <a:custGeom>
                <a:avLst/>
                <a:gdLst>
                  <a:gd name="T0" fmla="*/ 14 w 28"/>
                  <a:gd name="T1" fmla="*/ 28 h 28"/>
                  <a:gd name="T2" fmla="*/ 28 w 28"/>
                  <a:gd name="T3" fmla="*/ 13 h 28"/>
                  <a:gd name="T4" fmla="*/ 14 w 28"/>
                  <a:gd name="T5" fmla="*/ 0 h 28"/>
                  <a:gd name="T6" fmla="*/ 0 w 28"/>
                  <a:gd name="T7" fmla="*/ 13 h 28"/>
                  <a:gd name="T8" fmla="*/ 14 w 28"/>
                  <a:gd name="T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22" y="28"/>
                      <a:pt x="28" y="21"/>
                      <a:pt x="28" y="13"/>
                    </a:cubicBezTo>
                    <a:cubicBezTo>
                      <a:pt x="28" y="7"/>
                      <a:pt x="22" y="0"/>
                      <a:pt x="14" y="0"/>
                    </a:cubicBezTo>
                    <a:cubicBezTo>
                      <a:pt x="7" y="0"/>
                      <a:pt x="0" y="7"/>
                      <a:pt x="0" y="13"/>
                    </a:cubicBezTo>
                    <a:cubicBezTo>
                      <a:pt x="0" y="21"/>
                      <a:pt x="7" y="28"/>
                      <a:pt x="14" y="28"/>
                    </a:cubicBez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0" name="Oval 149">
                <a:extLst>
                  <a:ext uri="{FF2B5EF4-FFF2-40B4-BE49-F238E27FC236}">
                    <a16:creationId xmlns:a16="http://schemas.microsoft.com/office/drawing/2014/main" id="{4B92D872-8DBD-4CA7-8648-079F722FF8D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376553"/>
                <a:ext cx="45767" cy="40383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1" name="Oval 150">
                <a:extLst>
                  <a:ext uri="{FF2B5EF4-FFF2-40B4-BE49-F238E27FC236}">
                    <a16:creationId xmlns:a16="http://schemas.microsoft.com/office/drawing/2014/main" id="{0DA0BFDC-25D6-467A-BEAC-6EA1594C7AA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513851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42FB13FD-4B6E-408E-87BB-4428866DA91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653841"/>
                <a:ext cx="45767" cy="40383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3" name="Freeform 29">
                <a:extLst>
                  <a:ext uri="{FF2B5EF4-FFF2-40B4-BE49-F238E27FC236}">
                    <a16:creationId xmlns:a16="http://schemas.microsoft.com/office/drawing/2014/main" id="{E60E6D00-6EBC-4EED-8236-60869A96CC0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772295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2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2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2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2"/>
                      <a:pt x="286" y="22"/>
                      <a:pt x="286" y="22"/>
                    </a:cubicBezTo>
                    <a:cubicBezTo>
                      <a:pt x="286" y="22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4" name="Oval 153">
                <a:extLst>
                  <a:ext uri="{FF2B5EF4-FFF2-40B4-BE49-F238E27FC236}">
                    <a16:creationId xmlns:a16="http://schemas.microsoft.com/office/drawing/2014/main" id="{D7053A7D-A954-445C-9A33-F65154711F1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791141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5" name="Rectangle 154">
                <a:extLst>
                  <a:ext uri="{FF2B5EF4-FFF2-40B4-BE49-F238E27FC236}">
                    <a16:creationId xmlns:a16="http://schemas.microsoft.com/office/drawing/2014/main" id="{C3BDF2C2-68E2-44CB-93B6-97636E44FFF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467054" y="4883892"/>
                <a:ext cx="570732" cy="1337991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6" name="Freeform 32">
                <a:extLst>
                  <a:ext uri="{FF2B5EF4-FFF2-40B4-BE49-F238E27FC236}">
                    <a16:creationId xmlns:a16="http://schemas.microsoft.com/office/drawing/2014/main" id="{1CAB3E5E-A552-4EB1-BC91-AC8CB7FE90D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4975424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2 h 50"/>
                  <a:gd name="T4" fmla="*/ 0 w 287"/>
                  <a:gd name="T5" fmla="*/ 27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7 h 50"/>
                  <a:gd name="T12" fmla="*/ 287 w 287"/>
                  <a:gd name="T13" fmla="*/ 22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2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7"/>
                    </a:cubicBezTo>
                    <a:cubicBezTo>
                      <a:pt x="287" y="22"/>
                      <a:pt x="287" y="22"/>
                      <a:pt x="287" y="22"/>
                    </a:cubicBezTo>
                    <a:cubicBezTo>
                      <a:pt x="287" y="22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7" name="Freeform 33">
                <a:extLst>
                  <a:ext uri="{FF2B5EF4-FFF2-40B4-BE49-F238E27FC236}">
                    <a16:creationId xmlns:a16="http://schemas.microsoft.com/office/drawing/2014/main" id="{5BED7802-1E6A-496F-B26E-31C38B70CC09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112724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8" name="Freeform 34">
                <a:extLst>
                  <a:ext uri="{FF2B5EF4-FFF2-40B4-BE49-F238E27FC236}">
                    <a16:creationId xmlns:a16="http://schemas.microsoft.com/office/drawing/2014/main" id="{83EA78EA-3763-4F23-80F5-26F93071E0F6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252715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2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2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2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2"/>
                      <a:pt x="287" y="22"/>
                      <a:pt x="287" y="22"/>
                    </a:cubicBezTo>
                    <a:cubicBezTo>
                      <a:pt x="287" y="22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9" name="Freeform 35">
                <a:extLst>
                  <a:ext uri="{FF2B5EF4-FFF2-40B4-BE49-F238E27FC236}">
                    <a16:creationId xmlns:a16="http://schemas.microsoft.com/office/drawing/2014/main" id="{E20DF8A3-AEFA-4739-9DFC-A34856ED5A7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390012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2 h 50"/>
                  <a:gd name="T4" fmla="*/ 0 w 287"/>
                  <a:gd name="T5" fmla="*/ 27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7 h 50"/>
                  <a:gd name="T12" fmla="*/ 287 w 287"/>
                  <a:gd name="T13" fmla="*/ 22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2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7"/>
                    </a:cubicBezTo>
                    <a:cubicBezTo>
                      <a:pt x="287" y="22"/>
                      <a:pt x="287" y="22"/>
                      <a:pt x="287" y="22"/>
                    </a:cubicBezTo>
                    <a:cubicBezTo>
                      <a:pt x="287" y="22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60" name="Freeform 36">
                <a:extLst>
                  <a:ext uri="{FF2B5EF4-FFF2-40B4-BE49-F238E27FC236}">
                    <a16:creationId xmlns:a16="http://schemas.microsoft.com/office/drawing/2014/main" id="{07FDA66F-DB05-43E9-93B2-AF8D89CC80AD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527312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61" name="Freeform 37">
                <a:extLst>
                  <a:ext uri="{FF2B5EF4-FFF2-40B4-BE49-F238E27FC236}">
                    <a16:creationId xmlns:a16="http://schemas.microsoft.com/office/drawing/2014/main" id="{18804C6E-5565-43B5-9430-A852CCCB21EB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667303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62" name="Freeform 38">
                <a:extLst>
                  <a:ext uri="{FF2B5EF4-FFF2-40B4-BE49-F238E27FC236}">
                    <a16:creationId xmlns:a16="http://schemas.microsoft.com/office/drawing/2014/main" id="{EDA03021-4FFE-46F5-8401-24206E7EDAB9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807294"/>
                <a:ext cx="449587" cy="75380"/>
              </a:xfrm>
              <a:custGeom>
                <a:avLst/>
                <a:gdLst>
                  <a:gd name="T0" fmla="*/ 25 w 287"/>
                  <a:gd name="T1" fmla="*/ 0 h 49"/>
                  <a:gd name="T2" fmla="*/ 0 w 287"/>
                  <a:gd name="T3" fmla="*/ 23 h 49"/>
                  <a:gd name="T4" fmla="*/ 0 w 287"/>
                  <a:gd name="T5" fmla="*/ 27 h 49"/>
                  <a:gd name="T6" fmla="*/ 25 w 287"/>
                  <a:gd name="T7" fmla="*/ 49 h 49"/>
                  <a:gd name="T8" fmla="*/ 262 w 287"/>
                  <a:gd name="T9" fmla="*/ 49 h 49"/>
                  <a:gd name="T10" fmla="*/ 287 w 287"/>
                  <a:gd name="T11" fmla="*/ 27 h 49"/>
                  <a:gd name="T12" fmla="*/ 287 w 287"/>
                  <a:gd name="T13" fmla="*/ 23 h 49"/>
                  <a:gd name="T14" fmla="*/ 262 w 287"/>
                  <a:gd name="T15" fmla="*/ 0 h 49"/>
                  <a:gd name="T16" fmla="*/ 153 w 287"/>
                  <a:gd name="T17" fmla="*/ 0 h 49"/>
                  <a:gd name="T18" fmla="*/ 25 w 287"/>
                  <a:gd name="T1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49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49"/>
                      <a:pt x="25" y="49"/>
                    </a:cubicBezTo>
                    <a:cubicBezTo>
                      <a:pt x="262" y="49"/>
                      <a:pt x="262" y="49"/>
                      <a:pt x="262" y="49"/>
                    </a:cubicBezTo>
                    <a:cubicBezTo>
                      <a:pt x="262" y="49"/>
                      <a:pt x="287" y="49"/>
                      <a:pt x="287" y="27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63" name="Freeform 39">
                <a:extLst>
                  <a:ext uri="{FF2B5EF4-FFF2-40B4-BE49-F238E27FC236}">
                    <a16:creationId xmlns:a16="http://schemas.microsoft.com/office/drawing/2014/main" id="{EB73C8F3-50B8-42DA-918F-DA75F96E0B2E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941900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4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4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4"/>
                      <a:pt x="287" y="24"/>
                      <a:pt x="287" y="24"/>
                    </a:cubicBezTo>
                    <a:cubicBezTo>
                      <a:pt x="287" y="24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64" name="Oval 163">
                <a:extLst>
                  <a:ext uri="{FF2B5EF4-FFF2-40B4-BE49-F238E27FC236}">
                    <a16:creationId xmlns:a16="http://schemas.microsoft.com/office/drawing/2014/main" id="{82E3E3A3-7F1D-4D49-99D3-3FC6B758BAB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4991577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551C61D-6B4F-4D78-BF8A-8A72CB0FB5E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131568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66" name="Oval 165">
                <a:extLst>
                  <a:ext uri="{FF2B5EF4-FFF2-40B4-BE49-F238E27FC236}">
                    <a16:creationId xmlns:a16="http://schemas.microsoft.com/office/drawing/2014/main" id="{B32842AA-2F29-4896-8E5D-1D699A2986F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268867"/>
                <a:ext cx="45767" cy="45767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B08B3597-14BE-48EF-B4F7-5DE170CAFE4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406165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AA8800AB-BC0A-4CB7-97A4-423DB152576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546156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B3A2B3B8-B349-4884-96C0-AE3D6F72E77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683456"/>
                <a:ext cx="45767" cy="45767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B0969CD2-42F5-43E6-B0E3-CE15146D746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823447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851C3F48-37D4-4FB0-86DB-729AC9FCA21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960744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72" name="Freeform 48">
                <a:extLst>
                  <a:ext uri="{FF2B5EF4-FFF2-40B4-BE49-F238E27FC236}">
                    <a16:creationId xmlns:a16="http://schemas.microsoft.com/office/drawing/2014/main" id="{C250FD83-A98A-4DF7-9BD8-D55E7B840DBB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6081891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7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7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7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659BEBD5-EA6A-4E8B-9323-889F8E4B8BB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6100735"/>
                <a:ext cx="45767" cy="43074"/>
              </a:xfrm>
              <a:prstGeom prst="ellipse">
                <a:avLst/>
              </a:prstGeom>
              <a:solidFill>
                <a:srgbClr val="FF8C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74" name="Freeform 50">
                <a:extLst>
                  <a:ext uri="{FF2B5EF4-FFF2-40B4-BE49-F238E27FC236}">
                    <a16:creationId xmlns:a16="http://schemas.microsoft.com/office/drawing/2014/main" id="{817FDE9E-3778-4E09-A941-9D48A5EF5E4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909595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4FE24D84-C2F1-4C24-BC54-9EBBD689A36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928439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E3E5E6A7-2FAB-4DA4-B06B-0A4BC505D39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643261" y="4245857"/>
                <a:ext cx="573425" cy="255753"/>
              </a:xfrm>
              <a:prstGeom prst="rect">
                <a:avLst/>
              </a:pr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77" name="Freeform 53">
                <a:extLst>
                  <a:ext uri="{FF2B5EF4-FFF2-40B4-BE49-F238E27FC236}">
                    <a16:creationId xmlns:a16="http://schemas.microsoft.com/office/drawing/2014/main" id="{3CB2F72F-F851-46DA-A8CE-49D1BB5CB919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772739" y="5917670"/>
                <a:ext cx="1243765" cy="621882"/>
              </a:xfrm>
              <a:custGeom>
                <a:avLst/>
                <a:gdLst>
                  <a:gd name="T0" fmla="*/ 763 w 788"/>
                  <a:gd name="T1" fmla="*/ 392 h 392"/>
                  <a:gd name="T2" fmla="*/ 788 w 788"/>
                  <a:gd name="T3" fmla="*/ 304 h 392"/>
                  <a:gd name="T4" fmla="*/ 625 w 788"/>
                  <a:gd name="T5" fmla="*/ 142 h 392"/>
                  <a:gd name="T6" fmla="*/ 580 w 788"/>
                  <a:gd name="T7" fmla="*/ 149 h 392"/>
                  <a:gd name="T8" fmla="*/ 358 w 788"/>
                  <a:gd name="T9" fmla="*/ 0 h 392"/>
                  <a:gd name="T10" fmla="*/ 120 w 788"/>
                  <a:gd name="T11" fmla="*/ 224 h 392"/>
                  <a:gd name="T12" fmla="*/ 0 w 788"/>
                  <a:gd name="T13" fmla="*/ 347 h 392"/>
                  <a:gd name="T14" fmla="*/ 8 w 788"/>
                  <a:gd name="T15" fmla="*/ 392 h 392"/>
                  <a:gd name="T16" fmla="*/ 763 w 788"/>
                  <a:gd name="T17" fmla="*/ 392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88" h="392">
                    <a:moveTo>
                      <a:pt x="763" y="392"/>
                    </a:moveTo>
                    <a:cubicBezTo>
                      <a:pt x="779" y="366"/>
                      <a:pt x="788" y="337"/>
                      <a:pt x="788" y="304"/>
                    </a:cubicBezTo>
                    <a:cubicBezTo>
                      <a:pt x="788" y="214"/>
                      <a:pt x="715" y="142"/>
                      <a:pt x="625" y="142"/>
                    </a:cubicBezTo>
                    <a:cubicBezTo>
                      <a:pt x="609" y="142"/>
                      <a:pt x="594" y="144"/>
                      <a:pt x="580" y="149"/>
                    </a:cubicBezTo>
                    <a:cubicBezTo>
                      <a:pt x="544" y="61"/>
                      <a:pt x="458" y="0"/>
                      <a:pt x="358" y="0"/>
                    </a:cubicBezTo>
                    <a:cubicBezTo>
                      <a:pt x="231" y="0"/>
                      <a:pt x="127" y="99"/>
                      <a:pt x="120" y="224"/>
                    </a:cubicBezTo>
                    <a:cubicBezTo>
                      <a:pt x="53" y="226"/>
                      <a:pt x="0" y="280"/>
                      <a:pt x="0" y="347"/>
                    </a:cubicBezTo>
                    <a:cubicBezTo>
                      <a:pt x="0" y="363"/>
                      <a:pt x="2" y="378"/>
                      <a:pt x="8" y="392"/>
                    </a:cubicBezTo>
                    <a:lnTo>
                      <a:pt x="763" y="392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78" name="Freeform 55">
                <a:extLst>
                  <a:ext uri="{FF2B5EF4-FFF2-40B4-BE49-F238E27FC236}">
                    <a16:creationId xmlns:a16="http://schemas.microsoft.com/office/drawing/2014/main" id="{59FF6DFA-1E8A-4AC7-922B-99F94232946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1198092" y="5990359"/>
                <a:ext cx="1449301" cy="697263"/>
              </a:xfrm>
              <a:custGeom>
                <a:avLst/>
                <a:gdLst>
                  <a:gd name="T0" fmla="*/ 790 w 790"/>
                  <a:gd name="T1" fmla="*/ 206 h 414"/>
                  <a:gd name="T2" fmla="*/ 661 w 790"/>
                  <a:gd name="T3" fmla="*/ 149 h 414"/>
                  <a:gd name="T4" fmla="*/ 613 w 790"/>
                  <a:gd name="T5" fmla="*/ 156 h 414"/>
                  <a:gd name="T6" fmla="*/ 379 w 790"/>
                  <a:gd name="T7" fmla="*/ 0 h 414"/>
                  <a:gd name="T8" fmla="*/ 127 w 790"/>
                  <a:gd name="T9" fmla="*/ 236 h 414"/>
                  <a:gd name="T10" fmla="*/ 0 w 790"/>
                  <a:gd name="T11" fmla="*/ 366 h 414"/>
                  <a:gd name="T12" fmla="*/ 9 w 790"/>
                  <a:gd name="T13" fmla="*/ 414 h 414"/>
                  <a:gd name="T14" fmla="*/ 790 w 790"/>
                  <a:gd name="T15" fmla="*/ 414 h 414"/>
                  <a:gd name="T16" fmla="*/ 790 w 790"/>
                  <a:gd name="T17" fmla="*/ 206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0" h="414">
                    <a:moveTo>
                      <a:pt x="790" y="206"/>
                    </a:moveTo>
                    <a:cubicBezTo>
                      <a:pt x="758" y="172"/>
                      <a:pt x="713" y="149"/>
                      <a:pt x="661" y="149"/>
                    </a:cubicBezTo>
                    <a:cubicBezTo>
                      <a:pt x="644" y="149"/>
                      <a:pt x="628" y="152"/>
                      <a:pt x="613" y="156"/>
                    </a:cubicBezTo>
                    <a:cubicBezTo>
                      <a:pt x="576" y="64"/>
                      <a:pt x="484" y="0"/>
                      <a:pt x="379" y="0"/>
                    </a:cubicBezTo>
                    <a:cubicBezTo>
                      <a:pt x="245" y="0"/>
                      <a:pt x="135" y="104"/>
                      <a:pt x="127" y="236"/>
                    </a:cubicBezTo>
                    <a:cubicBezTo>
                      <a:pt x="56" y="238"/>
                      <a:pt x="0" y="295"/>
                      <a:pt x="0" y="366"/>
                    </a:cubicBezTo>
                    <a:cubicBezTo>
                      <a:pt x="0" y="383"/>
                      <a:pt x="3" y="399"/>
                      <a:pt x="9" y="414"/>
                    </a:cubicBezTo>
                    <a:cubicBezTo>
                      <a:pt x="790" y="414"/>
                      <a:pt x="790" y="414"/>
                      <a:pt x="790" y="414"/>
                    </a:cubicBezTo>
                    <a:lnTo>
                      <a:pt x="790" y="206"/>
                    </a:lnTo>
                    <a:close/>
                  </a:path>
                </a:pathLst>
              </a:custGeom>
              <a:ln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79" name="Freeform 59">
                <a:extLst>
                  <a:ext uri="{FF2B5EF4-FFF2-40B4-BE49-F238E27FC236}">
                    <a16:creationId xmlns:a16="http://schemas.microsoft.com/office/drawing/2014/main" id="{185DF761-F093-4E36-907D-9174624E4409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1682678" y="5328094"/>
                <a:ext cx="309596" cy="441510"/>
              </a:xfrm>
              <a:custGeom>
                <a:avLst/>
                <a:gdLst>
                  <a:gd name="T0" fmla="*/ 198 w 198"/>
                  <a:gd name="T1" fmla="*/ 202 h 283"/>
                  <a:gd name="T2" fmla="*/ 198 w 198"/>
                  <a:gd name="T3" fmla="*/ 0 h 283"/>
                  <a:gd name="T4" fmla="*/ 177 w 198"/>
                  <a:gd name="T5" fmla="*/ 6 h 283"/>
                  <a:gd name="T6" fmla="*/ 177 w 198"/>
                  <a:gd name="T7" fmla="*/ 230 h 283"/>
                  <a:gd name="T8" fmla="*/ 0 w 198"/>
                  <a:gd name="T9" fmla="*/ 230 h 283"/>
                  <a:gd name="T10" fmla="*/ 26 w 198"/>
                  <a:gd name="T11" fmla="*/ 246 h 283"/>
                  <a:gd name="T12" fmla="*/ 26 w 198"/>
                  <a:gd name="T13" fmla="*/ 283 h 283"/>
                  <a:gd name="T14" fmla="*/ 171 w 198"/>
                  <a:gd name="T15" fmla="*/ 283 h 283"/>
                  <a:gd name="T16" fmla="*/ 171 w 198"/>
                  <a:gd name="T17" fmla="*/ 246 h 283"/>
                  <a:gd name="T18" fmla="*/ 198 w 198"/>
                  <a:gd name="T19" fmla="*/ 202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8" h="283">
                    <a:moveTo>
                      <a:pt x="198" y="202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0" y="0"/>
                      <a:pt x="183" y="3"/>
                      <a:pt x="177" y="6"/>
                    </a:cubicBezTo>
                    <a:cubicBezTo>
                      <a:pt x="177" y="230"/>
                      <a:pt x="177" y="230"/>
                      <a:pt x="177" y="230"/>
                    </a:cubicBezTo>
                    <a:cubicBezTo>
                      <a:pt x="0" y="230"/>
                      <a:pt x="0" y="230"/>
                      <a:pt x="0" y="230"/>
                    </a:cubicBezTo>
                    <a:cubicBezTo>
                      <a:pt x="6" y="239"/>
                      <a:pt x="15" y="244"/>
                      <a:pt x="26" y="246"/>
                    </a:cubicBezTo>
                    <a:cubicBezTo>
                      <a:pt x="26" y="283"/>
                      <a:pt x="26" y="283"/>
                      <a:pt x="26" y="283"/>
                    </a:cubicBezTo>
                    <a:cubicBezTo>
                      <a:pt x="171" y="283"/>
                      <a:pt x="171" y="283"/>
                      <a:pt x="171" y="283"/>
                    </a:cubicBezTo>
                    <a:cubicBezTo>
                      <a:pt x="171" y="246"/>
                      <a:pt x="171" y="246"/>
                      <a:pt x="171" y="246"/>
                    </a:cubicBezTo>
                    <a:lnTo>
                      <a:pt x="198" y="202"/>
                    </a:lnTo>
                    <a:close/>
                  </a:path>
                </a:pathLst>
              </a:custGeom>
              <a:solidFill>
                <a:srgbClr val="613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80" name="Freeform 60">
                <a:extLst>
                  <a:ext uri="{FF2B5EF4-FFF2-40B4-BE49-F238E27FC236}">
                    <a16:creationId xmlns:a16="http://schemas.microsoft.com/office/drawing/2014/main" id="{6ECF2FA0-9DBD-4153-949B-15F4594DF27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1704215" y="5815369"/>
                <a:ext cx="263829" cy="419973"/>
              </a:xfrm>
              <a:custGeom>
                <a:avLst/>
                <a:gdLst>
                  <a:gd name="T0" fmla="*/ 167 w 167"/>
                  <a:gd name="T1" fmla="*/ 270 h 270"/>
                  <a:gd name="T2" fmla="*/ 167 w 167"/>
                  <a:gd name="T3" fmla="*/ 0 h 270"/>
                  <a:gd name="T4" fmla="*/ 0 w 167"/>
                  <a:gd name="T5" fmla="*/ 0 h 270"/>
                  <a:gd name="T6" fmla="*/ 0 w 167"/>
                  <a:gd name="T7" fmla="*/ 203 h 270"/>
                  <a:gd name="T8" fmla="*/ 18 w 167"/>
                  <a:gd name="T9" fmla="*/ 202 h 270"/>
                  <a:gd name="T10" fmla="*/ 167 w 167"/>
                  <a:gd name="T11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7" h="270">
                    <a:moveTo>
                      <a:pt x="167" y="27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03"/>
                      <a:pt x="0" y="203"/>
                      <a:pt x="0" y="203"/>
                    </a:cubicBezTo>
                    <a:cubicBezTo>
                      <a:pt x="6" y="203"/>
                      <a:pt x="12" y="202"/>
                      <a:pt x="18" y="202"/>
                    </a:cubicBezTo>
                    <a:cubicBezTo>
                      <a:pt x="77" y="202"/>
                      <a:pt x="131" y="229"/>
                      <a:pt x="167" y="270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81" name="Rectangle 180">
                <a:extLst>
                  <a:ext uri="{FF2B5EF4-FFF2-40B4-BE49-F238E27FC236}">
                    <a16:creationId xmlns:a16="http://schemas.microsoft.com/office/drawing/2014/main" id="{CCE4985F-9E71-4741-BAB4-5C4C66D2B74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1712292" y="5769604"/>
                <a:ext cx="247676" cy="4576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82" name="Freeform 62">
                <a:extLst>
                  <a:ext uri="{FF2B5EF4-FFF2-40B4-BE49-F238E27FC236}">
                    <a16:creationId xmlns:a16="http://schemas.microsoft.com/office/drawing/2014/main" id="{D5575C3B-663D-4C3E-9483-60890AB79F1F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698577" y="6491095"/>
                <a:ext cx="1017626" cy="503430"/>
              </a:xfrm>
              <a:custGeom>
                <a:avLst/>
                <a:gdLst>
                  <a:gd name="T0" fmla="*/ 628 w 650"/>
                  <a:gd name="T1" fmla="*/ 323 h 323"/>
                  <a:gd name="T2" fmla="*/ 650 w 650"/>
                  <a:gd name="T3" fmla="*/ 251 h 323"/>
                  <a:gd name="T4" fmla="*/ 515 w 650"/>
                  <a:gd name="T5" fmla="*/ 117 h 323"/>
                  <a:gd name="T6" fmla="*/ 477 w 650"/>
                  <a:gd name="T7" fmla="*/ 122 h 323"/>
                  <a:gd name="T8" fmla="*/ 295 w 650"/>
                  <a:gd name="T9" fmla="*/ 0 h 323"/>
                  <a:gd name="T10" fmla="*/ 99 w 650"/>
                  <a:gd name="T11" fmla="*/ 184 h 323"/>
                  <a:gd name="T12" fmla="*/ 0 w 650"/>
                  <a:gd name="T13" fmla="*/ 285 h 323"/>
                  <a:gd name="T14" fmla="*/ 7 w 650"/>
                  <a:gd name="T15" fmla="*/ 323 h 323"/>
                  <a:gd name="T16" fmla="*/ 628 w 650"/>
                  <a:gd name="T17" fmla="*/ 323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0" h="323">
                    <a:moveTo>
                      <a:pt x="628" y="323"/>
                    </a:moveTo>
                    <a:cubicBezTo>
                      <a:pt x="642" y="302"/>
                      <a:pt x="650" y="277"/>
                      <a:pt x="650" y="251"/>
                    </a:cubicBezTo>
                    <a:cubicBezTo>
                      <a:pt x="650" y="176"/>
                      <a:pt x="589" y="117"/>
                      <a:pt x="515" y="117"/>
                    </a:cubicBezTo>
                    <a:cubicBezTo>
                      <a:pt x="502" y="117"/>
                      <a:pt x="489" y="119"/>
                      <a:pt x="477" y="122"/>
                    </a:cubicBezTo>
                    <a:cubicBezTo>
                      <a:pt x="448" y="50"/>
                      <a:pt x="377" y="0"/>
                      <a:pt x="295" y="0"/>
                    </a:cubicBezTo>
                    <a:cubicBezTo>
                      <a:pt x="191" y="0"/>
                      <a:pt x="105" y="81"/>
                      <a:pt x="99" y="184"/>
                    </a:cubicBezTo>
                    <a:cubicBezTo>
                      <a:pt x="44" y="185"/>
                      <a:pt x="0" y="230"/>
                      <a:pt x="0" y="285"/>
                    </a:cubicBezTo>
                    <a:cubicBezTo>
                      <a:pt x="0" y="298"/>
                      <a:pt x="1" y="311"/>
                      <a:pt x="7" y="323"/>
                    </a:cubicBezTo>
                    <a:lnTo>
                      <a:pt x="628" y="323"/>
                    </a:lnTo>
                    <a:close/>
                  </a:path>
                </a:pathLst>
              </a:custGeom>
              <a:ln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83" name="Rectangle 182">
                <a:extLst>
                  <a:ext uri="{FF2B5EF4-FFF2-40B4-BE49-F238E27FC236}">
                    <a16:creationId xmlns:a16="http://schemas.microsoft.com/office/drawing/2014/main" id="{DCDE07CD-DEDA-4964-813B-AB9EBAA7977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0840041" y="5481545"/>
                <a:ext cx="43074" cy="91532"/>
              </a:xfrm>
              <a:prstGeom prst="rect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84" name="Freeform 64">
                <a:extLst>
                  <a:ext uri="{FF2B5EF4-FFF2-40B4-BE49-F238E27FC236}">
                    <a16:creationId xmlns:a16="http://schemas.microsoft.com/office/drawing/2014/main" id="{5EE260CD-588F-430E-B153-95DE8669D0B0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852992" y="5328094"/>
                <a:ext cx="729569" cy="231523"/>
              </a:xfrm>
              <a:custGeom>
                <a:avLst/>
                <a:gdLst>
                  <a:gd name="T0" fmla="*/ 271 w 271"/>
                  <a:gd name="T1" fmla="*/ 0 h 86"/>
                  <a:gd name="T2" fmla="*/ 0 w 271"/>
                  <a:gd name="T3" fmla="*/ 0 h 86"/>
                  <a:gd name="T4" fmla="*/ 17 w 271"/>
                  <a:gd name="T5" fmla="*/ 11 h 86"/>
                  <a:gd name="T6" fmla="*/ 132 w 271"/>
                  <a:gd name="T7" fmla="*/ 48 h 86"/>
                  <a:gd name="T8" fmla="*/ 133 w 271"/>
                  <a:gd name="T9" fmla="*/ 86 h 86"/>
                  <a:gd name="T10" fmla="*/ 240 w 271"/>
                  <a:gd name="T11" fmla="*/ 86 h 86"/>
                  <a:gd name="T12" fmla="*/ 240 w 271"/>
                  <a:gd name="T13" fmla="*/ 21 h 86"/>
                  <a:gd name="T14" fmla="*/ 271 w 271"/>
                  <a:gd name="T15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1" h="86">
                    <a:moveTo>
                      <a:pt x="271" y="0"/>
                    </a:moveTo>
                    <a:lnTo>
                      <a:pt x="0" y="0"/>
                    </a:lnTo>
                    <a:lnTo>
                      <a:pt x="17" y="11"/>
                    </a:lnTo>
                    <a:lnTo>
                      <a:pt x="132" y="48"/>
                    </a:lnTo>
                    <a:lnTo>
                      <a:pt x="133" y="86"/>
                    </a:lnTo>
                    <a:lnTo>
                      <a:pt x="240" y="86"/>
                    </a:lnTo>
                    <a:lnTo>
                      <a:pt x="240" y="21"/>
                    </a:lnTo>
                    <a:lnTo>
                      <a:pt x="271" y="0"/>
                    </a:lnTo>
                    <a:close/>
                  </a:path>
                </a:pathLst>
              </a:custGeom>
              <a:solidFill>
                <a:srgbClr val="BB91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85" name="Freeform 65">
                <a:extLst>
                  <a:ext uri="{FF2B5EF4-FFF2-40B4-BE49-F238E27FC236}">
                    <a16:creationId xmlns:a16="http://schemas.microsoft.com/office/drawing/2014/main" id="{A6047989-A018-4D66-9A3A-152078DC226E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7192201" y="5621536"/>
                <a:ext cx="328440" cy="508814"/>
              </a:xfrm>
              <a:custGeom>
                <a:avLst/>
                <a:gdLst>
                  <a:gd name="T0" fmla="*/ 209 w 209"/>
                  <a:gd name="T1" fmla="*/ 327 h 327"/>
                  <a:gd name="T2" fmla="*/ 209 w 209"/>
                  <a:gd name="T3" fmla="*/ 0 h 327"/>
                  <a:gd name="T4" fmla="*/ 0 w 209"/>
                  <a:gd name="T5" fmla="*/ 0 h 327"/>
                  <a:gd name="T6" fmla="*/ 0 w 209"/>
                  <a:gd name="T7" fmla="*/ 242 h 327"/>
                  <a:gd name="T8" fmla="*/ 209 w 209"/>
                  <a:gd name="T9" fmla="*/ 327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9" h="327">
                    <a:moveTo>
                      <a:pt x="209" y="327"/>
                    </a:moveTo>
                    <a:cubicBezTo>
                      <a:pt x="209" y="0"/>
                      <a:pt x="209" y="0"/>
                      <a:pt x="20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81" y="245"/>
                      <a:pt x="153" y="277"/>
                      <a:pt x="209" y="327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D21E6A00-9822-4C34-919E-F58D1CB6316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7202970" y="5559618"/>
                <a:ext cx="306903" cy="6192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87" name="Rectangle 186">
                <a:extLst>
                  <a:ext uri="{FF2B5EF4-FFF2-40B4-BE49-F238E27FC236}">
                    <a16:creationId xmlns:a16="http://schemas.microsoft.com/office/drawing/2014/main" id="{A768C170-5608-4A7D-9041-0358EE20D2C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7943307" y="5048112"/>
                <a:ext cx="43074" cy="91532"/>
              </a:xfrm>
              <a:prstGeom prst="rect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88" name="Freeform 68">
                <a:extLst>
                  <a:ext uri="{FF2B5EF4-FFF2-40B4-BE49-F238E27FC236}">
                    <a16:creationId xmlns:a16="http://schemas.microsoft.com/office/drawing/2014/main" id="{06F07A6E-D337-43AB-8AF9-E4C101550EE6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7940614" y="5088494"/>
                <a:ext cx="1289532" cy="454971"/>
              </a:xfrm>
              <a:custGeom>
                <a:avLst/>
                <a:gdLst>
                  <a:gd name="T0" fmla="*/ 479 w 479"/>
                  <a:gd name="T1" fmla="*/ 169 h 169"/>
                  <a:gd name="T2" fmla="*/ 163 w 479"/>
                  <a:gd name="T3" fmla="*/ 169 h 169"/>
                  <a:gd name="T4" fmla="*/ 163 w 479"/>
                  <a:gd name="T5" fmla="*/ 5 h 169"/>
                  <a:gd name="T6" fmla="*/ 0 w 479"/>
                  <a:gd name="T7" fmla="*/ 5 h 169"/>
                  <a:gd name="T8" fmla="*/ 0 w 479"/>
                  <a:gd name="T9" fmla="*/ 0 h 169"/>
                  <a:gd name="T10" fmla="*/ 169 w 479"/>
                  <a:gd name="T11" fmla="*/ 0 h 169"/>
                  <a:gd name="T12" fmla="*/ 169 w 479"/>
                  <a:gd name="T13" fmla="*/ 165 h 169"/>
                  <a:gd name="T14" fmla="*/ 479 w 479"/>
                  <a:gd name="T15" fmla="*/ 165 h 169"/>
                  <a:gd name="T16" fmla="*/ 479 w 479"/>
                  <a:gd name="T17" fmla="*/ 169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9" h="169">
                    <a:moveTo>
                      <a:pt x="479" y="169"/>
                    </a:moveTo>
                    <a:lnTo>
                      <a:pt x="163" y="169"/>
                    </a:lnTo>
                    <a:lnTo>
                      <a:pt x="163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169" y="0"/>
                    </a:lnTo>
                    <a:lnTo>
                      <a:pt x="169" y="165"/>
                    </a:lnTo>
                    <a:lnTo>
                      <a:pt x="479" y="165"/>
                    </a:lnTo>
                    <a:lnTo>
                      <a:pt x="479" y="169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89" name="Freeform 69">
                <a:extLst>
                  <a:ext uri="{FF2B5EF4-FFF2-40B4-BE49-F238E27FC236}">
                    <a16:creationId xmlns:a16="http://schemas.microsoft.com/office/drawing/2014/main" id="{37287349-5787-4053-AC21-A26F52056AC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215467" y="6227266"/>
                <a:ext cx="134607" cy="188449"/>
              </a:xfrm>
              <a:custGeom>
                <a:avLst/>
                <a:gdLst>
                  <a:gd name="T0" fmla="*/ 85 w 85"/>
                  <a:gd name="T1" fmla="*/ 86 h 121"/>
                  <a:gd name="T2" fmla="*/ 85 w 85"/>
                  <a:gd name="T3" fmla="*/ 0 h 121"/>
                  <a:gd name="T4" fmla="*/ 77 w 85"/>
                  <a:gd name="T5" fmla="*/ 2 h 121"/>
                  <a:gd name="T6" fmla="*/ 77 w 85"/>
                  <a:gd name="T7" fmla="*/ 98 h 121"/>
                  <a:gd name="T8" fmla="*/ 0 w 85"/>
                  <a:gd name="T9" fmla="*/ 98 h 121"/>
                  <a:gd name="T10" fmla="*/ 11 w 85"/>
                  <a:gd name="T11" fmla="*/ 105 h 121"/>
                  <a:gd name="T12" fmla="*/ 11 w 85"/>
                  <a:gd name="T13" fmla="*/ 121 h 121"/>
                  <a:gd name="T14" fmla="*/ 73 w 85"/>
                  <a:gd name="T15" fmla="*/ 121 h 121"/>
                  <a:gd name="T16" fmla="*/ 73 w 85"/>
                  <a:gd name="T17" fmla="*/ 105 h 121"/>
                  <a:gd name="T18" fmla="*/ 85 w 85"/>
                  <a:gd name="T19" fmla="*/ 86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5" h="121">
                    <a:moveTo>
                      <a:pt x="85" y="86"/>
                    </a:moveTo>
                    <a:cubicBezTo>
                      <a:pt x="85" y="0"/>
                      <a:pt x="85" y="0"/>
                      <a:pt x="85" y="0"/>
                    </a:cubicBezTo>
                    <a:cubicBezTo>
                      <a:pt x="82" y="0"/>
                      <a:pt x="79" y="1"/>
                      <a:pt x="77" y="2"/>
                    </a:cubicBezTo>
                    <a:cubicBezTo>
                      <a:pt x="77" y="98"/>
                      <a:pt x="77" y="98"/>
                      <a:pt x="77" y="98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3" y="102"/>
                      <a:pt x="7" y="104"/>
                      <a:pt x="11" y="105"/>
                    </a:cubicBezTo>
                    <a:cubicBezTo>
                      <a:pt x="11" y="121"/>
                      <a:pt x="11" y="121"/>
                      <a:pt x="11" y="121"/>
                    </a:cubicBezTo>
                    <a:cubicBezTo>
                      <a:pt x="73" y="121"/>
                      <a:pt x="73" y="121"/>
                      <a:pt x="73" y="121"/>
                    </a:cubicBezTo>
                    <a:cubicBezTo>
                      <a:pt x="73" y="105"/>
                      <a:pt x="73" y="105"/>
                      <a:pt x="73" y="105"/>
                    </a:cubicBezTo>
                    <a:lnTo>
                      <a:pt x="85" y="86"/>
                    </a:lnTo>
                    <a:close/>
                  </a:path>
                </a:pathLst>
              </a:custGeom>
              <a:solidFill>
                <a:srgbClr val="CE9C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90" name="Freeform 70">
                <a:extLst>
                  <a:ext uri="{FF2B5EF4-FFF2-40B4-BE49-F238E27FC236}">
                    <a16:creationId xmlns:a16="http://schemas.microsoft.com/office/drawing/2014/main" id="{B87D542C-565C-4561-95B2-68D2B3A9E5F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228926" y="6437253"/>
                <a:ext cx="110378" cy="250369"/>
              </a:xfrm>
              <a:custGeom>
                <a:avLst/>
                <a:gdLst>
                  <a:gd name="T0" fmla="*/ 72 w 72"/>
                  <a:gd name="T1" fmla="*/ 160 h 160"/>
                  <a:gd name="T2" fmla="*/ 72 w 72"/>
                  <a:gd name="T3" fmla="*/ 0 h 160"/>
                  <a:gd name="T4" fmla="*/ 0 w 72"/>
                  <a:gd name="T5" fmla="*/ 0 h 160"/>
                  <a:gd name="T6" fmla="*/ 0 w 72"/>
                  <a:gd name="T7" fmla="*/ 119 h 160"/>
                  <a:gd name="T8" fmla="*/ 72 w 72"/>
                  <a:gd name="T9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60">
                    <a:moveTo>
                      <a:pt x="72" y="160"/>
                    </a:moveTo>
                    <a:cubicBezTo>
                      <a:pt x="72" y="0"/>
                      <a:pt x="72" y="0"/>
                      <a:pt x="7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27" y="126"/>
                      <a:pt x="52" y="140"/>
                      <a:pt x="72" y="160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23A054DE-C47E-48CA-8EFE-0C2222FFD0F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0231619" y="6415716"/>
                <a:ext cx="104994" cy="2153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92" name="Freeform 72">
                <a:extLst>
                  <a:ext uri="{FF2B5EF4-FFF2-40B4-BE49-F238E27FC236}">
                    <a16:creationId xmlns:a16="http://schemas.microsoft.com/office/drawing/2014/main" id="{341FF322-BC5B-42F4-9DD5-A2E50AF57B8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916639" y="5287711"/>
                <a:ext cx="923402" cy="247676"/>
              </a:xfrm>
              <a:custGeom>
                <a:avLst/>
                <a:gdLst>
                  <a:gd name="T0" fmla="*/ 343 w 343"/>
                  <a:gd name="T1" fmla="*/ 92 h 92"/>
                  <a:gd name="T2" fmla="*/ 196 w 343"/>
                  <a:gd name="T3" fmla="*/ 92 h 92"/>
                  <a:gd name="T4" fmla="*/ 196 w 343"/>
                  <a:gd name="T5" fmla="*/ 5 h 92"/>
                  <a:gd name="T6" fmla="*/ 0 w 343"/>
                  <a:gd name="T7" fmla="*/ 5 h 92"/>
                  <a:gd name="T8" fmla="*/ 0 w 343"/>
                  <a:gd name="T9" fmla="*/ 0 h 92"/>
                  <a:gd name="T10" fmla="*/ 201 w 343"/>
                  <a:gd name="T11" fmla="*/ 0 h 92"/>
                  <a:gd name="T12" fmla="*/ 201 w 343"/>
                  <a:gd name="T13" fmla="*/ 87 h 92"/>
                  <a:gd name="T14" fmla="*/ 343 w 343"/>
                  <a:gd name="T15" fmla="*/ 87 h 92"/>
                  <a:gd name="T16" fmla="*/ 343 w 343"/>
                  <a:gd name="T17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3" h="92">
                    <a:moveTo>
                      <a:pt x="343" y="92"/>
                    </a:moveTo>
                    <a:lnTo>
                      <a:pt x="196" y="92"/>
                    </a:lnTo>
                    <a:lnTo>
                      <a:pt x="196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201" y="0"/>
                    </a:lnTo>
                    <a:lnTo>
                      <a:pt x="201" y="87"/>
                    </a:lnTo>
                    <a:lnTo>
                      <a:pt x="343" y="87"/>
                    </a:lnTo>
                    <a:lnTo>
                      <a:pt x="343" y="92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93" name="Freeform 73">
                <a:extLst>
                  <a:ext uri="{FF2B5EF4-FFF2-40B4-BE49-F238E27FC236}">
                    <a16:creationId xmlns:a16="http://schemas.microsoft.com/office/drawing/2014/main" id="{9617F793-FEFA-4242-9C3F-F0903FB19846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623198" y="5565002"/>
                <a:ext cx="282675" cy="743029"/>
              </a:xfrm>
              <a:custGeom>
                <a:avLst/>
                <a:gdLst>
                  <a:gd name="T0" fmla="*/ 93 w 105"/>
                  <a:gd name="T1" fmla="*/ 276 h 276"/>
                  <a:gd name="T2" fmla="*/ 0 w 105"/>
                  <a:gd name="T3" fmla="*/ 276 h 276"/>
                  <a:gd name="T4" fmla="*/ 0 w 105"/>
                  <a:gd name="T5" fmla="*/ 0 h 276"/>
                  <a:gd name="T6" fmla="*/ 105 w 105"/>
                  <a:gd name="T7" fmla="*/ 0 h 276"/>
                  <a:gd name="T8" fmla="*/ 105 w 105"/>
                  <a:gd name="T9" fmla="*/ 6 h 276"/>
                  <a:gd name="T10" fmla="*/ 6 w 105"/>
                  <a:gd name="T11" fmla="*/ 6 h 276"/>
                  <a:gd name="T12" fmla="*/ 6 w 105"/>
                  <a:gd name="T13" fmla="*/ 271 h 276"/>
                  <a:gd name="T14" fmla="*/ 93 w 105"/>
                  <a:gd name="T15" fmla="*/ 271 h 276"/>
                  <a:gd name="T16" fmla="*/ 93 w 105"/>
                  <a:gd name="T17" fmla="*/ 276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5" h="276">
                    <a:moveTo>
                      <a:pt x="93" y="276"/>
                    </a:moveTo>
                    <a:lnTo>
                      <a:pt x="0" y="276"/>
                    </a:lnTo>
                    <a:lnTo>
                      <a:pt x="0" y="0"/>
                    </a:lnTo>
                    <a:lnTo>
                      <a:pt x="105" y="0"/>
                    </a:lnTo>
                    <a:lnTo>
                      <a:pt x="105" y="6"/>
                    </a:lnTo>
                    <a:lnTo>
                      <a:pt x="6" y="6"/>
                    </a:lnTo>
                    <a:lnTo>
                      <a:pt x="6" y="271"/>
                    </a:lnTo>
                    <a:lnTo>
                      <a:pt x="93" y="271"/>
                    </a:lnTo>
                    <a:lnTo>
                      <a:pt x="93" y="276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B4705AD8-E1EA-4149-9C9A-80BC3C256DA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46644" y="6273032"/>
                <a:ext cx="26921" cy="56536"/>
              </a:xfrm>
              <a:prstGeom prst="rect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95" name="Freeform 75">
                <a:extLst>
                  <a:ext uri="{FF2B5EF4-FFF2-40B4-BE49-F238E27FC236}">
                    <a16:creationId xmlns:a16="http://schemas.microsoft.com/office/drawing/2014/main" id="{198A8A7D-80E7-4EC0-975F-88909013E2AF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883115" y="4951196"/>
                <a:ext cx="1076853" cy="734953"/>
              </a:xfrm>
              <a:custGeom>
                <a:avLst/>
                <a:gdLst>
                  <a:gd name="T0" fmla="*/ 400 w 400"/>
                  <a:gd name="T1" fmla="*/ 273 h 273"/>
                  <a:gd name="T2" fmla="*/ 400 w 400"/>
                  <a:gd name="T3" fmla="*/ 0 h 273"/>
                  <a:gd name="T4" fmla="*/ 201 w 400"/>
                  <a:gd name="T5" fmla="*/ 0 h 273"/>
                  <a:gd name="T6" fmla="*/ 0 w 400"/>
                  <a:gd name="T7" fmla="*/ 0 h 273"/>
                  <a:gd name="T8" fmla="*/ 0 w 400"/>
                  <a:gd name="T9" fmla="*/ 273 h 273"/>
                  <a:gd name="T10" fmla="*/ 201 w 400"/>
                  <a:gd name="T11" fmla="*/ 273 h 273"/>
                  <a:gd name="T12" fmla="*/ 400 w 400"/>
                  <a:gd name="T13" fmla="*/ 273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0" h="273">
                    <a:moveTo>
                      <a:pt x="400" y="273"/>
                    </a:moveTo>
                    <a:lnTo>
                      <a:pt x="400" y="0"/>
                    </a:lnTo>
                    <a:lnTo>
                      <a:pt x="201" y="0"/>
                    </a:lnTo>
                    <a:lnTo>
                      <a:pt x="0" y="0"/>
                    </a:lnTo>
                    <a:lnTo>
                      <a:pt x="0" y="273"/>
                    </a:lnTo>
                    <a:lnTo>
                      <a:pt x="201" y="273"/>
                    </a:lnTo>
                    <a:lnTo>
                      <a:pt x="400" y="273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96" name="Rectangle 195">
                <a:extLst>
                  <a:ext uri="{FF2B5EF4-FFF2-40B4-BE49-F238E27FC236}">
                    <a16:creationId xmlns:a16="http://schemas.microsoft.com/office/drawing/2014/main" id="{FA1C93F3-AD43-4DB5-9009-C2ACFDEAEB7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0939649" y="4991577"/>
                <a:ext cx="966476" cy="573425"/>
              </a:xfrm>
              <a:prstGeom prst="rect">
                <a:avLst/>
              </a:prstGeom>
              <a:solidFill>
                <a:srgbClr val="D048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197" name="Freeform 80">
                <a:extLst>
                  <a:ext uri="{FF2B5EF4-FFF2-40B4-BE49-F238E27FC236}">
                    <a16:creationId xmlns:a16="http://schemas.microsoft.com/office/drawing/2014/main" id="{74B00C7E-99CD-4FCE-A6A7-4BE06ED48D9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873565" y="6065739"/>
                <a:ext cx="463047" cy="314980"/>
              </a:xfrm>
              <a:custGeom>
                <a:avLst/>
                <a:gdLst>
                  <a:gd name="T0" fmla="*/ 172 w 172"/>
                  <a:gd name="T1" fmla="*/ 117 h 117"/>
                  <a:gd name="T2" fmla="*/ 172 w 172"/>
                  <a:gd name="T3" fmla="*/ 0 h 117"/>
                  <a:gd name="T4" fmla="*/ 86 w 172"/>
                  <a:gd name="T5" fmla="*/ 0 h 117"/>
                  <a:gd name="T6" fmla="*/ 0 w 172"/>
                  <a:gd name="T7" fmla="*/ 0 h 117"/>
                  <a:gd name="T8" fmla="*/ 0 w 172"/>
                  <a:gd name="T9" fmla="*/ 117 h 117"/>
                  <a:gd name="T10" fmla="*/ 86 w 172"/>
                  <a:gd name="T11" fmla="*/ 117 h 117"/>
                  <a:gd name="T12" fmla="*/ 172 w 172"/>
                  <a:gd name="T13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2" h="117">
                    <a:moveTo>
                      <a:pt x="172" y="117"/>
                    </a:moveTo>
                    <a:lnTo>
                      <a:pt x="172" y="0"/>
                    </a:lnTo>
                    <a:lnTo>
                      <a:pt x="86" y="0"/>
                    </a:lnTo>
                    <a:lnTo>
                      <a:pt x="0" y="0"/>
                    </a:lnTo>
                    <a:lnTo>
                      <a:pt x="0" y="117"/>
                    </a:lnTo>
                    <a:lnTo>
                      <a:pt x="86" y="117"/>
                    </a:lnTo>
                    <a:lnTo>
                      <a:pt x="172" y="117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2FCED436-2699-4DB0-BB3C-DC256BF00A1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97795" y="6079198"/>
                <a:ext cx="414588" cy="250369"/>
              </a:xfrm>
              <a:prstGeom prst="rect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99" name="Freeform 83">
                <a:extLst>
                  <a:ext uri="{FF2B5EF4-FFF2-40B4-BE49-F238E27FC236}">
                    <a16:creationId xmlns:a16="http://schemas.microsoft.com/office/drawing/2014/main" id="{3A6BB825-5756-4932-9507-8568FBA1971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624162" y="5271559"/>
                <a:ext cx="1523747" cy="56536"/>
              </a:xfrm>
              <a:custGeom>
                <a:avLst/>
                <a:gdLst>
                  <a:gd name="T0" fmla="*/ 0 w 973"/>
                  <a:gd name="T1" fmla="*/ 0 h 35"/>
                  <a:gd name="T2" fmla="*/ 75 w 973"/>
                  <a:gd name="T3" fmla="*/ 35 h 35"/>
                  <a:gd name="T4" fmla="*/ 897 w 973"/>
                  <a:gd name="T5" fmla="*/ 35 h 35"/>
                  <a:gd name="T6" fmla="*/ 973 w 973"/>
                  <a:gd name="T7" fmla="*/ 0 h 35"/>
                  <a:gd name="T8" fmla="*/ 0 w 973"/>
                  <a:gd name="T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3" h="35">
                    <a:moveTo>
                      <a:pt x="0" y="0"/>
                    </a:moveTo>
                    <a:cubicBezTo>
                      <a:pt x="0" y="3"/>
                      <a:pt x="2" y="35"/>
                      <a:pt x="75" y="35"/>
                    </a:cubicBezTo>
                    <a:cubicBezTo>
                      <a:pt x="897" y="35"/>
                      <a:pt x="897" y="35"/>
                      <a:pt x="897" y="35"/>
                    </a:cubicBezTo>
                    <a:cubicBezTo>
                      <a:pt x="897" y="35"/>
                      <a:pt x="973" y="35"/>
                      <a:pt x="97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00" name="Freeform 84">
                <a:extLst>
                  <a:ext uri="{FF2B5EF4-FFF2-40B4-BE49-F238E27FC236}">
                    <a16:creationId xmlns:a16="http://schemas.microsoft.com/office/drawing/2014/main" id="{03A6645B-523C-47B1-8275-F950000EDCFF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931065" y="4480072"/>
                <a:ext cx="1012242" cy="756489"/>
              </a:xfrm>
              <a:custGeom>
                <a:avLst/>
                <a:gdLst>
                  <a:gd name="T0" fmla="*/ 60 w 710"/>
                  <a:gd name="T1" fmla="*/ 0 h 515"/>
                  <a:gd name="T2" fmla="*/ 0 w 710"/>
                  <a:gd name="T3" fmla="*/ 60 h 515"/>
                  <a:gd name="T4" fmla="*/ 0 w 710"/>
                  <a:gd name="T5" fmla="*/ 515 h 515"/>
                  <a:gd name="T6" fmla="*/ 60 w 710"/>
                  <a:gd name="T7" fmla="*/ 513 h 515"/>
                  <a:gd name="T8" fmla="*/ 648 w 710"/>
                  <a:gd name="T9" fmla="*/ 513 h 515"/>
                  <a:gd name="T10" fmla="*/ 710 w 710"/>
                  <a:gd name="T11" fmla="*/ 515 h 515"/>
                  <a:gd name="T12" fmla="*/ 710 w 710"/>
                  <a:gd name="T13" fmla="*/ 60 h 515"/>
                  <a:gd name="T14" fmla="*/ 648 w 710"/>
                  <a:gd name="T15" fmla="*/ 0 h 515"/>
                  <a:gd name="T16" fmla="*/ 92 w 710"/>
                  <a:gd name="T17" fmla="*/ 0 h 515"/>
                  <a:gd name="T18" fmla="*/ 60 w 710"/>
                  <a:gd name="T19" fmla="*/ 0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10" h="515">
                    <a:moveTo>
                      <a:pt x="60" y="0"/>
                    </a:moveTo>
                    <a:cubicBezTo>
                      <a:pt x="60" y="0"/>
                      <a:pt x="0" y="0"/>
                      <a:pt x="0" y="60"/>
                    </a:cubicBezTo>
                    <a:cubicBezTo>
                      <a:pt x="0" y="515"/>
                      <a:pt x="0" y="515"/>
                      <a:pt x="0" y="515"/>
                    </a:cubicBezTo>
                    <a:cubicBezTo>
                      <a:pt x="60" y="513"/>
                      <a:pt x="60" y="513"/>
                      <a:pt x="60" y="513"/>
                    </a:cubicBezTo>
                    <a:cubicBezTo>
                      <a:pt x="648" y="513"/>
                      <a:pt x="648" y="513"/>
                      <a:pt x="648" y="513"/>
                    </a:cubicBezTo>
                    <a:cubicBezTo>
                      <a:pt x="710" y="515"/>
                      <a:pt x="710" y="515"/>
                      <a:pt x="710" y="515"/>
                    </a:cubicBezTo>
                    <a:cubicBezTo>
                      <a:pt x="710" y="60"/>
                      <a:pt x="710" y="60"/>
                      <a:pt x="710" y="60"/>
                    </a:cubicBezTo>
                    <a:cubicBezTo>
                      <a:pt x="710" y="60"/>
                      <a:pt x="710" y="0"/>
                      <a:pt x="648" y="0"/>
                    </a:cubicBezTo>
                    <a:cubicBezTo>
                      <a:pt x="92" y="0"/>
                      <a:pt x="92" y="0"/>
                      <a:pt x="92" y="0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201" name="Freeform 85">
                <a:extLst>
                  <a:ext uri="{FF2B5EF4-FFF2-40B4-BE49-F238E27FC236}">
                    <a16:creationId xmlns:a16="http://schemas.microsoft.com/office/drawing/2014/main" id="{936F60D5-CC1B-4D00-BF79-25F754DDD6BE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7016288" y="4545006"/>
                <a:ext cx="854330" cy="670017"/>
              </a:xfrm>
              <a:custGeom>
                <a:avLst/>
                <a:gdLst>
                  <a:gd name="T0" fmla="*/ 55 w 646"/>
                  <a:gd name="T1" fmla="*/ 0 h 466"/>
                  <a:gd name="T2" fmla="*/ 0 w 646"/>
                  <a:gd name="T3" fmla="*/ 55 h 466"/>
                  <a:gd name="T4" fmla="*/ 0 w 646"/>
                  <a:gd name="T5" fmla="*/ 411 h 466"/>
                  <a:gd name="T6" fmla="*/ 55 w 646"/>
                  <a:gd name="T7" fmla="*/ 466 h 466"/>
                  <a:gd name="T8" fmla="*/ 590 w 646"/>
                  <a:gd name="T9" fmla="*/ 466 h 466"/>
                  <a:gd name="T10" fmla="*/ 646 w 646"/>
                  <a:gd name="T11" fmla="*/ 411 h 466"/>
                  <a:gd name="T12" fmla="*/ 646 w 646"/>
                  <a:gd name="T13" fmla="*/ 55 h 466"/>
                  <a:gd name="T14" fmla="*/ 590 w 646"/>
                  <a:gd name="T15" fmla="*/ 0 h 466"/>
                  <a:gd name="T16" fmla="*/ 220 w 646"/>
                  <a:gd name="T17" fmla="*/ 0 h 466"/>
                  <a:gd name="T18" fmla="*/ 55 w 646"/>
                  <a:gd name="T19" fmla="*/ 0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6" h="466">
                    <a:moveTo>
                      <a:pt x="55" y="0"/>
                    </a:moveTo>
                    <a:cubicBezTo>
                      <a:pt x="55" y="0"/>
                      <a:pt x="0" y="0"/>
                      <a:pt x="0" y="55"/>
                    </a:cubicBezTo>
                    <a:cubicBezTo>
                      <a:pt x="0" y="411"/>
                      <a:pt x="0" y="411"/>
                      <a:pt x="0" y="411"/>
                    </a:cubicBezTo>
                    <a:cubicBezTo>
                      <a:pt x="0" y="411"/>
                      <a:pt x="0" y="466"/>
                      <a:pt x="55" y="466"/>
                    </a:cubicBezTo>
                    <a:cubicBezTo>
                      <a:pt x="590" y="466"/>
                      <a:pt x="590" y="466"/>
                      <a:pt x="590" y="466"/>
                    </a:cubicBezTo>
                    <a:cubicBezTo>
                      <a:pt x="590" y="466"/>
                      <a:pt x="646" y="466"/>
                      <a:pt x="646" y="411"/>
                    </a:cubicBezTo>
                    <a:cubicBezTo>
                      <a:pt x="646" y="55"/>
                      <a:pt x="646" y="55"/>
                      <a:pt x="646" y="55"/>
                    </a:cubicBezTo>
                    <a:cubicBezTo>
                      <a:pt x="646" y="55"/>
                      <a:pt x="646" y="0"/>
                      <a:pt x="590" y="0"/>
                    </a:cubicBezTo>
                    <a:cubicBezTo>
                      <a:pt x="220" y="0"/>
                      <a:pt x="220" y="0"/>
                      <a:pt x="220" y="0"/>
                    </a:cubicBezTo>
                    <a:lnTo>
                      <a:pt x="55" y="0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202" name="Freeform 86">
                <a:extLst>
                  <a:ext uri="{FF2B5EF4-FFF2-40B4-BE49-F238E27FC236}">
                    <a16:creationId xmlns:a16="http://schemas.microsoft.com/office/drawing/2014/main" id="{90CD5FD1-B63B-4102-8CBA-E97AEE563D0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624162" y="5233869"/>
                <a:ext cx="1523747" cy="37690"/>
              </a:xfrm>
              <a:custGeom>
                <a:avLst/>
                <a:gdLst>
                  <a:gd name="T0" fmla="*/ 76 w 566"/>
                  <a:gd name="T1" fmla="*/ 0 h 14"/>
                  <a:gd name="T2" fmla="*/ 0 w 566"/>
                  <a:gd name="T3" fmla="*/ 14 h 14"/>
                  <a:gd name="T4" fmla="*/ 566 w 566"/>
                  <a:gd name="T5" fmla="*/ 14 h 14"/>
                  <a:gd name="T6" fmla="*/ 490 w 566"/>
                  <a:gd name="T7" fmla="*/ 0 h 14"/>
                  <a:gd name="T8" fmla="*/ 76 w 566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6" h="14">
                    <a:moveTo>
                      <a:pt x="76" y="0"/>
                    </a:moveTo>
                    <a:lnTo>
                      <a:pt x="0" y="14"/>
                    </a:lnTo>
                    <a:lnTo>
                      <a:pt x="566" y="14"/>
                    </a:lnTo>
                    <a:lnTo>
                      <a:pt x="490" y="0"/>
                    </a:lnTo>
                    <a:lnTo>
                      <a:pt x="76" y="0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</p:grpSp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4C5686DA-F56B-43DB-9453-16AE33221C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6220" y="4568432"/>
              <a:ext cx="736358" cy="613092"/>
            </a:xfrm>
            <a:prstGeom prst="rect">
              <a:avLst/>
            </a:prstGeom>
          </p:spPr>
        </p:pic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10D246C2-A77A-4920-BEF6-96D92937C8D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36377" y="5038107"/>
              <a:ext cx="604035" cy="502920"/>
            </a:xfrm>
            <a:prstGeom prst="rect">
              <a:avLst/>
            </a:prstGeom>
          </p:spPr>
        </p:pic>
        <p:pic>
          <p:nvPicPr>
            <p:cNvPr id="92" name="Picture 91">
              <a:extLst>
                <a:ext uri="{FF2B5EF4-FFF2-40B4-BE49-F238E27FC236}">
                  <a16:creationId xmlns:a16="http://schemas.microsoft.com/office/drawing/2014/main" id="{3C392118-2BFD-45D1-BC3A-1EB1C7A6922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0500" y="6106350"/>
              <a:ext cx="252597" cy="2103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08066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48212" y="471692"/>
            <a:ext cx="1454257" cy="304828"/>
          </a:xfrm>
          <a:prstGeom prst="rect">
            <a:avLst/>
          </a:prstGeom>
        </p:spPr>
      </p:pic>
      <p:grpSp>
        <p:nvGrpSpPr>
          <p:cNvPr id="84" name="Group 83">
            <a:extLst>
              <a:ext uri="{FF2B5EF4-FFF2-40B4-BE49-F238E27FC236}">
                <a16:creationId xmlns:a16="http://schemas.microsoft.com/office/drawing/2014/main" id="{BF4FFA89-795E-43B8-85B7-FABF3B9711F8}"/>
              </a:ext>
            </a:extLst>
          </p:cNvPr>
          <p:cNvGrpSpPr/>
          <p:nvPr userDrawn="1"/>
        </p:nvGrpSpPr>
        <p:grpSpPr>
          <a:xfrm>
            <a:off x="5468357" y="4139517"/>
            <a:ext cx="6723644" cy="2716134"/>
            <a:chOff x="5789470" y="4224320"/>
            <a:chExt cx="6858467" cy="2770205"/>
          </a:xfrm>
        </p:grpSpPr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29CF6A4C-EA8D-47D1-BB6B-F0CEC66F2B20}"/>
                </a:ext>
              </a:extLst>
            </p:cNvPr>
            <p:cNvGrpSpPr>
              <a:grpSpLocks noChangeAspect="1"/>
            </p:cNvGrpSpPr>
            <p:nvPr userDrawn="1"/>
          </p:nvGrpSpPr>
          <p:grpSpPr bwMode="gray">
            <a:xfrm>
              <a:off x="5789470" y="4224320"/>
              <a:ext cx="6858467" cy="2770205"/>
              <a:chOff x="5788926" y="4224320"/>
              <a:chExt cx="6858467" cy="2770205"/>
            </a:xfrm>
          </p:grpSpPr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07E49067-2015-4111-87A6-CCFC76CADAA6}"/>
                  </a:ext>
                </a:extLst>
              </p:cNvPr>
              <p:cNvSpPr/>
              <p:nvPr userDrawn="1"/>
            </p:nvSpPr>
            <p:spPr bwMode="gray">
              <a:xfrm>
                <a:off x="5788926" y="5758835"/>
                <a:ext cx="2577047" cy="1235690"/>
              </a:xfrm>
              <a:custGeom>
                <a:avLst/>
                <a:gdLst>
                  <a:gd name="connsiteX0" fmla="*/ 1214715 w 2577047"/>
                  <a:gd name="connsiteY0" fmla="*/ 0 h 1235690"/>
                  <a:gd name="connsiteX1" fmla="*/ 1914672 w 2577047"/>
                  <a:gd name="connsiteY1" fmla="*/ 468064 h 1235690"/>
                  <a:gd name="connsiteX2" fmla="*/ 2060300 w 2577047"/>
                  <a:gd name="connsiteY2" fmla="*/ 446221 h 1235690"/>
                  <a:gd name="connsiteX3" fmla="*/ 2577047 w 2577047"/>
                  <a:gd name="connsiteY3" fmla="*/ 957972 h 1235690"/>
                  <a:gd name="connsiteX4" fmla="*/ 2495620 w 2577047"/>
                  <a:gd name="connsiteY4" fmla="*/ 1235690 h 1235690"/>
                  <a:gd name="connsiteX5" fmla="*/ 1889591 w 2577047"/>
                  <a:gd name="connsiteY5" fmla="*/ 1235690 h 1235690"/>
                  <a:gd name="connsiteX6" fmla="*/ 1799319 w 2577047"/>
                  <a:gd name="connsiteY6" fmla="*/ 1235690 h 1235690"/>
                  <a:gd name="connsiteX7" fmla="*/ 31390 w 2577047"/>
                  <a:gd name="connsiteY7" fmla="*/ 1235690 h 1235690"/>
                  <a:gd name="connsiteX8" fmla="*/ 9264 w 2577047"/>
                  <a:gd name="connsiteY8" fmla="*/ 1164413 h 1235690"/>
                  <a:gd name="connsiteX9" fmla="*/ 0 w 2577047"/>
                  <a:gd name="connsiteY9" fmla="*/ 1072517 h 1235690"/>
                  <a:gd name="connsiteX10" fmla="*/ 455981 w 2577047"/>
                  <a:gd name="connsiteY10" fmla="*/ 616536 h 1235690"/>
                  <a:gd name="connsiteX11" fmla="*/ 459500 w 2577047"/>
                  <a:gd name="connsiteY11" fmla="*/ 616891 h 1235690"/>
                  <a:gd name="connsiteX12" fmla="*/ 459640 w 2577047"/>
                  <a:gd name="connsiteY12" fmla="*/ 615506 h 1235690"/>
                  <a:gd name="connsiteX13" fmla="*/ 720719 w 2577047"/>
                  <a:gd name="connsiteY13" fmla="*/ 182302 h 1235690"/>
                  <a:gd name="connsiteX14" fmla="*/ 739060 w 2577047"/>
                  <a:gd name="connsiteY14" fmla="*/ 169592 h 1235690"/>
                  <a:gd name="connsiteX15" fmla="*/ 747661 w 2577047"/>
                  <a:gd name="connsiteY15" fmla="*/ 161263 h 1235690"/>
                  <a:gd name="connsiteX16" fmla="*/ 1214715 w 2577047"/>
                  <a:gd name="connsiteY16" fmla="*/ 0 h 123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577047" h="1235690">
                    <a:moveTo>
                      <a:pt x="1214715" y="0"/>
                    </a:moveTo>
                    <a:cubicBezTo>
                      <a:pt x="1532592" y="0"/>
                      <a:pt x="1803493" y="191906"/>
                      <a:pt x="1914672" y="468064"/>
                    </a:cubicBezTo>
                    <a:cubicBezTo>
                      <a:pt x="1961649" y="454022"/>
                      <a:pt x="2010192" y="446221"/>
                      <a:pt x="2060300" y="446221"/>
                    </a:cubicBezTo>
                    <a:cubicBezTo>
                      <a:pt x="2346860" y="446221"/>
                      <a:pt x="2577047" y="675573"/>
                      <a:pt x="2577047" y="957972"/>
                    </a:cubicBezTo>
                    <a:cubicBezTo>
                      <a:pt x="2577047" y="1060946"/>
                      <a:pt x="2547295" y="1156119"/>
                      <a:pt x="2495620" y="1235690"/>
                    </a:cubicBezTo>
                    <a:cubicBezTo>
                      <a:pt x="2495620" y="1235690"/>
                      <a:pt x="2495620" y="1235690"/>
                      <a:pt x="1889591" y="1235690"/>
                    </a:cubicBezTo>
                    <a:lnTo>
                      <a:pt x="1799319" y="1235690"/>
                    </a:lnTo>
                    <a:lnTo>
                      <a:pt x="31390" y="1235690"/>
                    </a:lnTo>
                    <a:lnTo>
                      <a:pt x="9264" y="1164413"/>
                    </a:lnTo>
                    <a:cubicBezTo>
                      <a:pt x="3190" y="1134730"/>
                      <a:pt x="0" y="1103996"/>
                      <a:pt x="0" y="1072517"/>
                    </a:cubicBezTo>
                    <a:cubicBezTo>
                      <a:pt x="0" y="820686"/>
                      <a:pt x="204150" y="616536"/>
                      <a:pt x="455981" y="616536"/>
                    </a:cubicBezTo>
                    <a:lnTo>
                      <a:pt x="459500" y="616891"/>
                    </a:lnTo>
                    <a:lnTo>
                      <a:pt x="459640" y="615506"/>
                    </a:lnTo>
                    <a:cubicBezTo>
                      <a:pt x="495067" y="442379"/>
                      <a:pt x="589371" y="290700"/>
                      <a:pt x="720719" y="182302"/>
                    </a:cubicBezTo>
                    <a:lnTo>
                      <a:pt x="739060" y="169592"/>
                    </a:lnTo>
                    <a:lnTo>
                      <a:pt x="747661" y="161263"/>
                    </a:lnTo>
                    <a:cubicBezTo>
                      <a:pt x="876480" y="60556"/>
                      <a:pt x="1038551" y="0"/>
                      <a:pt x="1214715" y="0"/>
                    </a:cubicBezTo>
                    <a:close/>
                  </a:path>
                </a:pathLst>
              </a:cu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6" name="Freeform 6">
                <a:extLst>
                  <a:ext uri="{FF2B5EF4-FFF2-40B4-BE49-F238E27FC236}">
                    <a16:creationId xmlns:a16="http://schemas.microsoft.com/office/drawing/2014/main" id="{D6707352-8833-45B4-A771-4F993026B30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422506" y="4305084"/>
                <a:ext cx="2008331" cy="1846803"/>
              </a:xfrm>
              <a:custGeom>
                <a:avLst/>
                <a:gdLst>
                  <a:gd name="T0" fmla="*/ 948 w 1281"/>
                  <a:gd name="T1" fmla="*/ 6 h 1185"/>
                  <a:gd name="T2" fmla="*/ 641 w 1281"/>
                  <a:gd name="T3" fmla="*/ 168 h 1185"/>
                  <a:gd name="T4" fmla="*/ 333 w 1281"/>
                  <a:gd name="T5" fmla="*/ 6 h 1185"/>
                  <a:gd name="T6" fmla="*/ 10 w 1281"/>
                  <a:gd name="T7" fmla="*/ 362 h 1185"/>
                  <a:gd name="T8" fmla="*/ 641 w 1281"/>
                  <a:gd name="T9" fmla="*/ 1185 h 1185"/>
                  <a:gd name="T10" fmla="*/ 641 w 1281"/>
                  <a:gd name="T11" fmla="*/ 1184 h 1185"/>
                  <a:gd name="T12" fmla="*/ 641 w 1281"/>
                  <a:gd name="T13" fmla="*/ 1185 h 1185"/>
                  <a:gd name="T14" fmla="*/ 1272 w 1281"/>
                  <a:gd name="T15" fmla="*/ 361 h 1185"/>
                  <a:gd name="T16" fmla="*/ 948 w 1281"/>
                  <a:gd name="T17" fmla="*/ 6 h 1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81" h="1185">
                    <a:moveTo>
                      <a:pt x="948" y="6"/>
                    </a:moveTo>
                    <a:cubicBezTo>
                      <a:pt x="820" y="0"/>
                      <a:pt x="703" y="65"/>
                      <a:pt x="641" y="168"/>
                    </a:cubicBezTo>
                    <a:cubicBezTo>
                      <a:pt x="578" y="65"/>
                      <a:pt x="461" y="0"/>
                      <a:pt x="333" y="6"/>
                    </a:cubicBezTo>
                    <a:cubicBezTo>
                      <a:pt x="144" y="15"/>
                      <a:pt x="0" y="175"/>
                      <a:pt x="10" y="362"/>
                    </a:cubicBezTo>
                    <a:cubicBezTo>
                      <a:pt x="19" y="548"/>
                      <a:pt x="641" y="1185"/>
                      <a:pt x="641" y="1185"/>
                    </a:cubicBezTo>
                    <a:cubicBezTo>
                      <a:pt x="641" y="1185"/>
                      <a:pt x="641" y="1185"/>
                      <a:pt x="641" y="1184"/>
                    </a:cubicBezTo>
                    <a:cubicBezTo>
                      <a:pt x="641" y="1185"/>
                      <a:pt x="641" y="1185"/>
                      <a:pt x="641" y="1185"/>
                    </a:cubicBezTo>
                    <a:cubicBezTo>
                      <a:pt x="641" y="1185"/>
                      <a:pt x="1263" y="548"/>
                      <a:pt x="1272" y="361"/>
                    </a:cubicBezTo>
                    <a:cubicBezTo>
                      <a:pt x="1281" y="174"/>
                      <a:pt x="1137" y="15"/>
                      <a:pt x="948" y="6"/>
                    </a:cubicBezTo>
                    <a:close/>
                  </a:path>
                </a:pathLst>
              </a:custGeom>
              <a:solidFill>
                <a:srgbClr val="3393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7FA0ED32-FD72-4027-81AF-0E419580601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601660" y="4515070"/>
                <a:ext cx="573425" cy="1445676"/>
              </a:xfrm>
              <a:prstGeom prst="rect">
                <a:avLst/>
              </a:pr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2ADBFE1-44AF-4836-98C1-330BE5B48AA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640568" y="4224320"/>
                <a:ext cx="576116" cy="1445676"/>
              </a:xfrm>
              <a:prstGeom prst="rect">
                <a:avLst/>
              </a:pr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9" name="Rectangle 108">
                <a:extLst>
                  <a:ext uri="{FF2B5EF4-FFF2-40B4-BE49-F238E27FC236}">
                    <a16:creationId xmlns:a16="http://schemas.microsoft.com/office/drawing/2014/main" id="{3CD942FB-E00E-473C-A0AB-B061FC55400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771264" y="4698135"/>
                <a:ext cx="573425" cy="1445676"/>
              </a:xfrm>
              <a:prstGeom prst="rect">
                <a:avLst/>
              </a:pr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2F3C4DBD-1DA7-4090-90A3-61562410BA9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351291" y="4843510"/>
                <a:ext cx="320365" cy="1397218"/>
              </a:xfrm>
              <a:prstGeom prst="rect">
                <a:avLst/>
              </a:pr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13B43C7E-BA9C-470E-9913-B6EFB8D77B1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505962" y="4708904"/>
                <a:ext cx="309596" cy="1292224"/>
              </a:xfrm>
              <a:prstGeom prst="rect">
                <a:avLst/>
              </a:pr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0BE2E7D2-B949-4C28-A7EA-D6BC639D46C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780559" y="4576988"/>
                <a:ext cx="570732" cy="1518363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3" name="Freeform 13">
                <a:extLst>
                  <a:ext uri="{FF2B5EF4-FFF2-40B4-BE49-F238E27FC236}">
                    <a16:creationId xmlns:a16="http://schemas.microsoft.com/office/drawing/2014/main" id="{A76693C3-91FB-408D-9A90-F247A460730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4665830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2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2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2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2"/>
                      <a:pt x="286" y="22"/>
                      <a:pt x="286" y="22"/>
                    </a:cubicBezTo>
                    <a:cubicBezTo>
                      <a:pt x="286" y="22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4" name="Freeform 14">
                <a:extLst>
                  <a:ext uri="{FF2B5EF4-FFF2-40B4-BE49-F238E27FC236}">
                    <a16:creationId xmlns:a16="http://schemas.microsoft.com/office/drawing/2014/main" id="{CF1EE443-3533-449F-BED7-CBDE15BECFDA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4805821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5" name="Freeform 15">
                <a:extLst>
                  <a:ext uri="{FF2B5EF4-FFF2-40B4-BE49-F238E27FC236}">
                    <a16:creationId xmlns:a16="http://schemas.microsoft.com/office/drawing/2014/main" id="{84CB7160-DC3E-452E-A079-6A97A8706506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4943118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4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4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4"/>
                      <a:pt x="286" y="24"/>
                      <a:pt x="286" y="24"/>
                    </a:cubicBezTo>
                    <a:cubicBezTo>
                      <a:pt x="286" y="24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6" name="Freeform 16">
                <a:extLst>
                  <a:ext uri="{FF2B5EF4-FFF2-40B4-BE49-F238E27FC236}">
                    <a16:creationId xmlns:a16="http://schemas.microsoft.com/office/drawing/2014/main" id="{5BF7EEA6-98D7-4454-B558-AC435CBAE0F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080418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7" name="Freeform 17">
                <a:extLst>
                  <a:ext uri="{FF2B5EF4-FFF2-40B4-BE49-F238E27FC236}">
                    <a16:creationId xmlns:a16="http://schemas.microsoft.com/office/drawing/2014/main" id="{7B6EA853-5276-4192-8922-48BDA1179F76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220409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8" name="Freeform 18">
                <a:extLst>
                  <a:ext uri="{FF2B5EF4-FFF2-40B4-BE49-F238E27FC236}">
                    <a16:creationId xmlns:a16="http://schemas.microsoft.com/office/drawing/2014/main" id="{625072AF-6045-4772-ACE3-BC13609C4ED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357707"/>
                <a:ext cx="446894" cy="78073"/>
              </a:xfrm>
              <a:custGeom>
                <a:avLst/>
                <a:gdLst>
                  <a:gd name="T0" fmla="*/ 24 w 286"/>
                  <a:gd name="T1" fmla="*/ 0 h 51"/>
                  <a:gd name="T2" fmla="*/ 0 w 286"/>
                  <a:gd name="T3" fmla="*/ 24 h 51"/>
                  <a:gd name="T4" fmla="*/ 0 w 286"/>
                  <a:gd name="T5" fmla="*/ 28 h 51"/>
                  <a:gd name="T6" fmla="*/ 24 w 286"/>
                  <a:gd name="T7" fmla="*/ 51 h 51"/>
                  <a:gd name="T8" fmla="*/ 262 w 286"/>
                  <a:gd name="T9" fmla="*/ 51 h 51"/>
                  <a:gd name="T10" fmla="*/ 286 w 286"/>
                  <a:gd name="T11" fmla="*/ 28 h 51"/>
                  <a:gd name="T12" fmla="*/ 286 w 286"/>
                  <a:gd name="T13" fmla="*/ 24 h 51"/>
                  <a:gd name="T14" fmla="*/ 262 w 286"/>
                  <a:gd name="T15" fmla="*/ 0 h 51"/>
                  <a:gd name="T16" fmla="*/ 152 w 286"/>
                  <a:gd name="T17" fmla="*/ 0 h 51"/>
                  <a:gd name="T18" fmla="*/ 24 w 286"/>
                  <a:gd name="T1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1">
                    <a:moveTo>
                      <a:pt x="24" y="0"/>
                    </a:moveTo>
                    <a:cubicBezTo>
                      <a:pt x="24" y="0"/>
                      <a:pt x="0" y="0"/>
                      <a:pt x="0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1"/>
                      <a:pt x="24" y="51"/>
                    </a:cubicBezTo>
                    <a:cubicBezTo>
                      <a:pt x="262" y="51"/>
                      <a:pt x="262" y="51"/>
                      <a:pt x="262" y="51"/>
                    </a:cubicBezTo>
                    <a:cubicBezTo>
                      <a:pt x="262" y="51"/>
                      <a:pt x="286" y="51"/>
                      <a:pt x="286" y="28"/>
                    </a:cubicBezTo>
                    <a:cubicBezTo>
                      <a:pt x="286" y="24"/>
                      <a:pt x="286" y="24"/>
                      <a:pt x="286" y="24"/>
                    </a:cubicBezTo>
                    <a:cubicBezTo>
                      <a:pt x="286" y="24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9" name="Freeform 19">
                <a:extLst>
                  <a:ext uri="{FF2B5EF4-FFF2-40B4-BE49-F238E27FC236}">
                    <a16:creationId xmlns:a16="http://schemas.microsoft.com/office/drawing/2014/main" id="{FAB411EF-BF99-4B57-8015-1D269AA8D04F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495006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0" name="Freeform 20">
                <a:extLst>
                  <a:ext uri="{FF2B5EF4-FFF2-40B4-BE49-F238E27FC236}">
                    <a16:creationId xmlns:a16="http://schemas.microsoft.com/office/drawing/2014/main" id="{36C2CCBA-1CFF-4944-86C1-B0124E6236F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634997"/>
                <a:ext cx="446894" cy="78073"/>
              </a:xfrm>
              <a:custGeom>
                <a:avLst/>
                <a:gdLst>
                  <a:gd name="T0" fmla="*/ 24 w 286"/>
                  <a:gd name="T1" fmla="*/ 0 h 51"/>
                  <a:gd name="T2" fmla="*/ 0 w 286"/>
                  <a:gd name="T3" fmla="*/ 23 h 51"/>
                  <a:gd name="T4" fmla="*/ 0 w 286"/>
                  <a:gd name="T5" fmla="*/ 27 h 51"/>
                  <a:gd name="T6" fmla="*/ 24 w 286"/>
                  <a:gd name="T7" fmla="*/ 51 h 51"/>
                  <a:gd name="T8" fmla="*/ 262 w 286"/>
                  <a:gd name="T9" fmla="*/ 51 h 51"/>
                  <a:gd name="T10" fmla="*/ 286 w 286"/>
                  <a:gd name="T11" fmla="*/ 27 h 51"/>
                  <a:gd name="T12" fmla="*/ 286 w 286"/>
                  <a:gd name="T13" fmla="*/ 23 h 51"/>
                  <a:gd name="T14" fmla="*/ 262 w 286"/>
                  <a:gd name="T15" fmla="*/ 0 h 51"/>
                  <a:gd name="T16" fmla="*/ 152 w 286"/>
                  <a:gd name="T17" fmla="*/ 0 h 51"/>
                  <a:gd name="T18" fmla="*/ 24 w 286"/>
                  <a:gd name="T1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1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1"/>
                      <a:pt x="24" y="51"/>
                    </a:cubicBezTo>
                    <a:cubicBezTo>
                      <a:pt x="262" y="51"/>
                      <a:pt x="262" y="51"/>
                      <a:pt x="262" y="51"/>
                    </a:cubicBezTo>
                    <a:cubicBezTo>
                      <a:pt x="262" y="51"/>
                      <a:pt x="286" y="51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E133476F-9F16-4147-8CD9-9E82A178A62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4681982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B8BB756D-4A5D-45FF-BD4B-83A20BBA6E9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4821973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90E1DF8E-5AA0-422D-8A69-275009B5AB3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4959271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E9E94F92-6CD0-4927-97DE-BE9BB6B49C9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099262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5" name="Freeform 25">
                <a:extLst>
                  <a:ext uri="{FF2B5EF4-FFF2-40B4-BE49-F238E27FC236}">
                    <a16:creationId xmlns:a16="http://schemas.microsoft.com/office/drawing/2014/main" id="{B0C32388-E63D-4F00-89FE-901D2328EF80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203225" y="5236562"/>
                <a:ext cx="45767" cy="43074"/>
              </a:xfrm>
              <a:custGeom>
                <a:avLst/>
                <a:gdLst>
                  <a:gd name="T0" fmla="*/ 14 w 28"/>
                  <a:gd name="T1" fmla="*/ 28 h 28"/>
                  <a:gd name="T2" fmla="*/ 28 w 28"/>
                  <a:gd name="T3" fmla="*/ 13 h 28"/>
                  <a:gd name="T4" fmla="*/ 14 w 28"/>
                  <a:gd name="T5" fmla="*/ 0 h 28"/>
                  <a:gd name="T6" fmla="*/ 0 w 28"/>
                  <a:gd name="T7" fmla="*/ 13 h 28"/>
                  <a:gd name="T8" fmla="*/ 14 w 28"/>
                  <a:gd name="T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22" y="28"/>
                      <a:pt x="28" y="21"/>
                      <a:pt x="28" y="13"/>
                    </a:cubicBezTo>
                    <a:cubicBezTo>
                      <a:pt x="28" y="7"/>
                      <a:pt x="22" y="0"/>
                      <a:pt x="14" y="0"/>
                    </a:cubicBezTo>
                    <a:cubicBezTo>
                      <a:pt x="7" y="0"/>
                      <a:pt x="0" y="7"/>
                      <a:pt x="0" y="13"/>
                    </a:cubicBezTo>
                    <a:cubicBezTo>
                      <a:pt x="0" y="21"/>
                      <a:pt x="7" y="28"/>
                      <a:pt x="14" y="28"/>
                    </a:cubicBez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200FBD76-D01A-4830-80FB-B8064C44557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376553"/>
                <a:ext cx="45767" cy="40383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B009D1F5-E20D-49D8-8007-2F7803DAD52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513851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BD17296F-6915-44B1-9996-C6E071B8CCD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653841"/>
                <a:ext cx="45767" cy="40383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9" name="Freeform 29">
                <a:extLst>
                  <a:ext uri="{FF2B5EF4-FFF2-40B4-BE49-F238E27FC236}">
                    <a16:creationId xmlns:a16="http://schemas.microsoft.com/office/drawing/2014/main" id="{5B28EC39-A532-47B3-890B-553DC54042C0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772295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2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2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2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2"/>
                      <a:pt x="286" y="22"/>
                      <a:pt x="286" y="22"/>
                    </a:cubicBezTo>
                    <a:cubicBezTo>
                      <a:pt x="286" y="22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298C44C9-DC33-48F9-807D-4C234D94B6E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791141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1" name="Rectangle 130">
                <a:extLst>
                  <a:ext uri="{FF2B5EF4-FFF2-40B4-BE49-F238E27FC236}">
                    <a16:creationId xmlns:a16="http://schemas.microsoft.com/office/drawing/2014/main" id="{D31604B1-6DBC-4F97-91AE-2F3DE9FCB48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467054" y="4883892"/>
                <a:ext cx="570732" cy="1337991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2" name="Freeform 32">
                <a:extLst>
                  <a:ext uri="{FF2B5EF4-FFF2-40B4-BE49-F238E27FC236}">
                    <a16:creationId xmlns:a16="http://schemas.microsoft.com/office/drawing/2014/main" id="{66A12D6F-6C94-4C64-8D84-1A3B2AACF43A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4975424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2 h 50"/>
                  <a:gd name="T4" fmla="*/ 0 w 287"/>
                  <a:gd name="T5" fmla="*/ 27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7 h 50"/>
                  <a:gd name="T12" fmla="*/ 287 w 287"/>
                  <a:gd name="T13" fmla="*/ 22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2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7"/>
                    </a:cubicBezTo>
                    <a:cubicBezTo>
                      <a:pt x="287" y="22"/>
                      <a:pt x="287" y="22"/>
                      <a:pt x="287" y="22"/>
                    </a:cubicBezTo>
                    <a:cubicBezTo>
                      <a:pt x="287" y="22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3" name="Freeform 33">
                <a:extLst>
                  <a:ext uri="{FF2B5EF4-FFF2-40B4-BE49-F238E27FC236}">
                    <a16:creationId xmlns:a16="http://schemas.microsoft.com/office/drawing/2014/main" id="{0D2F2149-BDE6-4BF3-991E-7217F42C61E5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112724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4" name="Freeform 34">
                <a:extLst>
                  <a:ext uri="{FF2B5EF4-FFF2-40B4-BE49-F238E27FC236}">
                    <a16:creationId xmlns:a16="http://schemas.microsoft.com/office/drawing/2014/main" id="{C292AAA7-F304-4EF3-B1BA-8B5DF6B9444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252715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2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2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2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2"/>
                      <a:pt x="287" y="22"/>
                      <a:pt x="287" y="22"/>
                    </a:cubicBezTo>
                    <a:cubicBezTo>
                      <a:pt x="287" y="22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5" name="Freeform 35">
                <a:extLst>
                  <a:ext uri="{FF2B5EF4-FFF2-40B4-BE49-F238E27FC236}">
                    <a16:creationId xmlns:a16="http://schemas.microsoft.com/office/drawing/2014/main" id="{B7A46C54-6A2E-4D56-8693-9DEBB9AA8E19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390012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2 h 50"/>
                  <a:gd name="T4" fmla="*/ 0 w 287"/>
                  <a:gd name="T5" fmla="*/ 27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7 h 50"/>
                  <a:gd name="T12" fmla="*/ 287 w 287"/>
                  <a:gd name="T13" fmla="*/ 22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2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7"/>
                    </a:cubicBezTo>
                    <a:cubicBezTo>
                      <a:pt x="287" y="22"/>
                      <a:pt x="287" y="22"/>
                      <a:pt x="287" y="22"/>
                    </a:cubicBezTo>
                    <a:cubicBezTo>
                      <a:pt x="287" y="22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6" name="Freeform 36">
                <a:extLst>
                  <a:ext uri="{FF2B5EF4-FFF2-40B4-BE49-F238E27FC236}">
                    <a16:creationId xmlns:a16="http://schemas.microsoft.com/office/drawing/2014/main" id="{616BF060-C9F0-418D-B281-6643D35A6D9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527312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7" name="Freeform 37">
                <a:extLst>
                  <a:ext uri="{FF2B5EF4-FFF2-40B4-BE49-F238E27FC236}">
                    <a16:creationId xmlns:a16="http://schemas.microsoft.com/office/drawing/2014/main" id="{100D0C59-1E16-4721-BD9D-F73A7646309E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667303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8" name="Freeform 38">
                <a:extLst>
                  <a:ext uri="{FF2B5EF4-FFF2-40B4-BE49-F238E27FC236}">
                    <a16:creationId xmlns:a16="http://schemas.microsoft.com/office/drawing/2014/main" id="{3BA12027-65FD-407B-A394-1A2F7E53407B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807294"/>
                <a:ext cx="449587" cy="75380"/>
              </a:xfrm>
              <a:custGeom>
                <a:avLst/>
                <a:gdLst>
                  <a:gd name="T0" fmla="*/ 25 w 287"/>
                  <a:gd name="T1" fmla="*/ 0 h 49"/>
                  <a:gd name="T2" fmla="*/ 0 w 287"/>
                  <a:gd name="T3" fmla="*/ 23 h 49"/>
                  <a:gd name="T4" fmla="*/ 0 w 287"/>
                  <a:gd name="T5" fmla="*/ 27 h 49"/>
                  <a:gd name="T6" fmla="*/ 25 w 287"/>
                  <a:gd name="T7" fmla="*/ 49 h 49"/>
                  <a:gd name="T8" fmla="*/ 262 w 287"/>
                  <a:gd name="T9" fmla="*/ 49 h 49"/>
                  <a:gd name="T10" fmla="*/ 287 w 287"/>
                  <a:gd name="T11" fmla="*/ 27 h 49"/>
                  <a:gd name="T12" fmla="*/ 287 w 287"/>
                  <a:gd name="T13" fmla="*/ 23 h 49"/>
                  <a:gd name="T14" fmla="*/ 262 w 287"/>
                  <a:gd name="T15" fmla="*/ 0 h 49"/>
                  <a:gd name="T16" fmla="*/ 153 w 287"/>
                  <a:gd name="T17" fmla="*/ 0 h 49"/>
                  <a:gd name="T18" fmla="*/ 25 w 287"/>
                  <a:gd name="T1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49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49"/>
                      <a:pt x="25" y="49"/>
                    </a:cubicBezTo>
                    <a:cubicBezTo>
                      <a:pt x="262" y="49"/>
                      <a:pt x="262" y="49"/>
                      <a:pt x="262" y="49"/>
                    </a:cubicBezTo>
                    <a:cubicBezTo>
                      <a:pt x="262" y="49"/>
                      <a:pt x="287" y="49"/>
                      <a:pt x="287" y="27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9" name="Freeform 39">
                <a:extLst>
                  <a:ext uri="{FF2B5EF4-FFF2-40B4-BE49-F238E27FC236}">
                    <a16:creationId xmlns:a16="http://schemas.microsoft.com/office/drawing/2014/main" id="{B8C6639B-F6F2-404A-9560-301C2153E7B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941900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4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4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4"/>
                      <a:pt x="287" y="24"/>
                      <a:pt x="287" y="24"/>
                    </a:cubicBezTo>
                    <a:cubicBezTo>
                      <a:pt x="287" y="24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04" name="Oval 203">
                <a:extLst>
                  <a:ext uri="{FF2B5EF4-FFF2-40B4-BE49-F238E27FC236}">
                    <a16:creationId xmlns:a16="http://schemas.microsoft.com/office/drawing/2014/main" id="{EC1D0F84-9D85-4BFB-A883-B59BBD8F8BF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4991577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E2F5B9D1-EB17-4164-801A-92ADB5C4F80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131568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9B47DD14-99BA-4EF4-AC87-5B0C01108B5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268867"/>
                <a:ext cx="45767" cy="45767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10BAD1F4-D4F2-41DA-ACF2-A0661C4033C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406165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4B620D4F-3351-498C-8EEE-8B748C87E00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546156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09" name="Oval 208">
                <a:extLst>
                  <a:ext uri="{FF2B5EF4-FFF2-40B4-BE49-F238E27FC236}">
                    <a16:creationId xmlns:a16="http://schemas.microsoft.com/office/drawing/2014/main" id="{46F86BA7-2A1F-4803-8C4B-F4BC296BC33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683456"/>
                <a:ext cx="45767" cy="45767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A126117B-0F68-4F08-86FE-FF7B94607E3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823447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9DEA3DAF-A00E-465A-8CA0-585F016DE43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960744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12" name="Freeform 48">
                <a:extLst>
                  <a:ext uri="{FF2B5EF4-FFF2-40B4-BE49-F238E27FC236}">
                    <a16:creationId xmlns:a16="http://schemas.microsoft.com/office/drawing/2014/main" id="{DB731475-4ACE-49FC-A06A-26A2DBD2E2B7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6081891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7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7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7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415180BA-F6CC-4589-B6CD-AD8B6C0187E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6100735"/>
                <a:ext cx="45767" cy="43074"/>
              </a:xfrm>
              <a:prstGeom prst="ellipse">
                <a:avLst/>
              </a:prstGeom>
              <a:solidFill>
                <a:srgbClr val="FF8C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14" name="Freeform 50">
                <a:extLst>
                  <a:ext uri="{FF2B5EF4-FFF2-40B4-BE49-F238E27FC236}">
                    <a16:creationId xmlns:a16="http://schemas.microsoft.com/office/drawing/2014/main" id="{00934AA7-9AFA-4A8F-9599-7EE7E7BEE4B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909595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5983D2C9-AEC3-4B77-9D9C-4964ED348EB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928439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16" name="Rectangle 215">
                <a:extLst>
                  <a:ext uri="{FF2B5EF4-FFF2-40B4-BE49-F238E27FC236}">
                    <a16:creationId xmlns:a16="http://schemas.microsoft.com/office/drawing/2014/main" id="{E75C1618-629C-4678-B021-1C0BDC6AF20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643261" y="4245857"/>
                <a:ext cx="573425" cy="255753"/>
              </a:xfrm>
              <a:prstGeom prst="rect">
                <a:avLst/>
              </a:pr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17" name="Freeform 53">
                <a:extLst>
                  <a:ext uri="{FF2B5EF4-FFF2-40B4-BE49-F238E27FC236}">
                    <a16:creationId xmlns:a16="http://schemas.microsoft.com/office/drawing/2014/main" id="{ECCD201F-F199-443B-A7D7-200EBAD7F18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772739" y="5917670"/>
                <a:ext cx="1243765" cy="621882"/>
              </a:xfrm>
              <a:custGeom>
                <a:avLst/>
                <a:gdLst>
                  <a:gd name="T0" fmla="*/ 763 w 788"/>
                  <a:gd name="T1" fmla="*/ 392 h 392"/>
                  <a:gd name="T2" fmla="*/ 788 w 788"/>
                  <a:gd name="T3" fmla="*/ 304 h 392"/>
                  <a:gd name="T4" fmla="*/ 625 w 788"/>
                  <a:gd name="T5" fmla="*/ 142 h 392"/>
                  <a:gd name="T6" fmla="*/ 580 w 788"/>
                  <a:gd name="T7" fmla="*/ 149 h 392"/>
                  <a:gd name="T8" fmla="*/ 358 w 788"/>
                  <a:gd name="T9" fmla="*/ 0 h 392"/>
                  <a:gd name="T10" fmla="*/ 120 w 788"/>
                  <a:gd name="T11" fmla="*/ 224 h 392"/>
                  <a:gd name="T12" fmla="*/ 0 w 788"/>
                  <a:gd name="T13" fmla="*/ 347 h 392"/>
                  <a:gd name="T14" fmla="*/ 8 w 788"/>
                  <a:gd name="T15" fmla="*/ 392 h 392"/>
                  <a:gd name="T16" fmla="*/ 763 w 788"/>
                  <a:gd name="T17" fmla="*/ 392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88" h="392">
                    <a:moveTo>
                      <a:pt x="763" y="392"/>
                    </a:moveTo>
                    <a:cubicBezTo>
                      <a:pt x="779" y="366"/>
                      <a:pt x="788" y="337"/>
                      <a:pt x="788" y="304"/>
                    </a:cubicBezTo>
                    <a:cubicBezTo>
                      <a:pt x="788" y="214"/>
                      <a:pt x="715" y="142"/>
                      <a:pt x="625" y="142"/>
                    </a:cubicBezTo>
                    <a:cubicBezTo>
                      <a:pt x="609" y="142"/>
                      <a:pt x="594" y="144"/>
                      <a:pt x="580" y="149"/>
                    </a:cubicBezTo>
                    <a:cubicBezTo>
                      <a:pt x="544" y="61"/>
                      <a:pt x="458" y="0"/>
                      <a:pt x="358" y="0"/>
                    </a:cubicBezTo>
                    <a:cubicBezTo>
                      <a:pt x="231" y="0"/>
                      <a:pt x="127" y="99"/>
                      <a:pt x="120" y="224"/>
                    </a:cubicBezTo>
                    <a:cubicBezTo>
                      <a:pt x="53" y="226"/>
                      <a:pt x="0" y="280"/>
                      <a:pt x="0" y="347"/>
                    </a:cubicBezTo>
                    <a:cubicBezTo>
                      <a:pt x="0" y="363"/>
                      <a:pt x="2" y="378"/>
                      <a:pt x="8" y="392"/>
                    </a:cubicBezTo>
                    <a:lnTo>
                      <a:pt x="763" y="392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18" name="Freeform 55">
                <a:extLst>
                  <a:ext uri="{FF2B5EF4-FFF2-40B4-BE49-F238E27FC236}">
                    <a16:creationId xmlns:a16="http://schemas.microsoft.com/office/drawing/2014/main" id="{99ED4EDB-7B4F-493C-9110-DD0E70BFDCBE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1198092" y="5990359"/>
                <a:ext cx="1449301" cy="697263"/>
              </a:xfrm>
              <a:custGeom>
                <a:avLst/>
                <a:gdLst>
                  <a:gd name="T0" fmla="*/ 790 w 790"/>
                  <a:gd name="T1" fmla="*/ 206 h 414"/>
                  <a:gd name="T2" fmla="*/ 661 w 790"/>
                  <a:gd name="T3" fmla="*/ 149 h 414"/>
                  <a:gd name="T4" fmla="*/ 613 w 790"/>
                  <a:gd name="T5" fmla="*/ 156 h 414"/>
                  <a:gd name="T6" fmla="*/ 379 w 790"/>
                  <a:gd name="T7" fmla="*/ 0 h 414"/>
                  <a:gd name="T8" fmla="*/ 127 w 790"/>
                  <a:gd name="T9" fmla="*/ 236 h 414"/>
                  <a:gd name="T10" fmla="*/ 0 w 790"/>
                  <a:gd name="T11" fmla="*/ 366 h 414"/>
                  <a:gd name="T12" fmla="*/ 9 w 790"/>
                  <a:gd name="T13" fmla="*/ 414 h 414"/>
                  <a:gd name="T14" fmla="*/ 790 w 790"/>
                  <a:gd name="T15" fmla="*/ 414 h 414"/>
                  <a:gd name="T16" fmla="*/ 790 w 790"/>
                  <a:gd name="T17" fmla="*/ 206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0" h="414">
                    <a:moveTo>
                      <a:pt x="790" y="206"/>
                    </a:moveTo>
                    <a:cubicBezTo>
                      <a:pt x="758" y="172"/>
                      <a:pt x="713" y="149"/>
                      <a:pt x="661" y="149"/>
                    </a:cubicBezTo>
                    <a:cubicBezTo>
                      <a:pt x="644" y="149"/>
                      <a:pt x="628" y="152"/>
                      <a:pt x="613" y="156"/>
                    </a:cubicBezTo>
                    <a:cubicBezTo>
                      <a:pt x="576" y="64"/>
                      <a:pt x="484" y="0"/>
                      <a:pt x="379" y="0"/>
                    </a:cubicBezTo>
                    <a:cubicBezTo>
                      <a:pt x="245" y="0"/>
                      <a:pt x="135" y="104"/>
                      <a:pt x="127" y="236"/>
                    </a:cubicBezTo>
                    <a:cubicBezTo>
                      <a:pt x="56" y="238"/>
                      <a:pt x="0" y="295"/>
                      <a:pt x="0" y="366"/>
                    </a:cubicBezTo>
                    <a:cubicBezTo>
                      <a:pt x="0" y="383"/>
                      <a:pt x="3" y="399"/>
                      <a:pt x="9" y="414"/>
                    </a:cubicBezTo>
                    <a:cubicBezTo>
                      <a:pt x="790" y="414"/>
                      <a:pt x="790" y="414"/>
                      <a:pt x="790" y="414"/>
                    </a:cubicBezTo>
                    <a:lnTo>
                      <a:pt x="790" y="206"/>
                    </a:lnTo>
                    <a:close/>
                  </a:path>
                </a:pathLst>
              </a:custGeom>
              <a:ln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19" name="Freeform 59">
                <a:extLst>
                  <a:ext uri="{FF2B5EF4-FFF2-40B4-BE49-F238E27FC236}">
                    <a16:creationId xmlns:a16="http://schemas.microsoft.com/office/drawing/2014/main" id="{5DCA8E3F-F279-4C4A-8AEB-F375720E4FD6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1682678" y="5328094"/>
                <a:ext cx="309596" cy="441510"/>
              </a:xfrm>
              <a:custGeom>
                <a:avLst/>
                <a:gdLst>
                  <a:gd name="T0" fmla="*/ 198 w 198"/>
                  <a:gd name="T1" fmla="*/ 202 h 283"/>
                  <a:gd name="T2" fmla="*/ 198 w 198"/>
                  <a:gd name="T3" fmla="*/ 0 h 283"/>
                  <a:gd name="T4" fmla="*/ 177 w 198"/>
                  <a:gd name="T5" fmla="*/ 6 h 283"/>
                  <a:gd name="T6" fmla="*/ 177 w 198"/>
                  <a:gd name="T7" fmla="*/ 230 h 283"/>
                  <a:gd name="T8" fmla="*/ 0 w 198"/>
                  <a:gd name="T9" fmla="*/ 230 h 283"/>
                  <a:gd name="T10" fmla="*/ 26 w 198"/>
                  <a:gd name="T11" fmla="*/ 246 h 283"/>
                  <a:gd name="T12" fmla="*/ 26 w 198"/>
                  <a:gd name="T13" fmla="*/ 283 h 283"/>
                  <a:gd name="T14" fmla="*/ 171 w 198"/>
                  <a:gd name="T15" fmla="*/ 283 h 283"/>
                  <a:gd name="T16" fmla="*/ 171 w 198"/>
                  <a:gd name="T17" fmla="*/ 246 h 283"/>
                  <a:gd name="T18" fmla="*/ 198 w 198"/>
                  <a:gd name="T19" fmla="*/ 202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8" h="283">
                    <a:moveTo>
                      <a:pt x="198" y="202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0" y="0"/>
                      <a:pt x="183" y="3"/>
                      <a:pt x="177" y="6"/>
                    </a:cubicBezTo>
                    <a:cubicBezTo>
                      <a:pt x="177" y="230"/>
                      <a:pt x="177" y="230"/>
                      <a:pt x="177" y="230"/>
                    </a:cubicBezTo>
                    <a:cubicBezTo>
                      <a:pt x="0" y="230"/>
                      <a:pt x="0" y="230"/>
                      <a:pt x="0" y="230"/>
                    </a:cubicBezTo>
                    <a:cubicBezTo>
                      <a:pt x="6" y="239"/>
                      <a:pt x="15" y="244"/>
                      <a:pt x="26" y="246"/>
                    </a:cubicBezTo>
                    <a:cubicBezTo>
                      <a:pt x="26" y="283"/>
                      <a:pt x="26" y="283"/>
                      <a:pt x="26" y="283"/>
                    </a:cubicBezTo>
                    <a:cubicBezTo>
                      <a:pt x="171" y="283"/>
                      <a:pt x="171" y="283"/>
                      <a:pt x="171" y="283"/>
                    </a:cubicBezTo>
                    <a:cubicBezTo>
                      <a:pt x="171" y="246"/>
                      <a:pt x="171" y="246"/>
                      <a:pt x="171" y="246"/>
                    </a:cubicBezTo>
                    <a:lnTo>
                      <a:pt x="198" y="202"/>
                    </a:lnTo>
                    <a:close/>
                  </a:path>
                </a:pathLst>
              </a:custGeom>
              <a:solidFill>
                <a:srgbClr val="613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20" name="Freeform 60">
                <a:extLst>
                  <a:ext uri="{FF2B5EF4-FFF2-40B4-BE49-F238E27FC236}">
                    <a16:creationId xmlns:a16="http://schemas.microsoft.com/office/drawing/2014/main" id="{07F6B0B1-F79F-42EA-A36B-2779B9BF3F9D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1704215" y="5815369"/>
                <a:ext cx="263829" cy="419973"/>
              </a:xfrm>
              <a:custGeom>
                <a:avLst/>
                <a:gdLst>
                  <a:gd name="T0" fmla="*/ 167 w 167"/>
                  <a:gd name="T1" fmla="*/ 270 h 270"/>
                  <a:gd name="T2" fmla="*/ 167 w 167"/>
                  <a:gd name="T3" fmla="*/ 0 h 270"/>
                  <a:gd name="T4" fmla="*/ 0 w 167"/>
                  <a:gd name="T5" fmla="*/ 0 h 270"/>
                  <a:gd name="T6" fmla="*/ 0 w 167"/>
                  <a:gd name="T7" fmla="*/ 203 h 270"/>
                  <a:gd name="T8" fmla="*/ 18 w 167"/>
                  <a:gd name="T9" fmla="*/ 202 h 270"/>
                  <a:gd name="T10" fmla="*/ 167 w 167"/>
                  <a:gd name="T11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7" h="270">
                    <a:moveTo>
                      <a:pt x="167" y="27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03"/>
                      <a:pt x="0" y="203"/>
                      <a:pt x="0" y="203"/>
                    </a:cubicBezTo>
                    <a:cubicBezTo>
                      <a:pt x="6" y="203"/>
                      <a:pt x="12" y="202"/>
                      <a:pt x="18" y="202"/>
                    </a:cubicBezTo>
                    <a:cubicBezTo>
                      <a:pt x="77" y="202"/>
                      <a:pt x="131" y="229"/>
                      <a:pt x="167" y="270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21" name="Rectangle 220">
                <a:extLst>
                  <a:ext uri="{FF2B5EF4-FFF2-40B4-BE49-F238E27FC236}">
                    <a16:creationId xmlns:a16="http://schemas.microsoft.com/office/drawing/2014/main" id="{6787C03D-400C-41A0-B7D6-72F9CB892AC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1712292" y="5769604"/>
                <a:ext cx="247676" cy="4576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22" name="Freeform 62">
                <a:extLst>
                  <a:ext uri="{FF2B5EF4-FFF2-40B4-BE49-F238E27FC236}">
                    <a16:creationId xmlns:a16="http://schemas.microsoft.com/office/drawing/2014/main" id="{5ACCDD62-87D1-4818-931E-57EB35E5E300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698577" y="6491095"/>
                <a:ext cx="1017626" cy="503430"/>
              </a:xfrm>
              <a:custGeom>
                <a:avLst/>
                <a:gdLst>
                  <a:gd name="T0" fmla="*/ 628 w 650"/>
                  <a:gd name="T1" fmla="*/ 323 h 323"/>
                  <a:gd name="T2" fmla="*/ 650 w 650"/>
                  <a:gd name="T3" fmla="*/ 251 h 323"/>
                  <a:gd name="T4" fmla="*/ 515 w 650"/>
                  <a:gd name="T5" fmla="*/ 117 h 323"/>
                  <a:gd name="T6" fmla="*/ 477 w 650"/>
                  <a:gd name="T7" fmla="*/ 122 h 323"/>
                  <a:gd name="T8" fmla="*/ 295 w 650"/>
                  <a:gd name="T9" fmla="*/ 0 h 323"/>
                  <a:gd name="T10" fmla="*/ 99 w 650"/>
                  <a:gd name="T11" fmla="*/ 184 h 323"/>
                  <a:gd name="T12" fmla="*/ 0 w 650"/>
                  <a:gd name="T13" fmla="*/ 285 h 323"/>
                  <a:gd name="T14" fmla="*/ 7 w 650"/>
                  <a:gd name="T15" fmla="*/ 323 h 323"/>
                  <a:gd name="T16" fmla="*/ 628 w 650"/>
                  <a:gd name="T17" fmla="*/ 323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0" h="323">
                    <a:moveTo>
                      <a:pt x="628" y="323"/>
                    </a:moveTo>
                    <a:cubicBezTo>
                      <a:pt x="642" y="302"/>
                      <a:pt x="650" y="277"/>
                      <a:pt x="650" y="251"/>
                    </a:cubicBezTo>
                    <a:cubicBezTo>
                      <a:pt x="650" y="176"/>
                      <a:pt x="589" y="117"/>
                      <a:pt x="515" y="117"/>
                    </a:cubicBezTo>
                    <a:cubicBezTo>
                      <a:pt x="502" y="117"/>
                      <a:pt x="489" y="119"/>
                      <a:pt x="477" y="122"/>
                    </a:cubicBezTo>
                    <a:cubicBezTo>
                      <a:pt x="448" y="50"/>
                      <a:pt x="377" y="0"/>
                      <a:pt x="295" y="0"/>
                    </a:cubicBezTo>
                    <a:cubicBezTo>
                      <a:pt x="191" y="0"/>
                      <a:pt x="105" y="81"/>
                      <a:pt x="99" y="184"/>
                    </a:cubicBezTo>
                    <a:cubicBezTo>
                      <a:pt x="44" y="185"/>
                      <a:pt x="0" y="230"/>
                      <a:pt x="0" y="285"/>
                    </a:cubicBezTo>
                    <a:cubicBezTo>
                      <a:pt x="0" y="298"/>
                      <a:pt x="1" y="311"/>
                      <a:pt x="7" y="323"/>
                    </a:cubicBezTo>
                    <a:lnTo>
                      <a:pt x="628" y="323"/>
                    </a:lnTo>
                    <a:close/>
                  </a:path>
                </a:pathLst>
              </a:custGeom>
              <a:ln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23" name="Rectangle 222">
                <a:extLst>
                  <a:ext uri="{FF2B5EF4-FFF2-40B4-BE49-F238E27FC236}">
                    <a16:creationId xmlns:a16="http://schemas.microsoft.com/office/drawing/2014/main" id="{7063E912-BDFD-4128-BFAD-ED8B207E949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0840041" y="5481545"/>
                <a:ext cx="43074" cy="91532"/>
              </a:xfrm>
              <a:prstGeom prst="rect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24" name="Freeform 64">
                <a:extLst>
                  <a:ext uri="{FF2B5EF4-FFF2-40B4-BE49-F238E27FC236}">
                    <a16:creationId xmlns:a16="http://schemas.microsoft.com/office/drawing/2014/main" id="{AB931F5B-55D6-46DF-83E6-D0411A084AE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852992" y="5328094"/>
                <a:ext cx="729569" cy="231523"/>
              </a:xfrm>
              <a:custGeom>
                <a:avLst/>
                <a:gdLst>
                  <a:gd name="T0" fmla="*/ 271 w 271"/>
                  <a:gd name="T1" fmla="*/ 0 h 86"/>
                  <a:gd name="T2" fmla="*/ 0 w 271"/>
                  <a:gd name="T3" fmla="*/ 0 h 86"/>
                  <a:gd name="T4" fmla="*/ 17 w 271"/>
                  <a:gd name="T5" fmla="*/ 11 h 86"/>
                  <a:gd name="T6" fmla="*/ 132 w 271"/>
                  <a:gd name="T7" fmla="*/ 48 h 86"/>
                  <a:gd name="T8" fmla="*/ 133 w 271"/>
                  <a:gd name="T9" fmla="*/ 86 h 86"/>
                  <a:gd name="T10" fmla="*/ 240 w 271"/>
                  <a:gd name="T11" fmla="*/ 86 h 86"/>
                  <a:gd name="T12" fmla="*/ 240 w 271"/>
                  <a:gd name="T13" fmla="*/ 21 h 86"/>
                  <a:gd name="T14" fmla="*/ 271 w 271"/>
                  <a:gd name="T15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1" h="86">
                    <a:moveTo>
                      <a:pt x="271" y="0"/>
                    </a:moveTo>
                    <a:lnTo>
                      <a:pt x="0" y="0"/>
                    </a:lnTo>
                    <a:lnTo>
                      <a:pt x="17" y="11"/>
                    </a:lnTo>
                    <a:lnTo>
                      <a:pt x="132" y="48"/>
                    </a:lnTo>
                    <a:lnTo>
                      <a:pt x="133" y="86"/>
                    </a:lnTo>
                    <a:lnTo>
                      <a:pt x="240" y="86"/>
                    </a:lnTo>
                    <a:lnTo>
                      <a:pt x="240" y="21"/>
                    </a:lnTo>
                    <a:lnTo>
                      <a:pt x="271" y="0"/>
                    </a:lnTo>
                    <a:close/>
                  </a:path>
                </a:pathLst>
              </a:custGeom>
              <a:solidFill>
                <a:srgbClr val="BB91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25" name="Freeform 65">
                <a:extLst>
                  <a:ext uri="{FF2B5EF4-FFF2-40B4-BE49-F238E27FC236}">
                    <a16:creationId xmlns:a16="http://schemas.microsoft.com/office/drawing/2014/main" id="{F4B08B96-CDA2-4528-8F40-6E9C089E20B7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7192201" y="5621536"/>
                <a:ext cx="328440" cy="508814"/>
              </a:xfrm>
              <a:custGeom>
                <a:avLst/>
                <a:gdLst>
                  <a:gd name="T0" fmla="*/ 209 w 209"/>
                  <a:gd name="T1" fmla="*/ 327 h 327"/>
                  <a:gd name="T2" fmla="*/ 209 w 209"/>
                  <a:gd name="T3" fmla="*/ 0 h 327"/>
                  <a:gd name="T4" fmla="*/ 0 w 209"/>
                  <a:gd name="T5" fmla="*/ 0 h 327"/>
                  <a:gd name="T6" fmla="*/ 0 w 209"/>
                  <a:gd name="T7" fmla="*/ 242 h 327"/>
                  <a:gd name="T8" fmla="*/ 209 w 209"/>
                  <a:gd name="T9" fmla="*/ 327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9" h="327">
                    <a:moveTo>
                      <a:pt x="209" y="327"/>
                    </a:moveTo>
                    <a:cubicBezTo>
                      <a:pt x="209" y="0"/>
                      <a:pt x="209" y="0"/>
                      <a:pt x="20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81" y="245"/>
                      <a:pt x="153" y="277"/>
                      <a:pt x="209" y="327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26" name="Rectangle 225">
                <a:extLst>
                  <a:ext uri="{FF2B5EF4-FFF2-40B4-BE49-F238E27FC236}">
                    <a16:creationId xmlns:a16="http://schemas.microsoft.com/office/drawing/2014/main" id="{607FCEC3-32EF-4BE6-AF58-22B3AB42104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7202970" y="5559618"/>
                <a:ext cx="306903" cy="6192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27" name="Rectangle 226">
                <a:extLst>
                  <a:ext uri="{FF2B5EF4-FFF2-40B4-BE49-F238E27FC236}">
                    <a16:creationId xmlns:a16="http://schemas.microsoft.com/office/drawing/2014/main" id="{3946A66F-84B9-4824-909F-8D3FE781ED7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7943307" y="5048112"/>
                <a:ext cx="43074" cy="91532"/>
              </a:xfrm>
              <a:prstGeom prst="rect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28" name="Freeform 68">
                <a:extLst>
                  <a:ext uri="{FF2B5EF4-FFF2-40B4-BE49-F238E27FC236}">
                    <a16:creationId xmlns:a16="http://schemas.microsoft.com/office/drawing/2014/main" id="{DB8D30D0-9FFD-4163-A947-3717DC9CA45D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7940614" y="5088494"/>
                <a:ext cx="1289532" cy="454971"/>
              </a:xfrm>
              <a:custGeom>
                <a:avLst/>
                <a:gdLst>
                  <a:gd name="T0" fmla="*/ 479 w 479"/>
                  <a:gd name="T1" fmla="*/ 169 h 169"/>
                  <a:gd name="T2" fmla="*/ 163 w 479"/>
                  <a:gd name="T3" fmla="*/ 169 h 169"/>
                  <a:gd name="T4" fmla="*/ 163 w 479"/>
                  <a:gd name="T5" fmla="*/ 5 h 169"/>
                  <a:gd name="T6" fmla="*/ 0 w 479"/>
                  <a:gd name="T7" fmla="*/ 5 h 169"/>
                  <a:gd name="T8" fmla="*/ 0 w 479"/>
                  <a:gd name="T9" fmla="*/ 0 h 169"/>
                  <a:gd name="T10" fmla="*/ 169 w 479"/>
                  <a:gd name="T11" fmla="*/ 0 h 169"/>
                  <a:gd name="T12" fmla="*/ 169 w 479"/>
                  <a:gd name="T13" fmla="*/ 165 h 169"/>
                  <a:gd name="T14" fmla="*/ 479 w 479"/>
                  <a:gd name="T15" fmla="*/ 165 h 169"/>
                  <a:gd name="T16" fmla="*/ 479 w 479"/>
                  <a:gd name="T17" fmla="*/ 169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9" h="169">
                    <a:moveTo>
                      <a:pt x="479" y="169"/>
                    </a:moveTo>
                    <a:lnTo>
                      <a:pt x="163" y="169"/>
                    </a:lnTo>
                    <a:lnTo>
                      <a:pt x="163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169" y="0"/>
                    </a:lnTo>
                    <a:lnTo>
                      <a:pt x="169" y="165"/>
                    </a:lnTo>
                    <a:lnTo>
                      <a:pt x="479" y="165"/>
                    </a:lnTo>
                    <a:lnTo>
                      <a:pt x="479" y="169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29" name="Freeform 69">
                <a:extLst>
                  <a:ext uri="{FF2B5EF4-FFF2-40B4-BE49-F238E27FC236}">
                    <a16:creationId xmlns:a16="http://schemas.microsoft.com/office/drawing/2014/main" id="{6D2E9102-75E6-46A6-B593-59E00BE640BB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215467" y="6227266"/>
                <a:ext cx="134607" cy="188449"/>
              </a:xfrm>
              <a:custGeom>
                <a:avLst/>
                <a:gdLst>
                  <a:gd name="T0" fmla="*/ 85 w 85"/>
                  <a:gd name="T1" fmla="*/ 86 h 121"/>
                  <a:gd name="T2" fmla="*/ 85 w 85"/>
                  <a:gd name="T3" fmla="*/ 0 h 121"/>
                  <a:gd name="T4" fmla="*/ 77 w 85"/>
                  <a:gd name="T5" fmla="*/ 2 h 121"/>
                  <a:gd name="T6" fmla="*/ 77 w 85"/>
                  <a:gd name="T7" fmla="*/ 98 h 121"/>
                  <a:gd name="T8" fmla="*/ 0 w 85"/>
                  <a:gd name="T9" fmla="*/ 98 h 121"/>
                  <a:gd name="T10" fmla="*/ 11 w 85"/>
                  <a:gd name="T11" fmla="*/ 105 h 121"/>
                  <a:gd name="T12" fmla="*/ 11 w 85"/>
                  <a:gd name="T13" fmla="*/ 121 h 121"/>
                  <a:gd name="T14" fmla="*/ 73 w 85"/>
                  <a:gd name="T15" fmla="*/ 121 h 121"/>
                  <a:gd name="T16" fmla="*/ 73 w 85"/>
                  <a:gd name="T17" fmla="*/ 105 h 121"/>
                  <a:gd name="T18" fmla="*/ 85 w 85"/>
                  <a:gd name="T19" fmla="*/ 86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5" h="121">
                    <a:moveTo>
                      <a:pt x="85" y="86"/>
                    </a:moveTo>
                    <a:cubicBezTo>
                      <a:pt x="85" y="0"/>
                      <a:pt x="85" y="0"/>
                      <a:pt x="85" y="0"/>
                    </a:cubicBezTo>
                    <a:cubicBezTo>
                      <a:pt x="82" y="0"/>
                      <a:pt x="79" y="1"/>
                      <a:pt x="77" y="2"/>
                    </a:cubicBezTo>
                    <a:cubicBezTo>
                      <a:pt x="77" y="98"/>
                      <a:pt x="77" y="98"/>
                      <a:pt x="77" y="98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3" y="102"/>
                      <a:pt x="7" y="104"/>
                      <a:pt x="11" y="105"/>
                    </a:cubicBezTo>
                    <a:cubicBezTo>
                      <a:pt x="11" y="121"/>
                      <a:pt x="11" y="121"/>
                      <a:pt x="11" y="121"/>
                    </a:cubicBezTo>
                    <a:cubicBezTo>
                      <a:pt x="73" y="121"/>
                      <a:pt x="73" y="121"/>
                      <a:pt x="73" y="121"/>
                    </a:cubicBezTo>
                    <a:cubicBezTo>
                      <a:pt x="73" y="105"/>
                      <a:pt x="73" y="105"/>
                      <a:pt x="73" y="105"/>
                    </a:cubicBezTo>
                    <a:lnTo>
                      <a:pt x="85" y="86"/>
                    </a:lnTo>
                    <a:close/>
                  </a:path>
                </a:pathLst>
              </a:custGeom>
              <a:solidFill>
                <a:srgbClr val="CE9C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30" name="Freeform 70">
                <a:extLst>
                  <a:ext uri="{FF2B5EF4-FFF2-40B4-BE49-F238E27FC236}">
                    <a16:creationId xmlns:a16="http://schemas.microsoft.com/office/drawing/2014/main" id="{5C50B6D6-D92D-4FB5-8C6D-FB17C7C25C4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228926" y="6437253"/>
                <a:ext cx="110378" cy="250369"/>
              </a:xfrm>
              <a:custGeom>
                <a:avLst/>
                <a:gdLst>
                  <a:gd name="T0" fmla="*/ 72 w 72"/>
                  <a:gd name="T1" fmla="*/ 160 h 160"/>
                  <a:gd name="T2" fmla="*/ 72 w 72"/>
                  <a:gd name="T3" fmla="*/ 0 h 160"/>
                  <a:gd name="T4" fmla="*/ 0 w 72"/>
                  <a:gd name="T5" fmla="*/ 0 h 160"/>
                  <a:gd name="T6" fmla="*/ 0 w 72"/>
                  <a:gd name="T7" fmla="*/ 119 h 160"/>
                  <a:gd name="T8" fmla="*/ 72 w 72"/>
                  <a:gd name="T9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60">
                    <a:moveTo>
                      <a:pt x="72" y="160"/>
                    </a:moveTo>
                    <a:cubicBezTo>
                      <a:pt x="72" y="0"/>
                      <a:pt x="72" y="0"/>
                      <a:pt x="7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27" y="126"/>
                      <a:pt x="52" y="140"/>
                      <a:pt x="72" y="160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1B351706-DB5C-4497-B457-A3950EA4887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0231619" y="6415716"/>
                <a:ext cx="104994" cy="2153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32" name="Freeform 72">
                <a:extLst>
                  <a:ext uri="{FF2B5EF4-FFF2-40B4-BE49-F238E27FC236}">
                    <a16:creationId xmlns:a16="http://schemas.microsoft.com/office/drawing/2014/main" id="{A2E6EFE7-48C5-43C5-AD3B-BEF071E06897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916639" y="5287711"/>
                <a:ext cx="923402" cy="247676"/>
              </a:xfrm>
              <a:custGeom>
                <a:avLst/>
                <a:gdLst>
                  <a:gd name="T0" fmla="*/ 343 w 343"/>
                  <a:gd name="T1" fmla="*/ 92 h 92"/>
                  <a:gd name="T2" fmla="*/ 196 w 343"/>
                  <a:gd name="T3" fmla="*/ 92 h 92"/>
                  <a:gd name="T4" fmla="*/ 196 w 343"/>
                  <a:gd name="T5" fmla="*/ 5 h 92"/>
                  <a:gd name="T6" fmla="*/ 0 w 343"/>
                  <a:gd name="T7" fmla="*/ 5 h 92"/>
                  <a:gd name="T8" fmla="*/ 0 w 343"/>
                  <a:gd name="T9" fmla="*/ 0 h 92"/>
                  <a:gd name="T10" fmla="*/ 201 w 343"/>
                  <a:gd name="T11" fmla="*/ 0 h 92"/>
                  <a:gd name="T12" fmla="*/ 201 w 343"/>
                  <a:gd name="T13" fmla="*/ 87 h 92"/>
                  <a:gd name="T14" fmla="*/ 343 w 343"/>
                  <a:gd name="T15" fmla="*/ 87 h 92"/>
                  <a:gd name="T16" fmla="*/ 343 w 343"/>
                  <a:gd name="T17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3" h="92">
                    <a:moveTo>
                      <a:pt x="343" y="92"/>
                    </a:moveTo>
                    <a:lnTo>
                      <a:pt x="196" y="92"/>
                    </a:lnTo>
                    <a:lnTo>
                      <a:pt x="196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201" y="0"/>
                    </a:lnTo>
                    <a:lnTo>
                      <a:pt x="201" y="87"/>
                    </a:lnTo>
                    <a:lnTo>
                      <a:pt x="343" y="87"/>
                    </a:lnTo>
                    <a:lnTo>
                      <a:pt x="343" y="92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33" name="Freeform 73">
                <a:extLst>
                  <a:ext uri="{FF2B5EF4-FFF2-40B4-BE49-F238E27FC236}">
                    <a16:creationId xmlns:a16="http://schemas.microsoft.com/office/drawing/2014/main" id="{7E4016BF-3E4F-4B72-A4B2-3C11F55487BF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623198" y="5565002"/>
                <a:ext cx="282675" cy="743029"/>
              </a:xfrm>
              <a:custGeom>
                <a:avLst/>
                <a:gdLst>
                  <a:gd name="T0" fmla="*/ 93 w 105"/>
                  <a:gd name="T1" fmla="*/ 276 h 276"/>
                  <a:gd name="T2" fmla="*/ 0 w 105"/>
                  <a:gd name="T3" fmla="*/ 276 h 276"/>
                  <a:gd name="T4" fmla="*/ 0 w 105"/>
                  <a:gd name="T5" fmla="*/ 0 h 276"/>
                  <a:gd name="T6" fmla="*/ 105 w 105"/>
                  <a:gd name="T7" fmla="*/ 0 h 276"/>
                  <a:gd name="T8" fmla="*/ 105 w 105"/>
                  <a:gd name="T9" fmla="*/ 6 h 276"/>
                  <a:gd name="T10" fmla="*/ 6 w 105"/>
                  <a:gd name="T11" fmla="*/ 6 h 276"/>
                  <a:gd name="T12" fmla="*/ 6 w 105"/>
                  <a:gd name="T13" fmla="*/ 271 h 276"/>
                  <a:gd name="T14" fmla="*/ 93 w 105"/>
                  <a:gd name="T15" fmla="*/ 271 h 276"/>
                  <a:gd name="T16" fmla="*/ 93 w 105"/>
                  <a:gd name="T17" fmla="*/ 276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5" h="276">
                    <a:moveTo>
                      <a:pt x="93" y="276"/>
                    </a:moveTo>
                    <a:lnTo>
                      <a:pt x="0" y="276"/>
                    </a:lnTo>
                    <a:lnTo>
                      <a:pt x="0" y="0"/>
                    </a:lnTo>
                    <a:lnTo>
                      <a:pt x="105" y="0"/>
                    </a:lnTo>
                    <a:lnTo>
                      <a:pt x="105" y="6"/>
                    </a:lnTo>
                    <a:lnTo>
                      <a:pt x="6" y="6"/>
                    </a:lnTo>
                    <a:lnTo>
                      <a:pt x="6" y="271"/>
                    </a:lnTo>
                    <a:lnTo>
                      <a:pt x="93" y="271"/>
                    </a:lnTo>
                    <a:lnTo>
                      <a:pt x="93" y="276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19A9635F-AA77-466F-A3F5-70ED184F206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46644" y="6273032"/>
                <a:ext cx="26921" cy="56536"/>
              </a:xfrm>
              <a:prstGeom prst="rect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35" name="Freeform 75">
                <a:extLst>
                  <a:ext uri="{FF2B5EF4-FFF2-40B4-BE49-F238E27FC236}">
                    <a16:creationId xmlns:a16="http://schemas.microsoft.com/office/drawing/2014/main" id="{D2F0FCAF-D9AA-4598-B6B8-B3D8CED12466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883115" y="4951196"/>
                <a:ext cx="1076853" cy="734953"/>
              </a:xfrm>
              <a:custGeom>
                <a:avLst/>
                <a:gdLst>
                  <a:gd name="T0" fmla="*/ 400 w 400"/>
                  <a:gd name="T1" fmla="*/ 273 h 273"/>
                  <a:gd name="T2" fmla="*/ 400 w 400"/>
                  <a:gd name="T3" fmla="*/ 0 h 273"/>
                  <a:gd name="T4" fmla="*/ 201 w 400"/>
                  <a:gd name="T5" fmla="*/ 0 h 273"/>
                  <a:gd name="T6" fmla="*/ 0 w 400"/>
                  <a:gd name="T7" fmla="*/ 0 h 273"/>
                  <a:gd name="T8" fmla="*/ 0 w 400"/>
                  <a:gd name="T9" fmla="*/ 273 h 273"/>
                  <a:gd name="T10" fmla="*/ 201 w 400"/>
                  <a:gd name="T11" fmla="*/ 273 h 273"/>
                  <a:gd name="T12" fmla="*/ 400 w 400"/>
                  <a:gd name="T13" fmla="*/ 273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0" h="273">
                    <a:moveTo>
                      <a:pt x="400" y="273"/>
                    </a:moveTo>
                    <a:lnTo>
                      <a:pt x="400" y="0"/>
                    </a:lnTo>
                    <a:lnTo>
                      <a:pt x="201" y="0"/>
                    </a:lnTo>
                    <a:lnTo>
                      <a:pt x="0" y="0"/>
                    </a:lnTo>
                    <a:lnTo>
                      <a:pt x="0" y="273"/>
                    </a:lnTo>
                    <a:lnTo>
                      <a:pt x="201" y="273"/>
                    </a:lnTo>
                    <a:lnTo>
                      <a:pt x="400" y="273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183C8235-2FD9-47BB-9D91-A293067540B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0939649" y="4991577"/>
                <a:ext cx="966476" cy="573425"/>
              </a:xfrm>
              <a:prstGeom prst="rect">
                <a:avLst/>
              </a:prstGeom>
              <a:solidFill>
                <a:srgbClr val="D048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237" name="Freeform 80">
                <a:extLst>
                  <a:ext uri="{FF2B5EF4-FFF2-40B4-BE49-F238E27FC236}">
                    <a16:creationId xmlns:a16="http://schemas.microsoft.com/office/drawing/2014/main" id="{985B5663-2DB1-46D8-BAC4-2524871106F0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873565" y="6065739"/>
                <a:ext cx="463047" cy="314980"/>
              </a:xfrm>
              <a:custGeom>
                <a:avLst/>
                <a:gdLst>
                  <a:gd name="T0" fmla="*/ 172 w 172"/>
                  <a:gd name="T1" fmla="*/ 117 h 117"/>
                  <a:gd name="T2" fmla="*/ 172 w 172"/>
                  <a:gd name="T3" fmla="*/ 0 h 117"/>
                  <a:gd name="T4" fmla="*/ 86 w 172"/>
                  <a:gd name="T5" fmla="*/ 0 h 117"/>
                  <a:gd name="T6" fmla="*/ 0 w 172"/>
                  <a:gd name="T7" fmla="*/ 0 h 117"/>
                  <a:gd name="T8" fmla="*/ 0 w 172"/>
                  <a:gd name="T9" fmla="*/ 117 h 117"/>
                  <a:gd name="T10" fmla="*/ 86 w 172"/>
                  <a:gd name="T11" fmla="*/ 117 h 117"/>
                  <a:gd name="T12" fmla="*/ 172 w 172"/>
                  <a:gd name="T13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2" h="117">
                    <a:moveTo>
                      <a:pt x="172" y="117"/>
                    </a:moveTo>
                    <a:lnTo>
                      <a:pt x="172" y="0"/>
                    </a:lnTo>
                    <a:lnTo>
                      <a:pt x="86" y="0"/>
                    </a:lnTo>
                    <a:lnTo>
                      <a:pt x="0" y="0"/>
                    </a:lnTo>
                    <a:lnTo>
                      <a:pt x="0" y="117"/>
                    </a:lnTo>
                    <a:lnTo>
                      <a:pt x="86" y="117"/>
                    </a:lnTo>
                    <a:lnTo>
                      <a:pt x="172" y="117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6FD613C3-40D6-40E1-8F37-F1CDD12EBFD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97795" y="6079198"/>
                <a:ext cx="414588" cy="250369"/>
              </a:xfrm>
              <a:prstGeom prst="rect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39" name="Freeform 83">
                <a:extLst>
                  <a:ext uri="{FF2B5EF4-FFF2-40B4-BE49-F238E27FC236}">
                    <a16:creationId xmlns:a16="http://schemas.microsoft.com/office/drawing/2014/main" id="{C197F68C-359F-40FB-97EC-4B7675F4410E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624162" y="5271559"/>
                <a:ext cx="1523747" cy="56536"/>
              </a:xfrm>
              <a:custGeom>
                <a:avLst/>
                <a:gdLst>
                  <a:gd name="T0" fmla="*/ 0 w 973"/>
                  <a:gd name="T1" fmla="*/ 0 h 35"/>
                  <a:gd name="T2" fmla="*/ 75 w 973"/>
                  <a:gd name="T3" fmla="*/ 35 h 35"/>
                  <a:gd name="T4" fmla="*/ 897 w 973"/>
                  <a:gd name="T5" fmla="*/ 35 h 35"/>
                  <a:gd name="T6" fmla="*/ 973 w 973"/>
                  <a:gd name="T7" fmla="*/ 0 h 35"/>
                  <a:gd name="T8" fmla="*/ 0 w 973"/>
                  <a:gd name="T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3" h="35">
                    <a:moveTo>
                      <a:pt x="0" y="0"/>
                    </a:moveTo>
                    <a:cubicBezTo>
                      <a:pt x="0" y="3"/>
                      <a:pt x="2" y="35"/>
                      <a:pt x="75" y="35"/>
                    </a:cubicBezTo>
                    <a:cubicBezTo>
                      <a:pt x="897" y="35"/>
                      <a:pt x="897" y="35"/>
                      <a:pt x="897" y="35"/>
                    </a:cubicBezTo>
                    <a:cubicBezTo>
                      <a:pt x="897" y="35"/>
                      <a:pt x="973" y="35"/>
                      <a:pt x="97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40" name="Freeform 84">
                <a:extLst>
                  <a:ext uri="{FF2B5EF4-FFF2-40B4-BE49-F238E27FC236}">
                    <a16:creationId xmlns:a16="http://schemas.microsoft.com/office/drawing/2014/main" id="{DDD2FA0C-A12A-47E8-9CD6-341E72AA5A0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931065" y="4480072"/>
                <a:ext cx="1012242" cy="756489"/>
              </a:xfrm>
              <a:custGeom>
                <a:avLst/>
                <a:gdLst>
                  <a:gd name="T0" fmla="*/ 60 w 710"/>
                  <a:gd name="T1" fmla="*/ 0 h 515"/>
                  <a:gd name="T2" fmla="*/ 0 w 710"/>
                  <a:gd name="T3" fmla="*/ 60 h 515"/>
                  <a:gd name="T4" fmla="*/ 0 w 710"/>
                  <a:gd name="T5" fmla="*/ 515 h 515"/>
                  <a:gd name="T6" fmla="*/ 60 w 710"/>
                  <a:gd name="T7" fmla="*/ 513 h 515"/>
                  <a:gd name="T8" fmla="*/ 648 w 710"/>
                  <a:gd name="T9" fmla="*/ 513 h 515"/>
                  <a:gd name="T10" fmla="*/ 710 w 710"/>
                  <a:gd name="T11" fmla="*/ 515 h 515"/>
                  <a:gd name="T12" fmla="*/ 710 w 710"/>
                  <a:gd name="T13" fmla="*/ 60 h 515"/>
                  <a:gd name="T14" fmla="*/ 648 w 710"/>
                  <a:gd name="T15" fmla="*/ 0 h 515"/>
                  <a:gd name="T16" fmla="*/ 92 w 710"/>
                  <a:gd name="T17" fmla="*/ 0 h 515"/>
                  <a:gd name="T18" fmla="*/ 60 w 710"/>
                  <a:gd name="T19" fmla="*/ 0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10" h="515">
                    <a:moveTo>
                      <a:pt x="60" y="0"/>
                    </a:moveTo>
                    <a:cubicBezTo>
                      <a:pt x="60" y="0"/>
                      <a:pt x="0" y="0"/>
                      <a:pt x="0" y="60"/>
                    </a:cubicBezTo>
                    <a:cubicBezTo>
                      <a:pt x="0" y="515"/>
                      <a:pt x="0" y="515"/>
                      <a:pt x="0" y="515"/>
                    </a:cubicBezTo>
                    <a:cubicBezTo>
                      <a:pt x="60" y="513"/>
                      <a:pt x="60" y="513"/>
                      <a:pt x="60" y="513"/>
                    </a:cubicBezTo>
                    <a:cubicBezTo>
                      <a:pt x="648" y="513"/>
                      <a:pt x="648" y="513"/>
                      <a:pt x="648" y="513"/>
                    </a:cubicBezTo>
                    <a:cubicBezTo>
                      <a:pt x="710" y="515"/>
                      <a:pt x="710" y="515"/>
                      <a:pt x="710" y="515"/>
                    </a:cubicBezTo>
                    <a:cubicBezTo>
                      <a:pt x="710" y="60"/>
                      <a:pt x="710" y="60"/>
                      <a:pt x="710" y="60"/>
                    </a:cubicBezTo>
                    <a:cubicBezTo>
                      <a:pt x="710" y="60"/>
                      <a:pt x="710" y="0"/>
                      <a:pt x="648" y="0"/>
                    </a:cubicBezTo>
                    <a:cubicBezTo>
                      <a:pt x="92" y="0"/>
                      <a:pt x="92" y="0"/>
                      <a:pt x="92" y="0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241" name="Freeform 85">
                <a:extLst>
                  <a:ext uri="{FF2B5EF4-FFF2-40B4-BE49-F238E27FC236}">
                    <a16:creationId xmlns:a16="http://schemas.microsoft.com/office/drawing/2014/main" id="{925F5F78-DD94-48E7-86AA-54266C964DE9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7016288" y="4545006"/>
                <a:ext cx="854330" cy="670017"/>
              </a:xfrm>
              <a:custGeom>
                <a:avLst/>
                <a:gdLst>
                  <a:gd name="T0" fmla="*/ 55 w 646"/>
                  <a:gd name="T1" fmla="*/ 0 h 466"/>
                  <a:gd name="T2" fmla="*/ 0 w 646"/>
                  <a:gd name="T3" fmla="*/ 55 h 466"/>
                  <a:gd name="T4" fmla="*/ 0 w 646"/>
                  <a:gd name="T5" fmla="*/ 411 h 466"/>
                  <a:gd name="T6" fmla="*/ 55 w 646"/>
                  <a:gd name="T7" fmla="*/ 466 h 466"/>
                  <a:gd name="T8" fmla="*/ 590 w 646"/>
                  <a:gd name="T9" fmla="*/ 466 h 466"/>
                  <a:gd name="T10" fmla="*/ 646 w 646"/>
                  <a:gd name="T11" fmla="*/ 411 h 466"/>
                  <a:gd name="T12" fmla="*/ 646 w 646"/>
                  <a:gd name="T13" fmla="*/ 55 h 466"/>
                  <a:gd name="T14" fmla="*/ 590 w 646"/>
                  <a:gd name="T15" fmla="*/ 0 h 466"/>
                  <a:gd name="T16" fmla="*/ 220 w 646"/>
                  <a:gd name="T17" fmla="*/ 0 h 466"/>
                  <a:gd name="T18" fmla="*/ 55 w 646"/>
                  <a:gd name="T19" fmla="*/ 0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6" h="466">
                    <a:moveTo>
                      <a:pt x="55" y="0"/>
                    </a:moveTo>
                    <a:cubicBezTo>
                      <a:pt x="55" y="0"/>
                      <a:pt x="0" y="0"/>
                      <a:pt x="0" y="55"/>
                    </a:cubicBezTo>
                    <a:cubicBezTo>
                      <a:pt x="0" y="411"/>
                      <a:pt x="0" y="411"/>
                      <a:pt x="0" y="411"/>
                    </a:cubicBezTo>
                    <a:cubicBezTo>
                      <a:pt x="0" y="411"/>
                      <a:pt x="0" y="466"/>
                      <a:pt x="55" y="466"/>
                    </a:cubicBezTo>
                    <a:cubicBezTo>
                      <a:pt x="590" y="466"/>
                      <a:pt x="590" y="466"/>
                      <a:pt x="590" y="466"/>
                    </a:cubicBezTo>
                    <a:cubicBezTo>
                      <a:pt x="590" y="466"/>
                      <a:pt x="646" y="466"/>
                      <a:pt x="646" y="411"/>
                    </a:cubicBezTo>
                    <a:cubicBezTo>
                      <a:pt x="646" y="55"/>
                      <a:pt x="646" y="55"/>
                      <a:pt x="646" y="55"/>
                    </a:cubicBezTo>
                    <a:cubicBezTo>
                      <a:pt x="646" y="55"/>
                      <a:pt x="646" y="0"/>
                      <a:pt x="590" y="0"/>
                    </a:cubicBezTo>
                    <a:cubicBezTo>
                      <a:pt x="220" y="0"/>
                      <a:pt x="220" y="0"/>
                      <a:pt x="220" y="0"/>
                    </a:cubicBezTo>
                    <a:lnTo>
                      <a:pt x="55" y="0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242" name="Freeform 86">
                <a:extLst>
                  <a:ext uri="{FF2B5EF4-FFF2-40B4-BE49-F238E27FC236}">
                    <a16:creationId xmlns:a16="http://schemas.microsoft.com/office/drawing/2014/main" id="{3A8FE7F3-E5DA-495F-A11B-FF2072CA829E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624162" y="5233869"/>
                <a:ext cx="1523747" cy="37690"/>
              </a:xfrm>
              <a:custGeom>
                <a:avLst/>
                <a:gdLst>
                  <a:gd name="T0" fmla="*/ 76 w 566"/>
                  <a:gd name="T1" fmla="*/ 0 h 14"/>
                  <a:gd name="T2" fmla="*/ 0 w 566"/>
                  <a:gd name="T3" fmla="*/ 14 h 14"/>
                  <a:gd name="T4" fmla="*/ 566 w 566"/>
                  <a:gd name="T5" fmla="*/ 14 h 14"/>
                  <a:gd name="T6" fmla="*/ 490 w 566"/>
                  <a:gd name="T7" fmla="*/ 0 h 14"/>
                  <a:gd name="T8" fmla="*/ 76 w 566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6" h="14">
                    <a:moveTo>
                      <a:pt x="76" y="0"/>
                    </a:moveTo>
                    <a:lnTo>
                      <a:pt x="0" y="14"/>
                    </a:lnTo>
                    <a:lnTo>
                      <a:pt x="566" y="14"/>
                    </a:lnTo>
                    <a:lnTo>
                      <a:pt x="490" y="0"/>
                    </a:lnTo>
                    <a:lnTo>
                      <a:pt x="76" y="0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</p:grpSp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46FDB8A5-F07D-418B-B49D-426F2C370A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6220" y="4568432"/>
              <a:ext cx="736358" cy="613092"/>
            </a:xfrm>
            <a:prstGeom prst="rect">
              <a:avLst/>
            </a:prstGeom>
          </p:spPr>
        </p:pic>
        <p:pic>
          <p:nvPicPr>
            <p:cNvPr id="87" name="Picture 86">
              <a:extLst>
                <a:ext uri="{FF2B5EF4-FFF2-40B4-BE49-F238E27FC236}">
                  <a16:creationId xmlns:a16="http://schemas.microsoft.com/office/drawing/2014/main" id="{77429991-F7EA-48DC-95B5-112281448DC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36377" y="5038107"/>
              <a:ext cx="604035" cy="502920"/>
            </a:xfrm>
            <a:prstGeom prst="rect">
              <a:avLst/>
            </a:prstGeom>
          </p:spPr>
        </p:pic>
        <p:pic>
          <p:nvPicPr>
            <p:cNvPr id="104" name="Picture 103">
              <a:extLst>
                <a:ext uri="{FF2B5EF4-FFF2-40B4-BE49-F238E27FC236}">
                  <a16:creationId xmlns:a16="http://schemas.microsoft.com/office/drawing/2014/main" id="{A53321D3-0CFC-412A-9DF8-210DC852B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0500" y="6106350"/>
              <a:ext cx="252597" cy="2103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787502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5"/>
            <a:ext cx="4840694" cy="1799462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2" y="3877277"/>
            <a:ext cx="4840694" cy="717249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137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547610" y="0"/>
            <a:ext cx="6857027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54013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1540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224097" indent="0">
              <a:buNone/>
              <a:defRPr>
                <a:solidFill>
                  <a:schemeClr val="tx1"/>
                </a:solidFill>
              </a:defRPr>
            </a:lvl2pPr>
            <a:lvl3pPr marL="448193" indent="0">
              <a:buNone/>
              <a:defRPr>
                <a:solidFill>
                  <a:schemeClr val="tx1"/>
                </a:solidFill>
              </a:defRPr>
            </a:lvl3pPr>
            <a:lvl4pPr marL="672290" indent="0">
              <a:buNone/>
              <a:defRPr>
                <a:solidFill>
                  <a:schemeClr val="tx1"/>
                </a:solidFill>
              </a:defRPr>
            </a:lvl4pPr>
            <a:lvl5pPr marL="896386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098267"/>
      </p:ext>
    </p:extLst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32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4891132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solidFill>
                  <a:schemeClr val="tx1"/>
                </a:solidFill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>
                <a:solidFill>
                  <a:schemeClr val="tx1"/>
                </a:solidFill>
              </a:defRPr>
            </a:lvl2pPr>
            <a:lvl3pPr marL="441968" indent="0">
              <a:buFont typeface="Wingdings" panose="05000000000000000000" pitchFamily="2" charset="2"/>
              <a:buNone/>
              <a:tabLst/>
              <a:defRPr sz="2157" b="0">
                <a:solidFill>
                  <a:schemeClr val="tx1"/>
                </a:solidFill>
              </a:defRPr>
            </a:lvl3pPr>
            <a:lvl4pPr marL="639608" indent="0">
              <a:buFont typeface="Wingdings" panose="05000000000000000000" pitchFamily="2" charset="2"/>
              <a:buNone/>
              <a:defRPr sz="2157" b="0">
                <a:solidFill>
                  <a:schemeClr val="tx1"/>
                </a:solidFill>
              </a:defRPr>
            </a:lvl4pPr>
            <a:lvl5pPr marL="837250" indent="0">
              <a:buFont typeface="Wingdings" panose="05000000000000000000" pitchFamily="2" charset="2"/>
              <a:buNone/>
              <a:tabLst/>
              <a:defRPr sz="2157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5"/>
            <a:ext cx="5378548" cy="241415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Click to 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058603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96061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solidFill>
                  <a:schemeClr val="tx1"/>
                </a:solidFill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>
                <a:solidFill>
                  <a:schemeClr val="tx1"/>
                </a:solidFill>
              </a:defRPr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>
                <a:solidFill>
                  <a:schemeClr val="tx1"/>
                </a:solidFill>
              </a:defRPr>
            </a:lvl3pPr>
            <a:lvl4pPr marL="812350" indent="-172742">
              <a:buFont typeface="Wingdings" panose="05000000000000000000" pitchFamily="2" charset="2"/>
              <a:buChar char=""/>
              <a:defRPr sz="2157" b="0">
                <a:solidFill>
                  <a:schemeClr val="tx1"/>
                </a:solidFill>
              </a:defRPr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5"/>
            <a:ext cx="5378548" cy="2414153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Click to 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299158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931672"/>
      </p:ext>
    </p:extLst>
  </p:cSld>
  <p:clrMapOvr>
    <a:masterClrMapping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59A2C86A-7EAC-4D4F-8B16-57793A5D3C0B}"/>
              </a:ext>
            </a:extLst>
          </p:cNvPr>
          <p:cNvGrpSpPr/>
          <p:nvPr userDrawn="1"/>
        </p:nvGrpSpPr>
        <p:grpSpPr>
          <a:xfrm>
            <a:off x="5468357" y="4139517"/>
            <a:ext cx="6723644" cy="2716134"/>
            <a:chOff x="5789470" y="4224320"/>
            <a:chExt cx="6858467" cy="2770205"/>
          </a:xfrm>
        </p:grpSpPr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3FE489B8-1AF6-4600-9E80-7F3BBD376DAE}"/>
                </a:ext>
              </a:extLst>
            </p:cNvPr>
            <p:cNvGrpSpPr>
              <a:grpSpLocks noChangeAspect="1"/>
            </p:cNvGrpSpPr>
            <p:nvPr userDrawn="1"/>
          </p:nvGrpSpPr>
          <p:grpSpPr bwMode="gray">
            <a:xfrm>
              <a:off x="5789470" y="4224320"/>
              <a:ext cx="6858467" cy="2770205"/>
              <a:chOff x="5788926" y="4224320"/>
              <a:chExt cx="6858467" cy="2770205"/>
            </a:xfrm>
          </p:grpSpPr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511D0668-C2D5-49A4-95C6-2876A90160DF}"/>
                  </a:ext>
                </a:extLst>
              </p:cNvPr>
              <p:cNvSpPr/>
              <p:nvPr userDrawn="1"/>
            </p:nvSpPr>
            <p:spPr bwMode="gray">
              <a:xfrm>
                <a:off x="5788926" y="5758835"/>
                <a:ext cx="2577047" cy="1235690"/>
              </a:xfrm>
              <a:custGeom>
                <a:avLst/>
                <a:gdLst>
                  <a:gd name="connsiteX0" fmla="*/ 1214715 w 2577047"/>
                  <a:gd name="connsiteY0" fmla="*/ 0 h 1235690"/>
                  <a:gd name="connsiteX1" fmla="*/ 1914672 w 2577047"/>
                  <a:gd name="connsiteY1" fmla="*/ 468064 h 1235690"/>
                  <a:gd name="connsiteX2" fmla="*/ 2060300 w 2577047"/>
                  <a:gd name="connsiteY2" fmla="*/ 446221 h 1235690"/>
                  <a:gd name="connsiteX3" fmla="*/ 2577047 w 2577047"/>
                  <a:gd name="connsiteY3" fmla="*/ 957972 h 1235690"/>
                  <a:gd name="connsiteX4" fmla="*/ 2495620 w 2577047"/>
                  <a:gd name="connsiteY4" fmla="*/ 1235690 h 1235690"/>
                  <a:gd name="connsiteX5" fmla="*/ 1889591 w 2577047"/>
                  <a:gd name="connsiteY5" fmla="*/ 1235690 h 1235690"/>
                  <a:gd name="connsiteX6" fmla="*/ 1799319 w 2577047"/>
                  <a:gd name="connsiteY6" fmla="*/ 1235690 h 1235690"/>
                  <a:gd name="connsiteX7" fmla="*/ 31390 w 2577047"/>
                  <a:gd name="connsiteY7" fmla="*/ 1235690 h 1235690"/>
                  <a:gd name="connsiteX8" fmla="*/ 9264 w 2577047"/>
                  <a:gd name="connsiteY8" fmla="*/ 1164413 h 1235690"/>
                  <a:gd name="connsiteX9" fmla="*/ 0 w 2577047"/>
                  <a:gd name="connsiteY9" fmla="*/ 1072517 h 1235690"/>
                  <a:gd name="connsiteX10" fmla="*/ 455981 w 2577047"/>
                  <a:gd name="connsiteY10" fmla="*/ 616536 h 1235690"/>
                  <a:gd name="connsiteX11" fmla="*/ 459500 w 2577047"/>
                  <a:gd name="connsiteY11" fmla="*/ 616891 h 1235690"/>
                  <a:gd name="connsiteX12" fmla="*/ 459640 w 2577047"/>
                  <a:gd name="connsiteY12" fmla="*/ 615506 h 1235690"/>
                  <a:gd name="connsiteX13" fmla="*/ 720719 w 2577047"/>
                  <a:gd name="connsiteY13" fmla="*/ 182302 h 1235690"/>
                  <a:gd name="connsiteX14" fmla="*/ 739060 w 2577047"/>
                  <a:gd name="connsiteY14" fmla="*/ 169592 h 1235690"/>
                  <a:gd name="connsiteX15" fmla="*/ 747661 w 2577047"/>
                  <a:gd name="connsiteY15" fmla="*/ 161263 h 1235690"/>
                  <a:gd name="connsiteX16" fmla="*/ 1214715 w 2577047"/>
                  <a:gd name="connsiteY16" fmla="*/ 0 h 123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577047" h="1235690">
                    <a:moveTo>
                      <a:pt x="1214715" y="0"/>
                    </a:moveTo>
                    <a:cubicBezTo>
                      <a:pt x="1532592" y="0"/>
                      <a:pt x="1803493" y="191906"/>
                      <a:pt x="1914672" y="468064"/>
                    </a:cubicBezTo>
                    <a:cubicBezTo>
                      <a:pt x="1961649" y="454022"/>
                      <a:pt x="2010192" y="446221"/>
                      <a:pt x="2060300" y="446221"/>
                    </a:cubicBezTo>
                    <a:cubicBezTo>
                      <a:pt x="2346860" y="446221"/>
                      <a:pt x="2577047" y="675573"/>
                      <a:pt x="2577047" y="957972"/>
                    </a:cubicBezTo>
                    <a:cubicBezTo>
                      <a:pt x="2577047" y="1060946"/>
                      <a:pt x="2547295" y="1156119"/>
                      <a:pt x="2495620" y="1235690"/>
                    </a:cubicBezTo>
                    <a:cubicBezTo>
                      <a:pt x="2495620" y="1235690"/>
                      <a:pt x="2495620" y="1235690"/>
                      <a:pt x="1889591" y="1235690"/>
                    </a:cubicBezTo>
                    <a:lnTo>
                      <a:pt x="1799319" y="1235690"/>
                    </a:lnTo>
                    <a:lnTo>
                      <a:pt x="31390" y="1235690"/>
                    </a:lnTo>
                    <a:lnTo>
                      <a:pt x="9264" y="1164413"/>
                    </a:lnTo>
                    <a:cubicBezTo>
                      <a:pt x="3190" y="1134730"/>
                      <a:pt x="0" y="1103996"/>
                      <a:pt x="0" y="1072517"/>
                    </a:cubicBezTo>
                    <a:cubicBezTo>
                      <a:pt x="0" y="820686"/>
                      <a:pt x="204150" y="616536"/>
                      <a:pt x="455981" y="616536"/>
                    </a:cubicBezTo>
                    <a:lnTo>
                      <a:pt x="459500" y="616891"/>
                    </a:lnTo>
                    <a:lnTo>
                      <a:pt x="459640" y="615506"/>
                    </a:lnTo>
                    <a:cubicBezTo>
                      <a:pt x="495067" y="442379"/>
                      <a:pt x="589371" y="290700"/>
                      <a:pt x="720719" y="182302"/>
                    </a:cubicBezTo>
                    <a:lnTo>
                      <a:pt x="739060" y="169592"/>
                    </a:lnTo>
                    <a:lnTo>
                      <a:pt x="747661" y="161263"/>
                    </a:lnTo>
                    <a:cubicBezTo>
                      <a:pt x="876480" y="60556"/>
                      <a:pt x="1038551" y="0"/>
                      <a:pt x="1214715" y="0"/>
                    </a:cubicBezTo>
                    <a:close/>
                  </a:path>
                </a:pathLst>
              </a:cu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9" name="Freeform 6">
                <a:extLst>
                  <a:ext uri="{FF2B5EF4-FFF2-40B4-BE49-F238E27FC236}">
                    <a16:creationId xmlns:a16="http://schemas.microsoft.com/office/drawing/2014/main" id="{7F83AA1D-90D4-4C4D-A636-4B7678F1FC0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422506" y="4305084"/>
                <a:ext cx="2008331" cy="1846803"/>
              </a:xfrm>
              <a:custGeom>
                <a:avLst/>
                <a:gdLst>
                  <a:gd name="T0" fmla="*/ 948 w 1281"/>
                  <a:gd name="T1" fmla="*/ 6 h 1185"/>
                  <a:gd name="T2" fmla="*/ 641 w 1281"/>
                  <a:gd name="T3" fmla="*/ 168 h 1185"/>
                  <a:gd name="T4" fmla="*/ 333 w 1281"/>
                  <a:gd name="T5" fmla="*/ 6 h 1185"/>
                  <a:gd name="T6" fmla="*/ 10 w 1281"/>
                  <a:gd name="T7" fmla="*/ 362 h 1185"/>
                  <a:gd name="T8" fmla="*/ 641 w 1281"/>
                  <a:gd name="T9" fmla="*/ 1185 h 1185"/>
                  <a:gd name="T10" fmla="*/ 641 w 1281"/>
                  <a:gd name="T11" fmla="*/ 1184 h 1185"/>
                  <a:gd name="T12" fmla="*/ 641 w 1281"/>
                  <a:gd name="T13" fmla="*/ 1185 h 1185"/>
                  <a:gd name="T14" fmla="*/ 1272 w 1281"/>
                  <a:gd name="T15" fmla="*/ 361 h 1185"/>
                  <a:gd name="T16" fmla="*/ 948 w 1281"/>
                  <a:gd name="T17" fmla="*/ 6 h 1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81" h="1185">
                    <a:moveTo>
                      <a:pt x="948" y="6"/>
                    </a:moveTo>
                    <a:cubicBezTo>
                      <a:pt x="820" y="0"/>
                      <a:pt x="703" y="65"/>
                      <a:pt x="641" y="168"/>
                    </a:cubicBezTo>
                    <a:cubicBezTo>
                      <a:pt x="578" y="65"/>
                      <a:pt x="461" y="0"/>
                      <a:pt x="333" y="6"/>
                    </a:cubicBezTo>
                    <a:cubicBezTo>
                      <a:pt x="144" y="15"/>
                      <a:pt x="0" y="175"/>
                      <a:pt x="10" y="362"/>
                    </a:cubicBezTo>
                    <a:cubicBezTo>
                      <a:pt x="19" y="548"/>
                      <a:pt x="641" y="1185"/>
                      <a:pt x="641" y="1185"/>
                    </a:cubicBezTo>
                    <a:cubicBezTo>
                      <a:pt x="641" y="1185"/>
                      <a:pt x="641" y="1185"/>
                      <a:pt x="641" y="1184"/>
                    </a:cubicBezTo>
                    <a:cubicBezTo>
                      <a:pt x="641" y="1185"/>
                      <a:pt x="641" y="1185"/>
                      <a:pt x="641" y="1185"/>
                    </a:cubicBezTo>
                    <a:cubicBezTo>
                      <a:pt x="641" y="1185"/>
                      <a:pt x="1263" y="548"/>
                      <a:pt x="1272" y="361"/>
                    </a:cubicBezTo>
                    <a:cubicBezTo>
                      <a:pt x="1281" y="174"/>
                      <a:pt x="1137" y="15"/>
                      <a:pt x="948" y="6"/>
                    </a:cubicBezTo>
                    <a:close/>
                  </a:path>
                </a:pathLst>
              </a:custGeom>
              <a:solidFill>
                <a:srgbClr val="3393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4A9108CE-BDAB-4166-8EC8-EF20C9BA1E7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601660" y="4515070"/>
                <a:ext cx="573425" cy="1445676"/>
              </a:xfrm>
              <a:prstGeom prst="rect">
                <a:avLst/>
              </a:pr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4EFE87EC-D69B-4F02-A1C4-1ADA933D6D5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640568" y="4224320"/>
                <a:ext cx="576116" cy="1445676"/>
              </a:xfrm>
              <a:prstGeom prst="rect">
                <a:avLst/>
              </a:pr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E8E252F3-06A3-4BF0-81D8-A640F731BEA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771264" y="4698135"/>
                <a:ext cx="573425" cy="1445676"/>
              </a:xfrm>
              <a:prstGeom prst="rect">
                <a:avLst/>
              </a:pr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764EF321-FFF0-43E1-9980-B6FBDA9B60C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351291" y="4843510"/>
                <a:ext cx="320365" cy="1397218"/>
              </a:xfrm>
              <a:prstGeom prst="rect">
                <a:avLst/>
              </a:pr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4" name="Rectangle 93">
                <a:extLst>
                  <a:ext uri="{FF2B5EF4-FFF2-40B4-BE49-F238E27FC236}">
                    <a16:creationId xmlns:a16="http://schemas.microsoft.com/office/drawing/2014/main" id="{B0328D1B-6D4A-4A3D-BD0F-85E38F25DC3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505962" y="4708904"/>
                <a:ext cx="309596" cy="1292224"/>
              </a:xfrm>
              <a:prstGeom prst="rect">
                <a:avLst/>
              </a:pr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8A527ADA-E713-4837-8513-74FF1584FC1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780559" y="4576988"/>
                <a:ext cx="570732" cy="1518363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6" name="Freeform 13">
                <a:extLst>
                  <a:ext uri="{FF2B5EF4-FFF2-40B4-BE49-F238E27FC236}">
                    <a16:creationId xmlns:a16="http://schemas.microsoft.com/office/drawing/2014/main" id="{BD4F5580-D9B0-4FFF-BA03-CCF92BCA7069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4665830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2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2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2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2"/>
                      <a:pt x="286" y="22"/>
                      <a:pt x="286" y="22"/>
                    </a:cubicBezTo>
                    <a:cubicBezTo>
                      <a:pt x="286" y="22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7" name="Freeform 14">
                <a:extLst>
                  <a:ext uri="{FF2B5EF4-FFF2-40B4-BE49-F238E27FC236}">
                    <a16:creationId xmlns:a16="http://schemas.microsoft.com/office/drawing/2014/main" id="{CEC3CE8E-09FC-4292-8709-BDB91D066129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4805821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8" name="Freeform 15">
                <a:extLst>
                  <a:ext uri="{FF2B5EF4-FFF2-40B4-BE49-F238E27FC236}">
                    <a16:creationId xmlns:a16="http://schemas.microsoft.com/office/drawing/2014/main" id="{83F11FC7-8A5A-4AAC-A98B-B552F310603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4943118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4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4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4"/>
                      <a:pt x="286" y="24"/>
                      <a:pt x="286" y="24"/>
                    </a:cubicBezTo>
                    <a:cubicBezTo>
                      <a:pt x="286" y="24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9" name="Freeform 16">
                <a:extLst>
                  <a:ext uri="{FF2B5EF4-FFF2-40B4-BE49-F238E27FC236}">
                    <a16:creationId xmlns:a16="http://schemas.microsoft.com/office/drawing/2014/main" id="{ABE16C56-D08A-4B15-A507-077A144E8177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080418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0" name="Freeform 17">
                <a:extLst>
                  <a:ext uri="{FF2B5EF4-FFF2-40B4-BE49-F238E27FC236}">
                    <a16:creationId xmlns:a16="http://schemas.microsoft.com/office/drawing/2014/main" id="{DFE87D74-DF62-4904-AB55-EA801832787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220409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1" name="Freeform 18">
                <a:extLst>
                  <a:ext uri="{FF2B5EF4-FFF2-40B4-BE49-F238E27FC236}">
                    <a16:creationId xmlns:a16="http://schemas.microsoft.com/office/drawing/2014/main" id="{97EF7CCF-57EC-4648-AB47-5EC375D22E80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357707"/>
                <a:ext cx="446894" cy="78073"/>
              </a:xfrm>
              <a:custGeom>
                <a:avLst/>
                <a:gdLst>
                  <a:gd name="T0" fmla="*/ 24 w 286"/>
                  <a:gd name="T1" fmla="*/ 0 h 51"/>
                  <a:gd name="T2" fmla="*/ 0 w 286"/>
                  <a:gd name="T3" fmla="*/ 24 h 51"/>
                  <a:gd name="T4" fmla="*/ 0 w 286"/>
                  <a:gd name="T5" fmla="*/ 28 h 51"/>
                  <a:gd name="T6" fmla="*/ 24 w 286"/>
                  <a:gd name="T7" fmla="*/ 51 h 51"/>
                  <a:gd name="T8" fmla="*/ 262 w 286"/>
                  <a:gd name="T9" fmla="*/ 51 h 51"/>
                  <a:gd name="T10" fmla="*/ 286 w 286"/>
                  <a:gd name="T11" fmla="*/ 28 h 51"/>
                  <a:gd name="T12" fmla="*/ 286 w 286"/>
                  <a:gd name="T13" fmla="*/ 24 h 51"/>
                  <a:gd name="T14" fmla="*/ 262 w 286"/>
                  <a:gd name="T15" fmla="*/ 0 h 51"/>
                  <a:gd name="T16" fmla="*/ 152 w 286"/>
                  <a:gd name="T17" fmla="*/ 0 h 51"/>
                  <a:gd name="T18" fmla="*/ 24 w 286"/>
                  <a:gd name="T1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1">
                    <a:moveTo>
                      <a:pt x="24" y="0"/>
                    </a:moveTo>
                    <a:cubicBezTo>
                      <a:pt x="24" y="0"/>
                      <a:pt x="0" y="0"/>
                      <a:pt x="0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1"/>
                      <a:pt x="24" y="51"/>
                    </a:cubicBezTo>
                    <a:cubicBezTo>
                      <a:pt x="262" y="51"/>
                      <a:pt x="262" y="51"/>
                      <a:pt x="262" y="51"/>
                    </a:cubicBezTo>
                    <a:cubicBezTo>
                      <a:pt x="262" y="51"/>
                      <a:pt x="286" y="51"/>
                      <a:pt x="286" y="28"/>
                    </a:cubicBezTo>
                    <a:cubicBezTo>
                      <a:pt x="286" y="24"/>
                      <a:pt x="286" y="24"/>
                      <a:pt x="286" y="24"/>
                    </a:cubicBezTo>
                    <a:cubicBezTo>
                      <a:pt x="286" y="24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2" name="Freeform 19">
                <a:extLst>
                  <a:ext uri="{FF2B5EF4-FFF2-40B4-BE49-F238E27FC236}">
                    <a16:creationId xmlns:a16="http://schemas.microsoft.com/office/drawing/2014/main" id="{DEEDEA0D-FB3A-4F2B-B9C0-162774823C2A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495006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3" name="Freeform 20">
                <a:extLst>
                  <a:ext uri="{FF2B5EF4-FFF2-40B4-BE49-F238E27FC236}">
                    <a16:creationId xmlns:a16="http://schemas.microsoft.com/office/drawing/2014/main" id="{4E1849C0-1536-4A41-AAA9-DB7E3FF2E195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634997"/>
                <a:ext cx="446894" cy="78073"/>
              </a:xfrm>
              <a:custGeom>
                <a:avLst/>
                <a:gdLst>
                  <a:gd name="T0" fmla="*/ 24 w 286"/>
                  <a:gd name="T1" fmla="*/ 0 h 51"/>
                  <a:gd name="T2" fmla="*/ 0 w 286"/>
                  <a:gd name="T3" fmla="*/ 23 h 51"/>
                  <a:gd name="T4" fmla="*/ 0 w 286"/>
                  <a:gd name="T5" fmla="*/ 27 h 51"/>
                  <a:gd name="T6" fmla="*/ 24 w 286"/>
                  <a:gd name="T7" fmla="*/ 51 h 51"/>
                  <a:gd name="T8" fmla="*/ 262 w 286"/>
                  <a:gd name="T9" fmla="*/ 51 h 51"/>
                  <a:gd name="T10" fmla="*/ 286 w 286"/>
                  <a:gd name="T11" fmla="*/ 27 h 51"/>
                  <a:gd name="T12" fmla="*/ 286 w 286"/>
                  <a:gd name="T13" fmla="*/ 23 h 51"/>
                  <a:gd name="T14" fmla="*/ 262 w 286"/>
                  <a:gd name="T15" fmla="*/ 0 h 51"/>
                  <a:gd name="T16" fmla="*/ 152 w 286"/>
                  <a:gd name="T17" fmla="*/ 0 h 51"/>
                  <a:gd name="T18" fmla="*/ 24 w 286"/>
                  <a:gd name="T1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1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1"/>
                      <a:pt x="24" y="51"/>
                    </a:cubicBezTo>
                    <a:cubicBezTo>
                      <a:pt x="262" y="51"/>
                      <a:pt x="262" y="51"/>
                      <a:pt x="262" y="51"/>
                    </a:cubicBezTo>
                    <a:cubicBezTo>
                      <a:pt x="262" y="51"/>
                      <a:pt x="286" y="51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EA993CC2-E013-4020-88FC-2A78001254D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4681982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B75D9E4A-00D0-40DD-87C9-31011C925D6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4821973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D606A6A6-40EA-4D88-A4E2-5DE61C7A71C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4959271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F76F23DA-7FD4-4E10-84B4-6668D977E1A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099262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8" name="Freeform 25">
                <a:extLst>
                  <a:ext uri="{FF2B5EF4-FFF2-40B4-BE49-F238E27FC236}">
                    <a16:creationId xmlns:a16="http://schemas.microsoft.com/office/drawing/2014/main" id="{4CB1426B-E211-43A6-8156-52923829BF86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203225" y="5236562"/>
                <a:ext cx="45767" cy="43074"/>
              </a:xfrm>
              <a:custGeom>
                <a:avLst/>
                <a:gdLst>
                  <a:gd name="T0" fmla="*/ 14 w 28"/>
                  <a:gd name="T1" fmla="*/ 28 h 28"/>
                  <a:gd name="T2" fmla="*/ 28 w 28"/>
                  <a:gd name="T3" fmla="*/ 13 h 28"/>
                  <a:gd name="T4" fmla="*/ 14 w 28"/>
                  <a:gd name="T5" fmla="*/ 0 h 28"/>
                  <a:gd name="T6" fmla="*/ 0 w 28"/>
                  <a:gd name="T7" fmla="*/ 13 h 28"/>
                  <a:gd name="T8" fmla="*/ 14 w 28"/>
                  <a:gd name="T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22" y="28"/>
                      <a:pt x="28" y="21"/>
                      <a:pt x="28" y="13"/>
                    </a:cubicBezTo>
                    <a:cubicBezTo>
                      <a:pt x="28" y="7"/>
                      <a:pt x="22" y="0"/>
                      <a:pt x="14" y="0"/>
                    </a:cubicBezTo>
                    <a:cubicBezTo>
                      <a:pt x="7" y="0"/>
                      <a:pt x="0" y="7"/>
                      <a:pt x="0" y="13"/>
                    </a:cubicBezTo>
                    <a:cubicBezTo>
                      <a:pt x="0" y="21"/>
                      <a:pt x="7" y="28"/>
                      <a:pt x="14" y="28"/>
                    </a:cubicBez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2BEB8798-F01D-473F-8154-F256BDB8F3B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376553"/>
                <a:ext cx="45767" cy="40383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4F8A51E7-7B82-4EB2-9BB0-E67289E9CDB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513851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3CA7F338-199C-4185-9849-899AB0C8AE5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653841"/>
                <a:ext cx="45767" cy="40383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2" name="Freeform 29">
                <a:extLst>
                  <a:ext uri="{FF2B5EF4-FFF2-40B4-BE49-F238E27FC236}">
                    <a16:creationId xmlns:a16="http://schemas.microsoft.com/office/drawing/2014/main" id="{BE09CA33-D1A5-4092-92CB-B67EA7826AC7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772295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2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2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2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2"/>
                      <a:pt x="286" y="22"/>
                      <a:pt x="286" y="22"/>
                    </a:cubicBezTo>
                    <a:cubicBezTo>
                      <a:pt x="286" y="22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529E7749-4E00-465F-9EF1-BAA9C869CD7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791141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3A0077F4-3F18-4DB1-9AB1-37A3D9FC32C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467054" y="4883892"/>
                <a:ext cx="570732" cy="1337991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5" name="Freeform 32">
                <a:extLst>
                  <a:ext uri="{FF2B5EF4-FFF2-40B4-BE49-F238E27FC236}">
                    <a16:creationId xmlns:a16="http://schemas.microsoft.com/office/drawing/2014/main" id="{3A5B7D77-90A5-40E6-9A2D-64654E4A100D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4975424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2 h 50"/>
                  <a:gd name="T4" fmla="*/ 0 w 287"/>
                  <a:gd name="T5" fmla="*/ 27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7 h 50"/>
                  <a:gd name="T12" fmla="*/ 287 w 287"/>
                  <a:gd name="T13" fmla="*/ 22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2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7"/>
                    </a:cubicBezTo>
                    <a:cubicBezTo>
                      <a:pt x="287" y="22"/>
                      <a:pt x="287" y="22"/>
                      <a:pt x="287" y="22"/>
                    </a:cubicBezTo>
                    <a:cubicBezTo>
                      <a:pt x="287" y="22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6" name="Freeform 33">
                <a:extLst>
                  <a:ext uri="{FF2B5EF4-FFF2-40B4-BE49-F238E27FC236}">
                    <a16:creationId xmlns:a16="http://schemas.microsoft.com/office/drawing/2014/main" id="{786B8398-E492-4E9E-BF07-4743B46CB5A5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112724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7" name="Freeform 34">
                <a:extLst>
                  <a:ext uri="{FF2B5EF4-FFF2-40B4-BE49-F238E27FC236}">
                    <a16:creationId xmlns:a16="http://schemas.microsoft.com/office/drawing/2014/main" id="{DE6DF825-9E9B-448C-A306-13AB6B34427A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252715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2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2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2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2"/>
                      <a:pt x="287" y="22"/>
                      <a:pt x="287" y="22"/>
                    </a:cubicBezTo>
                    <a:cubicBezTo>
                      <a:pt x="287" y="22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8" name="Freeform 35">
                <a:extLst>
                  <a:ext uri="{FF2B5EF4-FFF2-40B4-BE49-F238E27FC236}">
                    <a16:creationId xmlns:a16="http://schemas.microsoft.com/office/drawing/2014/main" id="{43199998-DE10-448F-945B-84B41F360B4B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390012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2 h 50"/>
                  <a:gd name="T4" fmla="*/ 0 w 287"/>
                  <a:gd name="T5" fmla="*/ 27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7 h 50"/>
                  <a:gd name="T12" fmla="*/ 287 w 287"/>
                  <a:gd name="T13" fmla="*/ 22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2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7"/>
                    </a:cubicBezTo>
                    <a:cubicBezTo>
                      <a:pt x="287" y="22"/>
                      <a:pt x="287" y="22"/>
                      <a:pt x="287" y="22"/>
                    </a:cubicBezTo>
                    <a:cubicBezTo>
                      <a:pt x="287" y="22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9" name="Freeform 36">
                <a:extLst>
                  <a:ext uri="{FF2B5EF4-FFF2-40B4-BE49-F238E27FC236}">
                    <a16:creationId xmlns:a16="http://schemas.microsoft.com/office/drawing/2014/main" id="{07591D14-6A6B-4A0E-9249-F865481331C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527312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0" name="Freeform 37">
                <a:extLst>
                  <a:ext uri="{FF2B5EF4-FFF2-40B4-BE49-F238E27FC236}">
                    <a16:creationId xmlns:a16="http://schemas.microsoft.com/office/drawing/2014/main" id="{971F1A08-EB40-43F2-B2F8-873282CEAB80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667303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1" name="Freeform 38">
                <a:extLst>
                  <a:ext uri="{FF2B5EF4-FFF2-40B4-BE49-F238E27FC236}">
                    <a16:creationId xmlns:a16="http://schemas.microsoft.com/office/drawing/2014/main" id="{C9B9291E-0D81-4179-A94E-C0CD8C71B880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807294"/>
                <a:ext cx="449587" cy="75380"/>
              </a:xfrm>
              <a:custGeom>
                <a:avLst/>
                <a:gdLst>
                  <a:gd name="T0" fmla="*/ 25 w 287"/>
                  <a:gd name="T1" fmla="*/ 0 h 49"/>
                  <a:gd name="T2" fmla="*/ 0 w 287"/>
                  <a:gd name="T3" fmla="*/ 23 h 49"/>
                  <a:gd name="T4" fmla="*/ 0 w 287"/>
                  <a:gd name="T5" fmla="*/ 27 h 49"/>
                  <a:gd name="T6" fmla="*/ 25 w 287"/>
                  <a:gd name="T7" fmla="*/ 49 h 49"/>
                  <a:gd name="T8" fmla="*/ 262 w 287"/>
                  <a:gd name="T9" fmla="*/ 49 h 49"/>
                  <a:gd name="T10" fmla="*/ 287 w 287"/>
                  <a:gd name="T11" fmla="*/ 27 h 49"/>
                  <a:gd name="T12" fmla="*/ 287 w 287"/>
                  <a:gd name="T13" fmla="*/ 23 h 49"/>
                  <a:gd name="T14" fmla="*/ 262 w 287"/>
                  <a:gd name="T15" fmla="*/ 0 h 49"/>
                  <a:gd name="T16" fmla="*/ 153 w 287"/>
                  <a:gd name="T17" fmla="*/ 0 h 49"/>
                  <a:gd name="T18" fmla="*/ 25 w 287"/>
                  <a:gd name="T1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49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49"/>
                      <a:pt x="25" y="49"/>
                    </a:cubicBezTo>
                    <a:cubicBezTo>
                      <a:pt x="262" y="49"/>
                      <a:pt x="262" y="49"/>
                      <a:pt x="262" y="49"/>
                    </a:cubicBezTo>
                    <a:cubicBezTo>
                      <a:pt x="262" y="49"/>
                      <a:pt x="287" y="49"/>
                      <a:pt x="287" y="27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2" name="Freeform 39">
                <a:extLst>
                  <a:ext uri="{FF2B5EF4-FFF2-40B4-BE49-F238E27FC236}">
                    <a16:creationId xmlns:a16="http://schemas.microsoft.com/office/drawing/2014/main" id="{ACB5F053-9962-4F76-ABB8-A958BE7CA6AE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941900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4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4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4"/>
                      <a:pt x="287" y="24"/>
                      <a:pt x="287" y="24"/>
                    </a:cubicBezTo>
                    <a:cubicBezTo>
                      <a:pt x="287" y="24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A440987D-FAF9-457A-9328-0174D80ED6F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4991577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62641C66-5DA3-49AB-B64B-205AF587AE9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131568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607546CC-4D5E-430F-868C-6D252A07AC9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268867"/>
                <a:ext cx="45767" cy="45767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C446B10F-7A7C-4917-A01C-14F3E9EA536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406165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71522F5D-F273-47BD-B15A-C8780C569B6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546156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D29E6970-A0A1-49F3-A79B-3E8A656280A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683456"/>
                <a:ext cx="45767" cy="45767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4F5CE6E8-2D50-48D4-95BC-DD11C28E8B1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823447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1E2B566A-E7AC-481F-BC97-32D3923A705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960744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1" name="Freeform 48">
                <a:extLst>
                  <a:ext uri="{FF2B5EF4-FFF2-40B4-BE49-F238E27FC236}">
                    <a16:creationId xmlns:a16="http://schemas.microsoft.com/office/drawing/2014/main" id="{62260D8A-ADC1-46D9-9905-1FC91F6EF93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6081891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7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7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7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0AC62D01-CDEA-47A9-9775-640542F37CA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6100735"/>
                <a:ext cx="45767" cy="43074"/>
              </a:xfrm>
              <a:prstGeom prst="ellipse">
                <a:avLst/>
              </a:prstGeom>
              <a:solidFill>
                <a:srgbClr val="FF8C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3" name="Freeform 50">
                <a:extLst>
                  <a:ext uri="{FF2B5EF4-FFF2-40B4-BE49-F238E27FC236}">
                    <a16:creationId xmlns:a16="http://schemas.microsoft.com/office/drawing/2014/main" id="{0C9EEC98-5DC1-4F6F-9D96-3EF7F3B07240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909595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4" name="Oval 133">
                <a:extLst>
                  <a:ext uri="{FF2B5EF4-FFF2-40B4-BE49-F238E27FC236}">
                    <a16:creationId xmlns:a16="http://schemas.microsoft.com/office/drawing/2014/main" id="{C8FDA0EF-5637-41A8-911A-1045DAE3D0F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928439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8574CC2E-FD7F-4CCF-91A0-3BDD62F7D12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643261" y="4245857"/>
                <a:ext cx="573425" cy="255753"/>
              </a:xfrm>
              <a:prstGeom prst="rect">
                <a:avLst/>
              </a:pr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6" name="Freeform 53">
                <a:extLst>
                  <a:ext uri="{FF2B5EF4-FFF2-40B4-BE49-F238E27FC236}">
                    <a16:creationId xmlns:a16="http://schemas.microsoft.com/office/drawing/2014/main" id="{882875D9-1239-481C-B32E-F294B362A21D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772739" y="5917670"/>
                <a:ext cx="1243765" cy="621882"/>
              </a:xfrm>
              <a:custGeom>
                <a:avLst/>
                <a:gdLst>
                  <a:gd name="T0" fmla="*/ 763 w 788"/>
                  <a:gd name="T1" fmla="*/ 392 h 392"/>
                  <a:gd name="T2" fmla="*/ 788 w 788"/>
                  <a:gd name="T3" fmla="*/ 304 h 392"/>
                  <a:gd name="T4" fmla="*/ 625 w 788"/>
                  <a:gd name="T5" fmla="*/ 142 h 392"/>
                  <a:gd name="T6" fmla="*/ 580 w 788"/>
                  <a:gd name="T7" fmla="*/ 149 h 392"/>
                  <a:gd name="T8" fmla="*/ 358 w 788"/>
                  <a:gd name="T9" fmla="*/ 0 h 392"/>
                  <a:gd name="T10" fmla="*/ 120 w 788"/>
                  <a:gd name="T11" fmla="*/ 224 h 392"/>
                  <a:gd name="T12" fmla="*/ 0 w 788"/>
                  <a:gd name="T13" fmla="*/ 347 h 392"/>
                  <a:gd name="T14" fmla="*/ 8 w 788"/>
                  <a:gd name="T15" fmla="*/ 392 h 392"/>
                  <a:gd name="T16" fmla="*/ 763 w 788"/>
                  <a:gd name="T17" fmla="*/ 392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88" h="392">
                    <a:moveTo>
                      <a:pt x="763" y="392"/>
                    </a:moveTo>
                    <a:cubicBezTo>
                      <a:pt x="779" y="366"/>
                      <a:pt x="788" y="337"/>
                      <a:pt x="788" y="304"/>
                    </a:cubicBezTo>
                    <a:cubicBezTo>
                      <a:pt x="788" y="214"/>
                      <a:pt x="715" y="142"/>
                      <a:pt x="625" y="142"/>
                    </a:cubicBezTo>
                    <a:cubicBezTo>
                      <a:pt x="609" y="142"/>
                      <a:pt x="594" y="144"/>
                      <a:pt x="580" y="149"/>
                    </a:cubicBezTo>
                    <a:cubicBezTo>
                      <a:pt x="544" y="61"/>
                      <a:pt x="458" y="0"/>
                      <a:pt x="358" y="0"/>
                    </a:cubicBezTo>
                    <a:cubicBezTo>
                      <a:pt x="231" y="0"/>
                      <a:pt x="127" y="99"/>
                      <a:pt x="120" y="224"/>
                    </a:cubicBezTo>
                    <a:cubicBezTo>
                      <a:pt x="53" y="226"/>
                      <a:pt x="0" y="280"/>
                      <a:pt x="0" y="347"/>
                    </a:cubicBezTo>
                    <a:cubicBezTo>
                      <a:pt x="0" y="363"/>
                      <a:pt x="2" y="378"/>
                      <a:pt x="8" y="392"/>
                    </a:cubicBezTo>
                    <a:lnTo>
                      <a:pt x="763" y="392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7" name="Freeform 55">
                <a:extLst>
                  <a:ext uri="{FF2B5EF4-FFF2-40B4-BE49-F238E27FC236}">
                    <a16:creationId xmlns:a16="http://schemas.microsoft.com/office/drawing/2014/main" id="{4A015C18-0779-4C8D-97FA-827C04BCCD2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1198092" y="5990359"/>
                <a:ext cx="1449301" cy="697263"/>
              </a:xfrm>
              <a:custGeom>
                <a:avLst/>
                <a:gdLst>
                  <a:gd name="T0" fmla="*/ 790 w 790"/>
                  <a:gd name="T1" fmla="*/ 206 h 414"/>
                  <a:gd name="T2" fmla="*/ 661 w 790"/>
                  <a:gd name="T3" fmla="*/ 149 h 414"/>
                  <a:gd name="T4" fmla="*/ 613 w 790"/>
                  <a:gd name="T5" fmla="*/ 156 h 414"/>
                  <a:gd name="T6" fmla="*/ 379 w 790"/>
                  <a:gd name="T7" fmla="*/ 0 h 414"/>
                  <a:gd name="T8" fmla="*/ 127 w 790"/>
                  <a:gd name="T9" fmla="*/ 236 h 414"/>
                  <a:gd name="T10" fmla="*/ 0 w 790"/>
                  <a:gd name="T11" fmla="*/ 366 h 414"/>
                  <a:gd name="T12" fmla="*/ 9 w 790"/>
                  <a:gd name="T13" fmla="*/ 414 h 414"/>
                  <a:gd name="T14" fmla="*/ 790 w 790"/>
                  <a:gd name="T15" fmla="*/ 414 h 414"/>
                  <a:gd name="T16" fmla="*/ 790 w 790"/>
                  <a:gd name="T17" fmla="*/ 206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0" h="414">
                    <a:moveTo>
                      <a:pt x="790" y="206"/>
                    </a:moveTo>
                    <a:cubicBezTo>
                      <a:pt x="758" y="172"/>
                      <a:pt x="713" y="149"/>
                      <a:pt x="661" y="149"/>
                    </a:cubicBezTo>
                    <a:cubicBezTo>
                      <a:pt x="644" y="149"/>
                      <a:pt x="628" y="152"/>
                      <a:pt x="613" y="156"/>
                    </a:cubicBezTo>
                    <a:cubicBezTo>
                      <a:pt x="576" y="64"/>
                      <a:pt x="484" y="0"/>
                      <a:pt x="379" y="0"/>
                    </a:cubicBezTo>
                    <a:cubicBezTo>
                      <a:pt x="245" y="0"/>
                      <a:pt x="135" y="104"/>
                      <a:pt x="127" y="236"/>
                    </a:cubicBezTo>
                    <a:cubicBezTo>
                      <a:pt x="56" y="238"/>
                      <a:pt x="0" y="295"/>
                      <a:pt x="0" y="366"/>
                    </a:cubicBezTo>
                    <a:cubicBezTo>
                      <a:pt x="0" y="383"/>
                      <a:pt x="3" y="399"/>
                      <a:pt x="9" y="414"/>
                    </a:cubicBezTo>
                    <a:cubicBezTo>
                      <a:pt x="790" y="414"/>
                      <a:pt x="790" y="414"/>
                      <a:pt x="790" y="414"/>
                    </a:cubicBezTo>
                    <a:lnTo>
                      <a:pt x="790" y="206"/>
                    </a:lnTo>
                    <a:close/>
                  </a:path>
                </a:pathLst>
              </a:custGeom>
              <a:ln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8" name="Freeform 59">
                <a:extLst>
                  <a:ext uri="{FF2B5EF4-FFF2-40B4-BE49-F238E27FC236}">
                    <a16:creationId xmlns:a16="http://schemas.microsoft.com/office/drawing/2014/main" id="{74B3437C-6C61-4615-8601-38A751827B97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1682678" y="5328094"/>
                <a:ext cx="309596" cy="441510"/>
              </a:xfrm>
              <a:custGeom>
                <a:avLst/>
                <a:gdLst>
                  <a:gd name="T0" fmla="*/ 198 w 198"/>
                  <a:gd name="T1" fmla="*/ 202 h 283"/>
                  <a:gd name="T2" fmla="*/ 198 w 198"/>
                  <a:gd name="T3" fmla="*/ 0 h 283"/>
                  <a:gd name="T4" fmla="*/ 177 w 198"/>
                  <a:gd name="T5" fmla="*/ 6 h 283"/>
                  <a:gd name="T6" fmla="*/ 177 w 198"/>
                  <a:gd name="T7" fmla="*/ 230 h 283"/>
                  <a:gd name="T8" fmla="*/ 0 w 198"/>
                  <a:gd name="T9" fmla="*/ 230 h 283"/>
                  <a:gd name="T10" fmla="*/ 26 w 198"/>
                  <a:gd name="T11" fmla="*/ 246 h 283"/>
                  <a:gd name="T12" fmla="*/ 26 w 198"/>
                  <a:gd name="T13" fmla="*/ 283 h 283"/>
                  <a:gd name="T14" fmla="*/ 171 w 198"/>
                  <a:gd name="T15" fmla="*/ 283 h 283"/>
                  <a:gd name="T16" fmla="*/ 171 w 198"/>
                  <a:gd name="T17" fmla="*/ 246 h 283"/>
                  <a:gd name="T18" fmla="*/ 198 w 198"/>
                  <a:gd name="T19" fmla="*/ 202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8" h="283">
                    <a:moveTo>
                      <a:pt x="198" y="202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0" y="0"/>
                      <a:pt x="183" y="3"/>
                      <a:pt x="177" y="6"/>
                    </a:cubicBezTo>
                    <a:cubicBezTo>
                      <a:pt x="177" y="230"/>
                      <a:pt x="177" y="230"/>
                      <a:pt x="177" y="230"/>
                    </a:cubicBezTo>
                    <a:cubicBezTo>
                      <a:pt x="0" y="230"/>
                      <a:pt x="0" y="230"/>
                      <a:pt x="0" y="230"/>
                    </a:cubicBezTo>
                    <a:cubicBezTo>
                      <a:pt x="6" y="239"/>
                      <a:pt x="15" y="244"/>
                      <a:pt x="26" y="246"/>
                    </a:cubicBezTo>
                    <a:cubicBezTo>
                      <a:pt x="26" y="283"/>
                      <a:pt x="26" y="283"/>
                      <a:pt x="26" y="283"/>
                    </a:cubicBezTo>
                    <a:cubicBezTo>
                      <a:pt x="171" y="283"/>
                      <a:pt x="171" y="283"/>
                      <a:pt x="171" y="283"/>
                    </a:cubicBezTo>
                    <a:cubicBezTo>
                      <a:pt x="171" y="246"/>
                      <a:pt x="171" y="246"/>
                      <a:pt x="171" y="246"/>
                    </a:cubicBezTo>
                    <a:lnTo>
                      <a:pt x="198" y="202"/>
                    </a:lnTo>
                    <a:close/>
                  </a:path>
                </a:pathLst>
              </a:custGeom>
              <a:solidFill>
                <a:srgbClr val="613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9" name="Freeform 60">
                <a:extLst>
                  <a:ext uri="{FF2B5EF4-FFF2-40B4-BE49-F238E27FC236}">
                    <a16:creationId xmlns:a16="http://schemas.microsoft.com/office/drawing/2014/main" id="{7EEFB72C-5898-4419-AD38-58C22150C297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1704215" y="5815369"/>
                <a:ext cx="263829" cy="419973"/>
              </a:xfrm>
              <a:custGeom>
                <a:avLst/>
                <a:gdLst>
                  <a:gd name="T0" fmla="*/ 167 w 167"/>
                  <a:gd name="T1" fmla="*/ 270 h 270"/>
                  <a:gd name="T2" fmla="*/ 167 w 167"/>
                  <a:gd name="T3" fmla="*/ 0 h 270"/>
                  <a:gd name="T4" fmla="*/ 0 w 167"/>
                  <a:gd name="T5" fmla="*/ 0 h 270"/>
                  <a:gd name="T6" fmla="*/ 0 w 167"/>
                  <a:gd name="T7" fmla="*/ 203 h 270"/>
                  <a:gd name="T8" fmla="*/ 18 w 167"/>
                  <a:gd name="T9" fmla="*/ 202 h 270"/>
                  <a:gd name="T10" fmla="*/ 167 w 167"/>
                  <a:gd name="T11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7" h="270">
                    <a:moveTo>
                      <a:pt x="167" y="27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03"/>
                      <a:pt x="0" y="203"/>
                      <a:pt x="0" y="203"/>
                    </a:cubicBezTo>
                    <a:cubicBezTo>
                      <a:pt x="6" y="203"/>
                      <a:pt x="12" y="202"/>
                      <a:pt x="18" y="202"/>
                    </a:cubicBezTo>
                    <a:cubicBezTo>
                      <a:pt x="77" y="202"/>
                      <a:pt x="131" y="229"/>
                      <a:pt x="167" y="270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0" name="Rectangle 139">
                <a:extLst>
                  <a:ext uri="{FF2B5EF4-FFF2-40B4-BE49-F238E27FC236}">
                    <a16:creationId xmlns:a16="http://schemas.microsoft.com/office/drawing/2014/main" id="{CB945D0D-3E4C-45A1-85D7-B4DACE1B883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1712292" y="5769604"/>
                <a:ext cx="247676" cy="4576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1" name="Freeform 62">
                <a:extLst>
                  <a:ext uri="{FF2B5EF4-FFF2-40B4-BE49-F238E27FC236}">
                    <a16:creationId xmlns:a16="http://schemas.microsoft.com/office/drawing/2014/main" id="{F252316E-7D81-4F02-B32C-D5CA5544143D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698577" y="6491095"/>
                <a:ext cx="1017626" cy="503430"/>
              </a:xfrm>
              <a:custGeom>
                <a:avLst/>
                <a:gdLst>
                  <a:gd name="T0" fmla="*/ 628 w 650"/>
                  <a:gd name="T1" fmla="*/ 323 h 323"/>
                  <a:gd name="T2" fmla="*/ 650 w 650"/>
                  <a:gd name="T3" fmla="*/ 251 h 323"/>
                  <a:gd name="T4" fmla="*/ 515 w 650"/>
                  <a:gd name="T5" fmla="*/ 117 h 323"/>
                  <a:gd name="T6" fmla="*/ 477 w 650"/>
                  <a:gd name="T7" fmla="*/ 122 h 323"/>
                  <a:gd name="T8" fmla="*/ 295 w 650"/>
                  <a:gd name="T9" fmla="*/ 0 h 323"/>
                  <a:gd name="T10" fmla="*/ 99 w 650"/>
                  <a:gd name="T11" fmla="*/ 184 h 323"/>
                  <a:gd name="T12" fmla="*/ 0 w 650"/>
                  <a:gd name="T13" fmla="*/ 285 h 323"/>
                  <a:gd name="T14" fmla="*/ 7 w 650"/>
                  <a:gd name="T15" fmla="*/ 323 h 323"/>
                  <a:gd name="T16" fmla="*/ 628 w 650"/>
                  <a:gd name="T17" fmla="*/ 323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0" h="323">
                    <a:moveTo>
                      <a:pt x="628" y="323"/>
                    </a:moveTo>
                    <a:cubicBezTo>
                      <a:pt x="642" y="302"/>
                      <a:pt x="650" y="277"/>
                      <a:pt x="650" y="251"/>
                    </a:cubicBezTo>
                    <a:cubicBezTo>
                      <a:pt x="650" y="176"/>
                      <a:pt x="589" y="117"/>
                      <a:pt x="515" y="117"/>
                    </a:cubicBezTo>
                    <a:cubicBezTo>
                      <a:pt x="502" y="117"/>
                      <a:pt x="489" y="119"/>
                      <a:pt x="477" y="122"/>
                    </a:cubicBezTo>
                    <a:cubicBezTo>
                      <a:pt x="448" y="50"/>
                      <a:pt x="377" y="0"/>
                      <a:pt x="295" y="0"/>
                    </a:cubicBezTo>
                    <a:cubicBezTo>
                      <a:pt x="191" y="0"/>
                      <a:pt x="105" y="81"/>
                      <a:pt x="99" y="184"/>
                    </a:cubicBezTo>
                    <a:cubicBezTo>
                      <a:pt x="44" y="185"/>
                      <a:pt x="0" y="230"/>
                      <a:pt x="0" y="285"/>
                    </a:cubicBezTo>
                    <a:cubicBezTo>
                      <a:pt x="0" y="298"/>
                      <a:pt x="1" y="311"/>
                      <a:pt x="7" y="323"/>
                    </a:cubicBezTo>
                    <a:lnTo>
                      <a:pt x="628" y="323"/>
                    </a:lnTo>
                    <a:close/>
                  </a:path>
                </a:pathLst>
              </a:custGeom>
              <a:ln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2" name="Rectangle 141">
                <a:extLst>
                  <a:ext uri="{FF2B5EF4-FFF2-40B4-BE49-F238E27FC236}">
                    <a16:creationId xmlns:a16="http://schemas.microsoft.com/office/drawing/2014/main" id="{8619C649-DF29-47CA-BA62-277EE015405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0840041" y="5481545"/>
                <a:ext cx="43074" cy="91532"/>
              </a:xfrm>
              <a:prstGeom prst="rect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3" name="Freeform 64">
                <a:extLst>
                  <a:ext uri="{FF2B5EF4-FFF2-40B4-BE49-F238E27FC236}">
                    <a16:creationId xmlns:a16="http://schemas.microsoft.com/office/drawing/2014/main" id="{B11BB5AF-AEC4-4E5B-8C20-307D6B498976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852992" y="5328094"/>
                <a:ext cx="729569" cy="231523"/>
              </a:xfrm>
              <a:custGeom>
                <a:avLst/>
                <a:gdLst>
                  <a:gd name="T0" fmla="*/ 271 w 271"/>
                  <a:gd name="T1" fmla="*/ 0 h 86"/>
                  <a:gd name="T2" fmla="*/ 0 w 271"/>
                  <a:gd name="T3" fmla="*/ 0 h 86"/>
                  <a:gd name="T4" fmla="*/ 17 w 271"/>
                  <a:gd name="T5" fmla="*/ 11 h 86"/>
                  <a:gd name="T6" fmla="*/ 132 w 271"/>
                  <a:gd name="T7" fmla="*/ 48 h 86"/>
                  <a:gd name="T8" fmla="*/ 133 w 271"/>
                  <a:gd name="T9" fmla="*/ 86 h 86"/>
                  <a:gd name="T10" fmla="*/ 240 w 271"/>
                  <a:gd name="T11" fmla="*/ 86 h 86"/>
                  <a:gd name="T12" fmla="*/ 240 w 271"/>
                  <a:gd name="T13" fmla="*/ 21 h 86"/>
                  <a:gd name="T14" fmla="*/ 271 w 271"/>
                  <a:gd name="T15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1" h="86">
                    <a:moveTo>
                      <a:pt x="271" y="0"/>
                    </a:moveTo>
                    <a:lnTo>
                      <a:pt x="0" y="0"/>
                    </a:lnTo>
                    <a:lnTo>
                      <a:pt x="17" y="11"/>
                    </a:lnTo>
                    <a:lnTo>
                      <a:pt x="132" y="48"/>
                    </a:lnTo>
                    <a:lnTo>
                      <a:pt x="133" y="86"/>
                    </a:lnTo>
                    <a:lnTo>
                      <a:pt x="240" y="86"/>
                    </a:lnTo>
                    <a:lnTo>
                      <a:pt x="240" y="21"/>
                    </a:lnTo>
                    <a:lnTo>
                      <a:pt x="271" y="0"/>
                    </a:lnTo>
                    <a:close/>
                  </a:path>
                </a:pathLst>
              </a:custGeom>
              <a:solidFill>
                <a:srgbClr val="BB91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4" name="Freeform 65">
                <a:extLst>
                  <a:ext uri="{FF2B5EF4-FFF2-40B4-BE49-F238E27FC236}">
                    <a16:creationId xmlns:a16="http://schemas.microsoft.com/office/drawing/2014/main" id="{3784137C-176C-47E7-B650-11F8B890428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7192201" y="5621536"/>
                <a:ext cx="328440" cy="508814"/>
              </a:xfrm>
              <a:custGeom>
                <a:avLst/>
                <a:gdLst>
                  <a:gd name="T0" fmla="*/ 209 w 209"/>
                  <a:gd name="T1" fmla="*/ 327 h 327"/>
                  <a:gd name="T2" fmla="*/ 209 w 209"/>
                  <a:gd name="T3" fmla="*/ 0 h 327"/>
                  <a:gd name="T4" fmla="*/ 0 w 209"/>
                  <a:gd name="T5" fmla="*/ 0 h 327"/>
                  <a:gd name="T6" fmla="*/ 0 w 209"/>
                  <a:gd name="T7" fmla="*/ 242 h 327"/>
                  <a:gd name="T8" fmla="*/ 209 w 209"/>
                  <a:gd name="T9" fmla="*/ 327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9" h="327">
                    <a:moveTo>
                      <a:pt x="209" y="327"/>
                    </a:moveTo>
                    <a:cubicBezTo>
                      <a:pt x="209" y="0"/>
                      <a:pt x="209" y="0"/>
                      <a:pt x="20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81" y="245"/>
                      <a:pt x="153" y="277"/>
                      <a:pt x="209" y="327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5" name="Rectangle 144">
                <a:extLst>
                  <a:ext uri="{FF2B5EF4-FFF2-40B4-BE49-F238E27FC236}">
                    <a16:creationId xmlns:a16="http://schemas.microsoft.com/office/drawing/2014/main" id="{0D38EAC0-58CB-4A84-86B2-65478C77C80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7202970" y="5559618"/>
                <a:ext cx="306903" cy="6192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6" name="Rectangle 145">
                <a:extLst>
                  <a:ext uri="{FF2B5EF4-FFF2-40B4-BE49-F238E27FC236}">
                    <a16:creationId xmlns:a16="http://schemas.microsoft.com/office/drawing/2014/main" id="{45C9CDC7-A0E7-4E5B-A976-24E477D1D5A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7943307" y="5048112"/>
                <a:ext cx="43074" cy="91532"/>
              </a:xfrm>
              <a:prstGeom prst="rect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7" name="Freeform 68">
                <a:extLst>
                  <a:ext uri="{FF2B5EF4-FFF2-40B4-BE49-F238E27FC236}">
                    <a16:creationId xmlns:a16="http://schemas.microsoft.com/office/drawing/2014/main" id="{267F83C6-AB3E-4FC1-9F3C-22AF66A351AD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7940614" y="5088494"/>
                <a:ext cx="1289532" cy="454971"/>
              </a:xfrm>
              <a:custGeom>
                <a:avLst/>
                <a:gdLst>
                  <a:gd name="T0" fmla="*/ 479 w 479"/>
                  <a:gd name="T1" fmla="*/ 169 h 169"/>
                  <a:gd name="T2" fmla="*/ 163 w 479"/>
                  <a:gd name="T3" fmla="*/ 169 h 169"/>
                  <a:gd name="T4" fmla="*/ 163 w 479"/>
                  <a:gd name="T5" fmla="*/ 5 h 169"/>
                  <a:gd name="T6" fmla="*/ 0 w 479"/>
                  <a:gd name="T7" fmla="*/ 5 h 169"/>
                  <a:gd name="T8" fmla="*/ 0 w 479"/>
                  <a:gd name="T9" fmla="*/ 0 h 169"/>
                  <a:gd name="T10" fmla="*/ 169 w 479"/>
                  <a:gd name="T11" fmla="*/ 0 h 169"/>
                  <a:gd name="T12" fmla="*/ 169 w 479"/>
                  <a:gd name="T13" fmla="*/ 165 h 169"/>
                  <a:gd name="T14" fmla="*/ 479 w 479"/>
                  <a:gd name="T15" fmla="*/ 165 h 169"/>
                  <a:gd name="T16" fmla="*/ 479 w 479"/>
                  <a:gd name="T17" fmla="*/ 169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9" h="169">
                    <a:moveTo>
                      <a:pt x="479" y="169"/>
                    </a:moveTo>
                    <a:lnTo>
                      <a:pt x="163" y="169"/>
                    </a:lnTo>
                    <a:lnTo>
                      <a:pt x="163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169" y="0"/>
                    </a:lnTo>
                    <a:lnTo>
                      <a:pt x="169" y="165"/>
                    </a:lnTo>
                    <a:lnTo>
                      <a:pt x="479" y="165"/>
                    </a:lnTo>
                    <a:lnTo>
                      <a:pt x="479" y="169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8" name="Freeform 69">
                <a:extLst>
                  <a:ext uri="{FF2B5EF4-FFF2-40B4-BE49-F238E27FC236}">
                    <a16:creationId xmlns:a16="http://schemas.microsoft.com/office/drawing/2014/main" id="{6841DFC7-8423-455D-A354-D4499C5760F9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215467" y="6227266"/>
                <a:ext cx="134607" cy="188449"/>
              </a:xfrm>
              <a:custGeom>
                <a:avLst/>
                <a:gdLst>
                  <a:gd name="T0" fmla="*/ 85 w 85"/>
                  <a:gd name="T1" fmla="*/ 86 h 121"/>
                  <a:gd name="T2" fmla="*/ 85 w 85"/>
                  <a:gd name="T3" fmla="*/ 0 h 121"/>
                  <a:gd name="T4" fmla="*/ 77 w 85"/>
                  <a:gd name="T5" fmla="*/ 2 h 121"/>
                  <a:gd name="T6" fmla="*/ 77 w 85"/>
                  <a:gd name="T7" fmla="*/ 98 h 121"/>
                  <a:gd name="T8" fmla="*/ 0 w 85"/>
                  <a:gd name="T9" fmla="*/ 98 h 121"/>
                  <a:gd name="T10" fmla="*/ 11 w 85"/>
                  <a:gd name="T11" fmla="*/ 105 h 121"/>
                  <a:gd name="T12" fmla="*/ 11 w 85"/>
                  <a:gd name="T13" fmla="*/ 121 h 121"/>
                  <a:gd name="T14" fmla="*/ 73 w 85"/>
                  <a:gd name="T15" fmla="*/ 121 h 121"/>
                  <a:gd name="T16" fmla="*/ 73 w 85"/>
                  <a:gd name="T17" fmla="*/ 105 h 121"/>
                  <a:gd name="T18" fmla="*/ 85 w 85"/>
                  <a:gd name="T19" fmla="*/ 86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5" h="121">
                    <a:moveTo>
                      <a:pt x="85" y="86"/>
                    </a:moveTo>
                    <a:cubicBezTo>
                      <a:pt x="85" y="0"/>
                      <a:pt x="85" y="0"/>
                      <a:pt x="85" y="0"/>
                    </a:cubicBezTo>
                    <a:cubicBezTo>
                      <a:pt x="82" y="0"/>
                      <a:pt x="79" y="1"/>
                      <a:pt x="77" y="2"/>
                    </a:cubicBezTo>
                    <a:cubicBezTo>
                      <a:pt x="77" y="98"/>
                      <a:pt x="77" y="98"/>
                      <a:pt x="77" y="98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3" y="102"/>
                      <a:pt x="7" y="104"/>
                      <a:pt x="11" y="105"/>
                    </a:cubicBezTo>
                    <a:cubicBezTo>
                      <a:pt x="11" y="121"/>
                      <a:pt x="11" y="121"/>
                      <a:pt x="11" y="121"/>
                    </a:cubicBezTo>
                    <a:cubicBezTo>
                      <a:pt x="73" y="121"/>
                      <a:pt x="73" y="121"/>
                      <a:pt x="73" y="121"/>
                    </a:cubicBezTo>
                    <a:cubicBezTo>
                      <a:pt x="73" y="105"/>
                      <a:pt x="73" y="105"/>
                      <a:pt x="73" y="105"/>
                    </a:cubicBezTo>
                    <a:lnTo>
                      <a:pt x="85" y="86"/>
                    </a:lnTo>
                    <a:close/>
                  </a:path>
                </a:pathLst>
              </a:custGeom>
              <a:solidFill>
                <a:srgbClr val="CE9C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9" name="Freeform 70">
                <a:extLst>
                  <a:ext uri="{FF2B5EF4-FFF2-40B4-BE49-F238E27FC236}">
                    <a16:creationId xmlns:a16="http://schemas.microsoft.com/office/drawing/2014/main" id="{3D55415C-470D-4FF5-83D1-EA4ACE60E17E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228926" y="6437253"/>
                <a:ext cx="110378" cy="250369"/>
              </a:xfrm>
              <a:custGeom>
                <a:avLst/>
                <a:gdLst>
                  <a:gd name="T0" fmla="*/ 72 w 72"/>
                  <a:gd name="T1" fmla="*/ 160 h 160"/>
                  <a:gd name="T2" fmla="*/ 72 w 72"/>
                  <a:gd name="T3" fmla="*/ 0 h 160"/>
                  <a:gd name="T4" fmla="*/ 0 w 72"/>
                  <a:gd name="T5" fmla="*/ 0 h 160"/>
                  <a:gd name="T6" fmla="*/ 0 w 72"/>
                  <a:gd name="T7" fmla="*/ 119 h 160"/>
                  <a:gd name="T8" fmla="*/ 72 w 72"/>
                  <a:gd name="T9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60">
                    <a:moveTo>
                      <a:pt x="72" y="160"/>
                    </a:moveTo>
                    <a:cubicBezTo>
                      <a:pt x="72" y="0"/>
                      <a:pt x="72" y="0"/>
                      <a:pt x="7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27" y="126"/>
                      <a:pt x="52" y="140"/>
                      <a:pt x="72" y="160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0" name="Rectangle 149">
                <a:extLst>
                  <a:ext uri="{FF2B5EF4-FFF2-40B4-BE49-F238E27FC236}">
                    <a16:creationId xmlns:a16="http://schemas.microsoft.com/office/drawing/2014/main" id="{2E7E8E7D-7365-4C57-88EF-833F732DAB1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0231619" y="6415716"/>
                <a:ext cx="104994" cy="2153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1" name="Freeform 72">
                <a:extLst>
                  <a:ext uri="{FF2B5EF4-FFF2-40B4-BE49-F238E27FC236}">
                    <a16:creationId xmlns:a16="http://schemas.microsoft.com/office/drawing/2014/main" id="{1F047912-F43E-4768-9CFA-7707BAE271A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916639" y="5287711"/>
                <a:ext cx="923402" cy="247676"/>
              </a:xfrm>
              <a:custGeom>
                <a:avLst/>
                <a:gdLst>
                  <a:gd name="T0" fmla="*/ 343 w 343"/>
                  <a:gd name="T1" fmla="*/ 92 h 92"/>
                  <a:gd name="T2" fmla="*/ 196 w 343"/>
                  <a:gd name="T3" fmla="*/ 92 h 92"/>
                  <a:gd name="T4" fmla="*/ 196 w 343"/>
                  <a:gd name="T5" fmla="*/ 5 h 92"/>
                  <a:gd name="T6" fmla="*/ 0 w 343"/>
                  <a:gd name="T7" fmla="*/ 5 h 92"/>
                  <a:gd name="T8" fmla="*/ 0 w 343"/>
                  <a:gd name="T9" fmla="*/ 0 h 92"/>
                  <a:gd name="T10" fmla="*/ 201 w 343"/>
                  <a:gd name="T11" fmla="*/ 0 h 92"/>
                  <a:gd name="T12" fmla="*/ 201 w 343"/>
                  <a:gd name="T13" fmla="*/ 87 h 92"/>
                  <a:gd name="T14" fmla="*/ 343 w 343"/>
                  <a:gd name="T15" fmla="*/ 87 h 92"/>
                  <a:gd name="T16" fmla="*/ 343 w 343"/>
                  <a:gd name="T17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3" h="92">
                    <a:moveTo>
                      <a:pt x="343" y="92"/>
                    </a:moveTo>
                    <a:lnTo>
                      <a:pt x="196" y="92"/>
                    </a:lnTo>
                    <a:lnTo>
                      <a:pt x="196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201" y="0"/>
                    </a:lnTo>
                    <a:lnTo>
                      <a:pt x="201" y="87"/>
                    </a:lnTo>
                    <a:lnTo>
                      <a:pt x="343" y="87"/>
                    </a:lnTo>
                    <a:lnTo>
                      <a:pt x="343" y="92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2" name="Freeform 73">
                <a:extLst>
                  <a:ext uri="{FF2B5EF4-FFF2-40B4-BE49-F238E27FC236}">
                    <a16:creationId xmlns:a16="http://schemas.microsoft.com/office/drawing/2014/main" id="{F2B98ABE-0FE0-4BAA-AD5E-1E2B373B12F6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623198" y="5565002"/>
                <a:ext cx="282675" cy="743029"/>
              </a:xfrm>
              <a:custGeom>
                <a:avLst/>
                <a:gdLst>
                  <a:gd name="T0" fmla="*/ 93 w 105"/>
                  <a:gd name="T1" fmla="*/ 276 h 276"/>
                  <a:gd name="T2" fmla="*/ 0 w 105"/>
                  <a:gd name="T3" fmla="*/ 276 h 276"/>
                  <a:gd name="T4" fmla="*/ 0 w 105"/>
                  <a:gd name="T5" fmla="*/ 0 h 276"/>
                  <a:gd name="T6" fmla="*/ 105 w 105"/>
                  <a:gd name="T7" fmla="*/ 0 h 276"/>
                  <a:gd name="T8" fmla="*/ 105 w 105"/>
                  <a:gd name="T9" fmla="*/ 6 h 276"/>
                  <a:gd name="T10" fmla="*/ 6 w 105"/>
                  <a:gd name="T11" fmla="*/ 6 h 276"/>
                  <a:gd name="T12" fmla="*/ 6 w 105"/>
                  <a:gd name="T13" fmla="*/ 271 h 276"/>
                  <a:gd name="T14" fmla="*/ 93 w 105"/>
                  <a:gd name="T15" fmla="*/ 271 h 276"/>
                  <a:gd name="T16" fmla="*/ 93 w 105"/>
                  <a:gd name="T17" fmla="*/ 276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5" h="276">
                    <a:moveTo>
                      <a:pt x="93" y="276"/>
                    </a:moveTo>
                    <a:lnTo>
                      <a:pt x="0" y="276"/>
                    </a:lnTo>
                    <a:lnTo>
                      <a:pt x="0" y="0"/>
                    </a:lnTo>
                    <a:lnTo>
                      <a:pt x="105" y="0"/>
                    </a:lnTo>
                    <a:lnTo>
                      <a:pt x="105" y="6"/>
                    </a:lnTo>
                    <a:lnTo>
                      <a:pt x="6" y="6"/>
                    </a:lnTo>
                    <a:lnTo>
                      <a:pt x="6" y="271"/>
                    </a:lnTo>
                    <a:lnTo>
                      <a:pt x="93" y="271"/>
                    </a:lnTo>
                    <a:lnTo>
                      <a:pt x="93" y="276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3" name="Rectangle 152">
                <a:extLst>
                  <a:ext uri="{FF2B5EF4-FFF2-40B4-BE49-F238E27FC236}">
                    <a16:creationId xmlns:a16="http://schemas.microsoft.com/office/drawing/2014/main" id="{39137D4B-843B-44CF-B572-0F6702D179B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46644" y="6273032"/>
                <a:ext cx="26921" cy="56536"/>
              </a:xfrm>
              <a:prstGeom prst="rect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4" name="Freeform 75">
                <a:extLst>
                  <a:ext uri="{FF2B5EF4-FFF2-40B4-BE49-F238E27FC236}">
                    <a16:creationId xmlns:a16="http://schemas.microsoft.com/office/drawing/2014/main" id="{925CBBF1-8534-4833-8ECD-56DFFB139E1A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883115" y="4951196"/>
                <a:ext cx="1076853" cy="734953"/>
              </a:xfrm>
              <a:custGeom>
                <a:avLst/>
                <a:gdLst>
                  <a:gd name="T0" fmla="*/ 400 w 400"/>
                  <a:gd name="T1" fmla="*/ 273 h 273"/>
                  <a:gd name="T2" fmla="*/ 400 w 400"/>
                  <a:gd name="T3" fmla="*/ 0 h 273"/>
                  <a:gd name="T4" fmla="*/ 201 w 400"/>
                  <a:gd name="T5" fmla="*/ 0 h 273"/>
                  <a:gd name="T6" fmla="*/ 0 w 400"/>
                  <a:gd name="T7" fmla="*/ 0 h 273"/>
                  <a:gd name="T8" fmla="*/ 0 w 400"/>
                  <a:gd name="T9" fmla="*/ 273 h 273"/>
                  <a:gd name="T10" fmla="*/ 201 w 400"/>
                  <a:gd name="T11" fmla="*/ 273 h 273"/>
                  <a:gd name="T12" fmla="*/ 400 w 400"/>
                  <a:gd name="T13" fmla="*/ 273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0" h="273">
                    <a:moveTo>
                      <a:pt x="400" y="273"/>
                    </a:moveTo>
                    <a:lnTo>
                      <a:pt x="400" y="0"/>
                    </a:lnTo>
                    <a:lnTo>
                      <a:pt x="201" y="0"/>
                    </a:lnTo>
                    <a:lnTo>
                      <a:pt x="0" y="0"/>
                    </a:lnTo>
                    <a:lnTo>
                      <a:pt x="0" y="273"/>
                    </a:lnTo>
                    <a:lnTo>
                      <a:pt x="201" y="273"/>
                    </a:lnTo>
                    <a:lnTo>
                      <a:pt x="400" y="273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5" name="Rectangle 154">
                <a:extLst>
                  <a:ext uri="{FF2B5EF4-FFF2-40B4-BE49-F238E27FC236}">
                    <a16:creationId xmlns:a16="http://schemas.microsoft.com/office/drawing/2014/main" id="{CE790602-2651-429C-B806-CDEEC255FA9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0939649" y="4991577"/>
                <a:ext cx="966476" cy="573425"/>
              </a:xfrm>
              <a:prstGeom prst="rect">
                <a:avLst/>
              </a:prstGeom>
              <a:solidFill>
                <a:srgbClr val="D048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156" name="Freeform 80">
                <a:extLst>
                  <a:ext uri="{FF2B5EF4-FFF2-40B4-BE49-F238E27FC236}">
                    <a16:creationId xmlns:a16="http://schemas.microsoft.com/office/drawing/2014/main" id="{8F662064-5E21-47F5-ACCE-0C1FC498F22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873565" y="6065739"/>
                <a:ext cx="463047" cy="314980"/>
              </a:xfrm>
              <a:custGeom>
                <a:avLst/>
                <a:gdLst>
                  <a:gd name="T0" fmla="*/ 172 w 172"/>
                  <a:gd name="T1" fmla="*/ 117 h 117"/>
                  <a:gd name="T2" fmla="*/ 172 w 172"/>
                  <a:gd name="T3" fmla="*/ 0 h 117"/>
                  <a:gd name="T4" fmla="*/ 86 w 172"/>
                  <a:gd name="T5" fmla="*/ 0 h 117"/>
                  <a:gd name="T6" fmla="*/ 0 w 172"/>
                  <a:gd name="T7" fmla="*/ 0 h 117"/>
                  <a:gd name="T8" fmla="*/ 0 w 172"/>
                  <a:gd name="T9" fmla="*/ 117 h 117"/>
                  <a:gd name="T10" fmla="*/ 86 w 172"/>
                  <a:gd name="T11" fmla="*/ 117 h 117"/>
                  <a:gd name="T12" fmla="*/ 172 w 172"/>
                  <a:gd name="T13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2" h="117">
                    <a:moveTo>
                      <a:pt x="172" y="117"/>
                    </a:moveTo>
                    <a:lnTo>
                      <a:pt x="172" y="0"/>
                    </a:lnTo>
                    <a:lnTo>
                      <a:pt x="86" y="0"/>
                    </a:lnTo>
                    <a:lnTo>
                      <a:pt x="0" y="0"/>
                    </a:lnTo>
                    <a:lnTo>
                      <a:pt x="0" y="117"/>
                    </a:lnTo>
                    <a:lnTo>
                      <a:pt x="86" y="117"/>
                    </a:lnTo>
                    <a:lnTo>
                      <a:pt x="172" y="117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7" name="Rectangle 156">
                <a:extLst>
                  <a:ext uri="{FF2B5EF4-FFF2-40B4-BE49-F238E27FC236}">
                    <a16:creationId xmlns:a16="http://schemas.microsoft.com/office/drawing/2014/main" id="{9C41563B-20E6-47BD-B20E-41270C17BEC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97795" y="6079198"/>
                <a:ext cx="414588" cy="250369"/>
              </a:xfrm>
              <a:prstGeom prst="rect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8" name="Freeform 83">
                <a:extLst>
                  <a:ext uri="{FF2B5EF4-FFF2-40B4-BE49-F238E27FC236}">
                    <a16:creationId xmlns:a16="http://schemas.microsoft.com/office/drawing/2014/main" id="{9AB1EA48-8DCA-4E2B-A250-ACC531B9D86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624162" y="5271559"/>
                <a:ext cx="1523747" cy="56536"/>
              </a:xfrm>
              <a:custGeom>
                <a:avLst/>
                <a:gdLst>
                  <a:gd name="T0" fmla="*/ 0 w 973"/>
                  <a:gd name="T1" fmla="*/ 0 h 35"/>
                  <a:gd name="T2" fmla="*/ 75 w 973"/>
                  <a:gd name="T3" fmla="*/ 35 h 35"/>
                  <a:gd name="T4" fmla="*/ 897 w 973"/>
                  <a:gd name="T5" fmla="*/ 35 h 35"/>
                  <a:gd name="T6" fmla="*/ 973 w 973"/>
                  <a:gd name="T7" fmla="*/ 0 h 35"/>
                  <a:gd name="T8" fmla="*/ 0 w 973"/>
                  <a:gd name="T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3" h="35">
                    <a:moveTo>
                      <a:pt x="0" y="0"/>
                    </a:moveTo>
                    <a:cubicBezTo>
                      <a:pt x="0" y="3"/>
                      <a:pt x="2" y="35"/>
                      <a:pt x="75" y="35"/>
                    </a:cubicBezTo>
                    <a:cubicBezTo>
                      <a:pt x="897" y="35"/>
                      <a:pt x="897" y="35"/>
                      <a:pt x="897" y="35"/>
                    </a:cubicBezTo>
                    <a:cubicBezTo>
                      <a:pt x="897" y="35"/>
                      <a:pt x="973" y="35"/>
                      <a:pt x="97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9" name="Freeform 84">
                <a:extLst>
                  <a:ext uri="{FF2B5EF4-FFF2-40B4-BE49-F238E27FC236}">
                    <a16:creationId xmlns:a16="http://schemas.microsoft.com/office/drawing/2014/main" id="{D51E83CC-0A05-430A-994B-549A2F9C3F6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931065" y="4480072"/>
                <a:ext cx="1012242" cy="756489"/>
              </a:xfrm>
              <a:custGeom>
                <a:avLst/>
                <a:gdLst>
                  <a:gd name="T0" fmla="*/ 60 w 710"/>
                  <a:gd name="T1" fmla="*/ 0 h 515"/>
                  <a:gd name="T2" fmla="*/ 0 w 710"/>
                  <a:gd name="T3" fmla="*/ 60 h 515"/>
                  <a:gd name="T4" fmla="*/ 0 w 710"/>
                  <a:gd name="T5" fmla="*/ 515 h 515"/>
                  <a:gd name="T6" fmla="*/ 60 w 710"/>
                  <a:gd name="T7" fmla="*/ 513 h 515"/>
                  <a:gd name="T8" fmla="*/ 648 w 710"/>
                  <a:gd name="T9" fmla="*/ 513 h 515"/>
                  <a:gd name="T10" fmla="*/ 710 w 710"/>
                  <a:gd name="T11" fmla="*/ 515 h 515"/>
                  <a:gd name="T12" fmla="*/ 710 w 710"/>
                  <a:gd name="T13" fmla="*/ 60 h 515"/>
                  <a:gd name="T14" fmla="*/ 648 w 710"/>
                  <a:gd name="T15" fmla="*/ 0 h 515"/>
                  <a:gd name="T16" fmla="*/ 92 w 710"/>
                  <a:gd name="T17" fmla="*/ 0 h 515"/>
                  <a:gd name="T18" fmla="*/ 60 w 710"/>
                  <a:gd name="T19" fmla="*/ 0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10" h="515">
                    <a:moveTo>
                      <a:pt x="60" y="0"/>
                    </a:moveTo>
                    <a:cubicBezTo>
                      <a:pt x="60" y="0"/>
                      <a:pt x="0" y="0"/>
                      <a:pt x="0" y="60"/>
                    </a:cubicBezTo>
                    <a:cubicBezTo>
                      <a:pt x="0" y="515"/>
                      <a:pt x="0" y="515"/>
                      <a:pt x="0" y="515"/>
                    </a:cubicBezTo>
                    <a:cubicBezTo>
                      <a:pt x="60" y="513"/>
                      <a:pt x="60" y="513"/>
                      <a:pt x="60" y="513"/>
                    </a:cubicBezTo>
                    <a:cubicBezTo>
                      <a:pt x="648" y="513"/>
                      <a:pt x="648" y="513"/>
                      <a:pt x="648" y="513"/>
                    </a:cubicBezTo>
                    <a:cubicBezTo>
                      <a:pt x="710" y="515"/>
                      <a:pt x="710" y="515"/>
                      <a:pt x="710" y="515"/>
                    </a:cubicBezTo>
                    <a:cubicBezTo>
                      <a:pt x="710" y="60"/>
                      <a:pt x="710" y="60"/>
                      <a:pt x="710" y="60"/>
                    </a:cubicBezTo>
                    <a:cubicBezTo>
                      <a:pt x="710" y="60"/>
                      <a:pt x="710" y="0"/>
                      <a:pt x="648" y="0"/>
                    </a:cubicBezTo>
                    <a:cubicBezTo>
                      <a:pt x="92" y="0"/>
                      <a:pt x="92" y="0"/>
                      <a:pt x="92" y="0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160" name="Freeform 85">
                <a:extLst>
                  <a:ext uri="{FF2B5EF4-FFF2-40B4-BE49-F238E27FC236}">
                    <a16:creationId xmlns:a16="http://schemas.microsoft.com/office/drawing/2014/main" id="{D1796824-B340-474C-AAAA-336B554B94A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7016288" y="4545006"/>
                <a:ext cx="854330" cy="670017"/>
              </a:xfrm>
              <a:custGeom>
                <a:avLst/>
                <a:gdLst>
                  <a:gd name="T0" fmla="*/ 55 w 646"/>
                  <a:gd name="T1" fmla="*/ 0 h 466"/>
                  <a:gd name="T2" fmla="*/ 0 w 646"/>
                  <a:gd name="T3" fmla="*/ 55 h 466"/>
                  <a:gd name="T4" fmla="*/ 0 w 646"/>
                  <a:gd name="T5" fmla="*/ 411 h 466"/>
                  <a:gd name="T6" fmla="*/ 55 w 646"/>
                  <a:gd name="T7" fmla="*/ 466 h 466"/>
                  <a:gd name="T8" fmla="*/ 590 w 646"/>
                  <a:gd name="T9" fmla="*/ 466 h 466"/>
                  <a:gd name="T10" fmla="*/ 646 w 646"/>
                  <a:gd name="T11" fmla="*/ 411 h 466"/>
                  <a:gd name="T12" fmla="*/ 646 w 646"/>
                  <a:gd name="T13" fmla="*/ 55 h 466"/>
                  <a:gd name="T14" fmla="*/ 590 w 646"/>
                  <a:gd name="T15" fmla="*/ 0 h 466"/>
                  <a:gd name="T16" fmla="*/ 220 w 646"/>
                  <a:gd name="T17" fmla="*/ 0 h 466"/>
                  <a:gd name="T18" fmla="*/ 55 w 646"/>
                  <a:gd name="T19" fmla="*/ 0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6" h="466">
                    <a:moveTo>
                      <a:pt x="55" y="0"/>
                    </a:moveTo>
                    <a:cubicBezTo>
                      <a:pt x="55" y="0"/>
                      <a:pt x="0" y="0"/>
                      <a:pt x="0" y="55"/>
                    </a:cubicBezTo>
                    <a:cubicBezTo>
                      <a:pt x="0" y="411"/>
                      <a:pt x="0" y="411"/>
                      <a:pt x="0" y="411"/>
                    </a:cubicBezTo>
                    <a:cubicBezTo>
                      <a:pt x="0" y="411"/>
                      <a:pt x="0" y="466"/>
                      <a:pt x="55" y="466"/>
                    </a:cubicBezTo>
                    <a:cubicBezTo>
                      <a:pt x="590" y="466"/>
                      <a:pt x="590" y="466"/>
                      <a:pt x="590" y="466"/>
                    </a:cubicBezTo>
                    <a:cubicBezTo>
                      <a:pt x="590" y="466"/>
                      <a:pt x="646" y="466"/>
                      <a:pt x="646" y="411"/>
                    </a:cubicBezTo>
                    <a:cubicBezTo>
                      <a:pt x="646" y="55"/>
                      <a:pt x="646" y="55"/>
                      <a:pt x="646" y="55"/>
                    </a:cubicBezTo>
                    <a:cubicBezTo>
                      <a:pt x="646" y="55"/>
                      <a:pt x="646" y="0"/>
                      <a:pt x="590" y="0"/>
                    </a:cubicBezTo>
                    <a:cubicBezTo>
                      <a:pt x="220" y="0"/>
                      <a:pt x="220" y="0"/>
                      <a:pt x="220" y="0"/>
                    </a:cubicBezTo>
                    <a:lnTo>
                      <a:pt x="55" y="0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161" name="Freeform 86">
                <a:extLst>
                  <a:ext uri="{FF2B5EF4-FFF2-40B4-BE49-F238E27FC236}">
                    <a16:creationId xmlns:a16="http://schemas.microsoft.com/office/drawing/2014/main" id="{312BE5FF-B9D5-4217-8154-0AC572F971B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624162" y="5233869"/>
                <a:ext cx="1523747" cy="37690"/>
              </a:xfrm>
              <a:custGeom>
                <a:avLst/>
                <a:gdLst>
                  <a:gd name="T0" fmla="*/ 76 w 566"/>
                  <a:gd name="T1" fmla="*/ 0 h 14"/>
                  <a:gd name="T2" fmla="*/ 0 w 566"/>
                  <a:gd name="T3" fmla="*/ 14 h 14"/>
                  <a:gd name="T4" fmla="*/ 566 w 566"/>
                  <a:gd name="T5" fmla="*/ 14 h 14"/>
                  <a:gd name="T6" fmla="*/ 490 w 566"/>
                  <a:gd name="T7" fmla="*/ 0 h 14"/>
                  <a:gd name="T8" fmla="*/ 76 w 566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6" h="14">
                    <a:moveTo>
                      <a:pt x="76" y="0"/>
                    </a:moveTo>
                    <a:lnTo>
                      <a:pt x="0" y="14"/>
                    </a:lnTo>
                    <a:lnTo>
                      <a:pt x="566" y="14"/>
                    </a:lnTo>
                    <a:lnTo>
                      <a:pt x="490" y="0"/>
                    </a:lnTo>
                    <a:lnTo>
                      <a:pt x="76" y="0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</p:grpSp>
        <p:pic>
          <p:nvPicPr>
            <p:cNvPr id="85" name="Picture 84">
              <a:extLst>
                <a:ext uri="{FF2B5EF4-FFF2-40B4-BE49-F238E27FC236}">
                  <a16:creationId xmlns:a16="http://schemas.microsoft.com/office/drawing/2014/main" id="{3EA2E3AC-7B91-411E-BF36-183C548B844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6220" y="4568432"/>
              <a:ext cx="736358" cy="613092"/>
            </a:xfrm>
            <a:prstGeom prst="rect">
              <a:avLst/>
            </a:prstGeom>
          </p:spPr>
        </p:pic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448FCCB0-5E9B-4A54-AD6C-FD1E6399957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36377" y="5038107"/>
              <a:ext cx="604035" cy="502920"/>
            </a:xfrm>
            <a:prstGeom prst="rect">
              <a:avLst/>
            </a:prstGeom>
          </p:spPr>
        </p:pic>
        <p:pic>
          <p:nvPicPr>
            <p:cNvPr id="87" name="Picture 86">
              <a:extLst>
                <a:ext uri="{FF2B5EF4-FFF2-40B4-BE49-F238E27FC236}">
                  <a16:creationId xmlns:a16="http://schemas.microsoft.com/office/drawing/2014/main" id="{D99B6305-862C-430C-93B5-33B5D5CBB32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0500" y="6106350"/>
              <a:ext cx="252597" cy="2103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93415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bg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C60D3D10-9A75-4B8C-9E60-B5FE137332AF}"/>
              </a:ext>
            </a:extLst>
          </p:cNvPr>
          <p:cNvGrpSpPr/>
          <p:nvPr userDrawn="1"/>
        </p:nvGrpSpPr>
        <p:grpSpPr>
          <a:xfrm>
            <a:off x="5468357" y="4139517"/>
            <a:ext cx="6723644" cy="2716134"/>
            <a:chOff x="5789470" y="4224320"/>
            <a:chExt cx="6858467" cy="2770205"/>
          </a:xfrm>
        </p:grpSpPr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F0817D12-3B57-4345-9AD5-7A39B0BE088C}"/>
                </a:ext>
              </a:extLst>
            </p:cNvPr>
            <p:cNvGrpSpPr>
              <a:grpSpLocks noChangeAspect="1"/>
            </p:cNvGrpSpPr>
            <p:nvPr userDrawn="1"/>
          </p:nvGrpSpPr>
          <p:grpSpPr bwMode="gray">
            <a:xfrm>
              <a:off x="5789470" y="4224320"/>
              <a:ext cx="6858467" cy="2770205"/>
              <a:chOff x="5788926" y="4224320"/>
              <a:chExt cx="6858467" cy="2770205"/>
            </a:xfrm>
          </p:grpSpPr>
          <p:sp>
            <p:nvSpPr>
              <p:cNvPr id="166" name="Freeform: Shape 165">
                <a:extLst>
                  <a:ext uri="{FF2B5EF4-FFF2-40B4-BE49-F238E27FC236}">
                    <a16:creationId xmlns:a16="http://schemas.microsoft.com/office/drawing/2014/main" id="{3A8A2184-8FAA-45A2-8FC0-02AE0A775439}"/>
                  </a:ext>
                </a:extLst>
              </p:cNvPr>
              <p:cNvSpPr/>
              <p:nvPr userDrawn="1"/>
            </p:nvSpPr>
            <p:spPr bwMode="gray">
              <a:xfrm>
                <a:off x="5788926" y="5758835"/>
                <a:ext cx="2577047" cy="1235690"/>
              </a:xfrm>
              <a:custGeom>
                <a:avLst/>
                <a:gdLst>
                  <a:gd name="connsiteX0" fmla="*/ 1214715 w 2577047"/>
                  <a:gd name="connsiteY0" fmla="*/ 0 h 1235690"/>
                  <a:gd name="connsiteX1" fmla="*/ 1914672 w 2577047"/>
                  <a:gd name="connsiteY1" fmla="*/ 468064 h 1235690"/>
                  <a:gd name="connsiteX2" fmla="*/ 2060300 w 2577047"/>
                  <a:gd name="connsiteY2" fmla="*/ 446221 h 1235690"/>
                  <a:gd name="connsiteX3" fmla="*/ 2577047 w 2577047"/>
                  <a:gd name="connsiteY3" fmla="*/ 957972 h 1235690"/>
                  <a:gd name="connsiteX4" fmla="*/ 2495620 w 2577047"/>
                  <a:gd name="connsiteY4" fmla="*/ 1235690 h 1235690"/>
                  <a:gd name="connsiteX5" fmla="*/ 1889591 w 2577047"/>
                  <a:gd name="connsiteY5" fmla="*/ 1235690 h 1235690"/>
                  <a:gd name="connsiteX6" fmla="*/ 1799319 w 2577047"/>
                  <a:gd name="connsiteY6" fmla="*/ 1235690 h 1235690"/>
                  <a:gd name="connsiteX7" fmla="*/ 31390 w 2577047"/>
                  <a:gd name="connsiteY7" fmla="*/ 1235690 h 1235690"/>
                  <a:gd name="connsiteX8" fmla="*/ 9264 w 2577047"/>
                  <a:gd name="connsiteY8" fmla="*/ 1164413 h 1235690"/>
                  <a:gd name="connsiteX9" fmla="*/ 0 w 2577047"/>
                  <a:gd name="connsiteY9" fmla="*/ 1072517 h 1235690"/>
                  <a:gd name="connsiteX10" fmla="*/ 455981 w 2577047"/>
                  <a:gd name="connsiteY10" fmla="*/ 616536 h 1235690"/>
                  <a:gd name="connsiteX11" fmla="*/ 459500 w 2577047"/>
                  <a:gd name="connsiteY11" fmla="*/ 616891 h 1235690"/>
                  <a:gd name="connsiteX12" fmla="*/ 459640 w 2577047"/>
                  <a:gd name="connsiteY12" fmla="*/ 615506 h 1235690"/>
                  <a:gd name="connsiteX13" fmla="*/ 720719 w 2577047"/>
                  <a:gd name="connsiteY13" fmla="*/ 182302 h 1235690"/>
                  <a:gd name="connsiteX14" fmla="*/ 739060 w 2577047"/>
                  <a:gd name="connsiteY14" fmla="*/ 169592 h 1235690"/>
                  <a:gd name="connsiteX15" fmla="*/ 747661 w 2577047"/>
                  <a:gd name="connsiteY15" fmla="*/ 161263 h 1235690"/>
                  <a:gd name="connsiteX16" fmla="*/ 1214715 w 2577047"/>
                  <a:gd name="connsiteY16" fmla="*/ 0 h 123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577047" h="1235690">
                    <a:moveTo>
                      <a:pt x="1214715" y="0"/>
                    </a:moveTo>
                    <a:cubicBezTo>
                      <a:pt x="1532592" y="0"/>
                      <a:pt x="1803493" y="191906"/>
                      <a:pt x="1914672" y="468064"/>
                    </a:cubicBezTo>
                    <a:cubicBezTo>
                      <a:pt x="1961649" y="454022"/>
                      <a:pt x="2010192" y="446221"/>
                      <a:pt x="2060300" y="446221"/>
                    </a:cubicBezTo>
                    <a:cubicBezTo>
                      <a:pt x="2346860" y="446221"/>
                      <a:pt x="2577047" y="675573"/>
                      <a:pt x="2577047" y="957972"/>
                    </a:cubicBezTo>
                    <a:cubicBezTo>
                      <a:pt x="2577047" y="1060946"/>
                      <a:pt x="2547295" y="1156119"/>
                      <a:pt x="2495620" y="1235690"/>
                    </a:cubicBezTo>
                    <a:cubicBezTo>
                      <a:pt x="2495620" y="1235690"/>
                      <a:pt x="2495620" y="1235690"/>
                      <a:pt x="1889591" y="1235690"/>
                    </a:cubicBezTo>
                    <a:lnTo>
                      <a:pt x="1799319" y="1235690"/>
                    </a:lnTo>
                    <a:lnTo>
                      <a:pt x="31390" y="1235690"/>
                    </a:lnTo>
                    <a:lnTo>
                      <a:pt x="9264" y="1164413"/>
                    </a:lnTo>
                    <a:cubicBezTo>
                      <a:pt x="3190" y="1134730"/>
                      <a:pt x="0" y="1103996"/>
                      <a:pt x="0" y="1072517"/>
                    </a:cubicBezTo>
                    <a:cubicBezTo>
                      <a:pt x="0" y="820686"/>
                      <a:pt x="204150" y="616536"/>
                      <a:pt x="455981" y="616536"/>
                    </a:cubicBezTo>
                    <a:lnTo>
                      <a:pt x="459500" y="616891"/>
                    </a:lnTo>
                    <a:lnTo>
                      <a:pt x="459640" y="615506"/>
                    </a:lnTo>
                    <a:cubicBezTo>
                      <a:pt x="495067" y="442379"/>
                      <a:pt x="589371" y="290700"/>
                      <a:pt x="720719" y="182302"/>
                    </a:cubicBezTo>
                    <a:lnTo>
                      <a:pt x="739060" y="169592"/>
                    </a:lnTo>
                    <a:lnTo>
                      <a:pt x="747661" y="161263"/>
                    </a:lnTo>
                    <a:cubicBezTo>
                      <a:pt x="876480" y="60556"/>
                      <a:pt x="1038551" y="0"/>
                      <a:pt x="1214715" y="0"/>
                    </a:cubicBezTo>
                    <a:close/>
                  </a:path>
                </a:pathLst>
              </a:cu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67" name="Freeform 6">
                <a:extLst>
                  <a:ext uri="{FF2B5EF4-FFF2-40B4-BE49-F238E27FC236}">
                    <a16:creationId xmlns:a16="http://schemas.microsoft.com/office/drawing/2014/main" id="{67CED8AF-DC4B-440A-8329-50612FC3BEB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422506" y="4305084"/>
                <a:ext cx="2008331" cy="1846803"/>
              </a:xfrm>
              <a:custGeom>
                <a:avLst/>
                <a:gdLst>
                  <a:gd name="T0" fmla="*/ 948 w 1281"/>
                  <a:gd name="T1" fmla="*/ 6 h 1185"/>
                  <a:gd name="T2" fmla="*/ 641 w 1281"/>
                  <a:gd name="T3" fmla="*/ 168 h 1185"/>
                  <a:gd name="T4" fmla="*/ 333 w 1281"/>
                  <a:gd name="T5" fmla="*/ 6 h 1185"/>
                  <a:gd name="T6" fmla="*/ 10 w 1281"/>
                  <a:gd name="T7" fmla="*/ 362 h 1185"/>
                  <a:gd name="T8" fmla="*/ 641 w 1281"/>
                  <a:gd name="T9" fmla="*/ 1185 h 1185"/>
                  <a:gd name="T10" fmla="*/ 641 w 1281"/>
                  <a:gd name="T11" fmla="*/ 1184 h 1185"/>
                  <a:gd name="T12" fmla="*/ 641 w 1281"/>
                  <a:gd name="T13" fmla="*/ 1185 h 1185"/>
                  <a:gd name="T14" fmla="*/ 1272 w 1281"/>
                  <a:gd name="T15" fmla="*/ 361 h 1185"/>
                  <a:gd name="T16" fmla="*/ 948 w 1281"/>
                  <a:gd name="T17" fmla="*/ 6 h 1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81" h="1185">
                    <a:moveTo>
                      <a:pt x="948" y="6"/>
                    </a:moveTo>
                    <a:cubicBezTo>
                      <a:pt x="820" y="0"/>
                      <a:pt x="703" y="65"/>
                      <a:pt x="641" y="168"/>
                    </a:cubicBezTo>
                    <a:cubicBezTo>
                      <a:pt x="578" y="65"/>
                      <a:pt x="461" y="0"/>
                      <a:pt x="333" y="6"/>
                    </a:cubicBezTo>
                    <a:cubicBezTo>
                      <a:pt x="144" y="15"/>
                      <a:pt x="0" y="175"/>
                      <a:pt x="10" y="362"/>
                    </a:cubicBezTo>
                    <a:cubicBezTo>
                      <a:pt x="19" y="548"/>
                      <a:pt x="641" y="1185"/>
                      <a:pt x="641" y="1185"/>
                    </a:cubicBezTo>
                    <a:cubicBezTo>
                      <a:pt x="641" y="1185"/>
                      <a:pt x="641" y="1185"/>
                      <a:pt x="641" y="1184"/>
                    </a:cubicBezTo>
                    <a:cubicBezTo>
                      <a:pt x="641" y="1185"/>
                      <a:pt x="641" y="1185"/>
                      <a:pt x="641" y="1185"/>
                    </a:cubicBezTo>
                    <a:cubicBezTo>
                      <a:pt x="641" y="1185"/>
                      <a:pt x="1263" y="548"/>
                      <a:pt x="1272" y="361"/>
                    </a:cubicBezTo>
                    <a:cubicBezTo>
                      <a:pt x="1281" y="174"/>
                      <a:pt x="1137" y="15"/>
                      <a:pt x="948" y="6"/>
                    </a:cubicBezTo>
                    <a:close/>
                  </a:path>
                </a:pathLst>
              </a:custGeom>
              <a:solidFill>
                <a:srgbClr val="3393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C4810A1F-57C2-4CF5-B3E3-E1E3EE1B73A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601660" y="4515070"/>
                <a:ext cx="573425" cy="1445676"/>
              </a:xfrm>
              <a:prstGeom prst="rect">
                <a:avLst/>
              </a:pr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69" name="Rectangle 168">
                <a:extLst>
                  <a:ext uri="{FF2B5EF4-FFF2-40B4-BE49-F238E27FC236}">
                    <a16:creationId xmlns:a16="http://schemas.microsoft.com/office/drawing/2014/main" id="{CCF8047C-BC37-4DEA-9D4A-6D8E0997C1E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640568" y="4224320"/>
                <a:ext cx="576116" cy="1445676"/>
              </a:xfrm>
              <a:prstGeom prst="rect">
                <a:avLst/>
              </a:pr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DCE834DE-0750-4647-9284-3709CE7E36A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771264" y="4698135"/>
                <a:ext cx="573425" cy="1445676"/>
              </a:xfrm>
              <a:prstGeom prst="rect">
                <a:avLst/>
              </a:pr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975987D4-847D-4976-A4B8-AA1A8B6AF72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351291" y="4843510"/>
                <a:ext cx="320365" cy="1397218"/>
              </a:xfrm>
              <a:prstGeom prst="rect">
                <a:avLst/>
              </a:pr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48FBA96B-499E-4B00-B065-B04FF7AF5F9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505962" y="4708904"/>
                <a:ext cx="309596" cy="1292224"/>
              </a:xfrm>
              <a:prstGeom prst="rect">
                <a:avLst/>
              </a:pr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73" name="Rectangle 172">
                <a:extLst>
                  <a:ext uri="{FF2B5EF4-FFF2-40B4-BE49-F238E27FC236}">
                    <a16:creationId xmlns:a16="http://schemas.microsoft.com/office/drawing/2014/main" id="{AF825427-953E-4BD8-99CB-DFC8DB66F3A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780559" y="4576988"/>
                <a:ext cx="570732" cy="1518363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74" name="Freeform 13">
                <a:extLst>
                  <a:ext uri="{FF2B5EF4-FFF2-40B4-BE49-F238E27FC236}">
                    <a16:creationId xmlns:a16="http://schemas.microsoft.com/office/drawing/2014/main" id="{18E83000-8A18-4E78-AD35-2772B62DE13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4665830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2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2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2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2"/>
                      <a:pt x="286" y="22"/>
                      <a:pt x="286" y="22"/>
                    </a:cubicBezTo>
                    <a:cubicBezTo>
                      <a:pt x="286" y="22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75" name="Freeform 14">
                <a:extLst>
                  <a:ext uri="{FF2B5EF4-FFF2-40B4-BE49-F238E27FC236}">
                    <a16:creationId xmlns:a16="http://schemas.microsoft.com/office/drawing/2014/main" id="{4DB6BA67-C947-415B-AC2E-1E776BC017A6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4805821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76" name="Freeform 15">
                <a:extLst>
                  <a:ext uri="{FF2B5EF4-FFF2-40B4-BE49-F238E27FC236}">
                    <a16:creationId xmlns:a16="http://schemas.microsoft.com/office/drawing/2014/main" id="{0CC44CBF-B95D-4C33-B48B-4F18C5EA2AED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4943118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4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4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4"/>
                      <a:pt x="286" y="24"/>
                      <a:pt x="286" y="24"/>
                    </a:cubicBezTo>
                    <a:cubicBezTo>
                      <a:pt x="286" y="24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77" name="Freeform 16">
                <a:extLst>
                  <a:ext uri="{FF2B5EF4-FFF2-40B4-BE49-F238E27FC236}">
                    <a16:creationId xmlns:a16="http://schemas.microsoft.com/office/drawing/2014/main" id="{55DB8711-DC5E-470A-9D33-353406A8AF7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080418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78" name="Freeform 17">
                <a:extLst>
                  <a:ext uri="{FF2B5EF4-FFF2-40B4-BE49-F238E27FC236}">
                    <a16:creationId xmlns:a16="http://schemas.microsoft.com/office/drawing/2014/main" id="{2F8A780B-353A-426C-9F5D-A1FA6888D6A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220409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79" name="Freeform 18">
                <a:extLst>
                  <a:ext uri="{FF2B5EF4-FFF2-40B4-BE49-F238E27FC236}">
                    <a16:creationId xmlns:a16="http://schemas.microsoft.com/office/drawing/2014/main" id="{B4B4E25D-7E1D-4448-94E7-01F444266F6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357707"/>
                <a:ext cx="446894" cy="78073"/>
              </a:xfrm>
              <a:custGeom>
                <a:avLst/>
                <a:gdLst>
                  <a:gd name="T0" fmla="*/ 24 w 286"/>
                  <a:gd name="T1" fmla="*/ 0 h 51"/>
                  <a:gd name="T2" fmla="*/ 0 w 286"/>
                  <a:gd name="T3" fmla="*/ 24 h 51"/>
                  <a:gd name="T4" fmla="*/ 0 w 286"/>
                  <a:gd name="T5" fmla="*/ 28 h 51"/>
                  <a:gd name="T6" fmla="*/ 24 w 286"/>
                  <a:gd name="T7" fmla="*/ 51 h 51"/>
                  <a:gd name="T8" fmla="*/ 262 w 286"/>
                  <a:gd name="T9" fmla="*/ 51 h 51"/>
                  <a:gd name="T10" fmla="*/ 286 w 286"/>
                  <a:gd name="T11" fmla="*/ 28 h 51"/>
                  <a:gd name="T12" fmla="*/ 286 w 286"/>
                  <a:gd name="T13" fmla="*/ 24 h 51"/>
                  <a:gd name="T14" fmla="*/ 262 w 286"/>
                  <a:gd name="T15" fmla="*/ 0 h 51"/>
                  <a:gd name="T16" fmla="*/ 152 w 286"/>
                  <a:gd name="T17" fmla="*/ 0 h 51"/>
                  <a:gd name="T18" fmla="*/ 24 w 286"/>
                  <a:gd name="T1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1">
                    <a:moveTo>
                      <a:pt x="24" y="0"/>
                    </a:moveTo>
                    <a:cubicBezTo>
                      <a:pt x="24" y="0"/>
                      <a:pt x="0" y="0"/>
                      <a:pt x="0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1"/>
                      <a:pt x="24" y="51"/>
                    </a:cubicBezTo>
                    <a:cubicBezTo>
                      <a:pt x="262" y="51"/>
                      <a:pt x="262" y="51"/>
                      <a:pt x="262" y="51"/>
                    </a:cubicBezTo>
                    <a:cubicBezTo>
                      <a:pt x="262" y="51"/>
                      <a:pt x="286" y="51"/>
                      <a:pt x="286" y="28"/>
                    </a:cubicBezTo>
                    <a:cubicBezTo>
                      <a:pt x="286" y="24"/>
                      <a:pt x="286" y="24"/>
                      <a:pt x="286" y="24"/>
                    </a:cubicBezTo>
                    <a:cubicBezTo>
                      <a:pt x="286" y="24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80" name="Freeform 19">
                <a:extLst>
                  <a:ext uri="{FF2B5EF4-FFF2-40B4-BE49-F238E27FC236}">
                    <a16:creationId xmlns:a16="http://schemas.microsoft.com/office/drawing/2014/main" id="{58A1A564-5AD0-4A5C-97EA-C780AFFCF35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495006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81" name="Freeform 20">
                <a:extLst>
                  <a:ext uri="{FF2B5EF4-FFF2-40B4-BE49-F238E27FC236}">
                    <a16:creationId xmlns:a16="http://schemas.microsoft.com/office/drawing/2014/main" id="{F73F75F2-C76F-4137-83F8-71878194DDA6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634997"/>
                <a:ext cx="446894" cy="78073"/>
              </a:xfrm>
              <a:custGeom>
                <a:avLst/>
                <a:gdLst>
                  <a:gd name="T0" fmla="*/ 24 w 286"/>
                  <a:gd name="T1" fmla="*/ 0 h 51"/>
                  <a:gd name="T2" fmla="*/ 0 w 286"/>
                  <a:gd name="T3" fmla="*/ 23 h 51"/>
                  <a:gd name="T4" fmla="*/ 0 w 286"/>
                  <a:gd name="T5" fmla="*/ 27 h 51"/>
                  <a:gd name="T6" fmla="*/ 24 w 286"/>
                  <a:gd name="T7" fmla="*/ 51 h 51"/>
                  <a:gd name="T8" fmla="*/ 262 w 286"/>
                  <a:gd name="T9" fmla="*/ 51 h 51"/>
                  <a:gd name="T10" fmla="*/ 286 w 286"/>
                  <a:gd name="T11" fmla="*/ 27 h 51"/>
                  <a:gd name="T12" fmla="*/ 286 w 286"/>
                  <a:gd name="T13" fmla="*/ 23 h 51"/>
                  <a:gd name="T14" fmla="*/ 262 w 286"/>
                  <a:gd name="T15" fmla="*/ 0 h 51"/>
                  <a:gd name="T16" fmla="*/ 152 w 286"/>
                  <a:gd name="T17" fmla="*/ 0 h 51"/>
                  <a:gd name="T18" fmla="*/ 24 w 286"/>
                  <a:gd name="T1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1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1"/>
                      <a:pt x="24" y="51"/>
                    </a:cubicBezTo>
                    <a:cubicBezTo>
                      <a:pt x="262" y="51"/>
                      <a:pt x="262" y="51"/>
                      <a:pt x="262" y="51"/>
                    </a:cubicBezTo>
                    <a:cubicBezTo>
                      <a:pt x="262" y="51"/>
                      <a:pt x="286" y="51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82" name="Oval 181">
                <a:extLst>
                  <a:ext uri="{FF2B5EF4-FFF2-40B4-BE49-F238E27FC236}">
                    <a16:creationId xmlns:a16="http://schemas.microsoft.com/office/drawing/2014/main" id="{BFD33456-8A0D-424B-9202-3EC2293F0DC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4681982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83" name="Oval 182">
                <a:extLst>
                  <a:ext uri="{FF2B5EF4-FFF2-40B4-BE49-F238E27FC236}">
                    <a16:creationId xmlns:a16="http://schemas.microsoft.com/office/drawing/2014/main" id="{47AE42B9-A057-4B26-9B10-E8C7C97695F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4821973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84" name="Oval 183">
                <a:extLst>
                  <a:ext uri="{FF2B5EF4-FFF2-40B4-BE49-F238E27FC236}">
                    <a16:creationId xmlns:a16="http://schemas.microsoft.com/office/drawing/2014/main" id="{22CF41D1-2E50-4606-BA1C-5572DC11BCC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4959271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85" name="Oval 184">
                <a:extLst>
                  <a:ext uri="{FF2B5EF4-FFF2-40B4-BE49-F238E27FC236}">
                    <a16:creationId xmlns:a16="http://schemas.microsoft.com/office/drawing/2014/main" id="{EC492C70-EFE2-4E60-A33B-384AAFB6C82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099262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86" name="Freeform 25">
                <a:extLst>
                  <a:ext uri="{FF2B5EF4-FFF2-40B4-BE49-F238E27FC236}">
                    <a16:creationId xmlns:a16="http://schemas.microsoft.com/office/drawing/2014/main" id="{AFE5AAC0-63B4-4A75-BEE6-5C5CBCC83B35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203225" y="5236562"/>
                <a:ext cx="45767" cy="43074"/>
              </a:xfrm>
              <a:custGeom>
                <a:avLst/>
                <a:gdLst>
                  <a:gd name="T0" fmla="*/ 14 w 28"/>
                  <a:gd name="T1" fmla="*/ 28 h 28"/>
                  <a:gd name="T2" fmla="*/ 28 w 28"/>
                  <a:gd name="T3" fmla="*/ 13 h 28"/>
                  <a:gd name="T4" fmla="*/ 14 w 28"/>
                  <a:gd name="T5" fmla="*/ 0 h 28"/>
                  <a:gd name="T6" fmla="*/ 0 w 28"/>
                  <a:gd name="T7" fmla="*/ 13 h 28"/>
                  <a:gd name="T8" fmla="*/ 14 w 28"/>
                  <a:gd name="T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22" y="28"/>
                      <a:pt x="28" y="21"/>
                      <a:pt x="28" y="13"/>
                    </a:cubicBezTo>
                    <a:cubicBezTo>
                      <a:pt x="28" y="7"/>
                      <a:pt x="22" y="0"/>
                      <a:pt x="14" y="0"/>
                    </a:cubicBezTo>
                    <a:cubicBezTo>
                      <a:pt x="7" y="0"/>
                      <a:pt x="0" y="7"/>
                      <a:pt x="0" y="13"/>
                    </a:cubicBezTo>
                    <a:cubicBezTo>
                      <a:pt x="0" y="21"/>
                      <a:pt x="7" y="28"/>
                      <a:pt x="14" y="28"/>
                    </a:cubicBez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87" name="Oval 186">
                <a:extLst>
                  <a:ext uri="{FF2B5EF4-FFF2-40B4-BE49-F238E27FC236}">
                    <a16:creationId xmlns:a16="http://schemas.microsoft.com/office/drawing/2014/main" id="{9C95AE09-14AE-432B-85F8-E95431EE721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376553"/>
                <a:ext cx="45767" cy="40383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88" name="Oval 187">
                <a:extLst>
                  <a:ext uri="{FF2B5EF4-FFF2-40B4-BE49-F238E27FC236}">
                    <a16:creationId xmlns:a16="http://schemas.microsoft.com/office/drawing/2014/main" id="{FC8713AD-5D99-4C94-B911-1DA14D6E41E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513851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89" name="Oval 188">
                <a:extLst>
                  <a:ext uri="{FF2B5EF4-FFF2-40B4-BE49-F238E27FC236}">
                    <a16:creationId xmlns:a16="http://schemas.microsoft.com/office/drawing/2014/main" id="{8A77A2C1-85C8-4128-ACD3-805A90E3F27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653841"/>
                <a:ext cx="45767" cy="40383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90" name="Freeform 29">
                <a:extLst>
                  <a:ext uri="{FF2B5EF4-FFF2-40B4-BE49-F238E27FC236}">
                    <a16:creationId xmlns:a16="http://schemas.microsoft.com/office/drawing/2014/main" id="{56D9C0F4-15C3-4323-A0CA-CDD0719A828B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772295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2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2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2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2"/>
                      <a:pt x="286" y="22"/>
                      <a:pt x="286" y="22"/>
                    </a:cubicBezTo>
                    <a:cubicBezTo>
                      <a:pt x="286" y="22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91" name="Oval 190">
                <a:extLst>
                  <a:ext uri="{FF2B5EF4-FFF2-40B4-BE49-F238E27FC236}">
                    <a16:creationId xmlns:a16="http://schemas.microsoft.com/office/drawing/2014/main" id="{24D73467-EA48-4FA2-8AB7-3239849D800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791141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9A3C95A1-B363-45A6-BDA3-2CECBD2882C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467054" y="4883892"/>
                <a:ext cx="570732" cy="1337991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93" name="Freeform 32">
                <a:extLst>
                  <a:ext uri="{FF2B5EF4-FFF2-40B4-BE49-F238E27FC236}">
                    <a16:creationId xmlns:a16="http://schemas.microsoft.com/office/drawing/2014/main" id="{A6B81D85-D82C-436F-833E-3C9A85EC1906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4975424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2 h 50"/>
                  <a:gd name="T4" fmla="*/ 0 w 287"/>
                  <a:gd name="T5" fmla="*/ 27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7 h 50"/>
                  <a:gd name="T12" fmla="*/ 287 w 287"/>
                  <a:gd name="T13" fmla="*/ 22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2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7"/>
                    </a:cubicBezTo>
                    <a:cubicBezTo>
                      <a:pt x="287" y="22"/>
                      <a:pt x="287" y="22"/>
                      <a:pt x="287" y="22"/>
                    </a:cubicBezTo>
                    <a:cubicBezTo>
                      <a:pt x="287" y="22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94" name="Freeform 33">
                <a:extLst>
                  <a:ext uri="{FF2B5EF4-FFF2-40B4-BE49-F238E27FC236}">
                    <a16:creationId xmlns:a16="http://schemas.microsoft.com/office/drawing/2014/main" id="{8F1CC3DD-67DD-430C-8000-CA56F0EB99E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112724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95" name="Freeform 34">
                <a:extLst>
                  <a:ext uri="{FF2B5EF4-FFF2-40B4-BE49-F238E27FC236}">
                    <a16:creationId xmlns:a16="http://schemas.microsoft.com/office/drawing/2014/main" id="{A7B150E2-1F06-461E-86E7-85E4CF24D56A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252715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2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2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2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2"/>
                      <a:pt x="287" y="22"/>
                      <a:pt x="287" y="22"/>
                    </a:cubicBezTo>
                    <a:cubicBezTo>
                      <a:pt x="287" y="22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96" name="Freeform 35">
                <a:extLst>
                  <a:ext uri="{FF2B5EF4-FFF2-40B4-BE49-F238E27FC236}">
                    <a16:creationId xmlns:a16="http://schemas.microsoft.com/office/drawing/2014/main" id="{C68BDCC7-26BB-4B39-9713-7D15819C8DFD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390012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2 h 50"/>
                  <a:gd name="T4" fmla="*/ 0 w 287"/>
                  <a:gd name="T5" fmla="*/ 27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7 h 50"/>
                  <a:gd name="T12" fmla="*/ 287 w 287"/>
                  <a:gd name="T13" fmla="*/ 22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2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7"/>
                    </a:cubicBezTo>
                    <a:cubicBezTo>
                      <a:pt x="287" y="22"/>
                      <a:pt x="287" y="22"/>
                      <a:pt x="287" y="22"/>
                    </a:cubicBezTo>
                    <a:cubicBezTo>
                      <a:pt x="287" y="22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97" name="Freeform 36">
                <a:extLst>
                  <a:ext uri="{FF2B5EF4-FFF2-40B4-BE49-F238E27FC236}">
                    <a16:creationId xmlns:a16="http://schemas.microsoft.com/office/drawing/2014/main" id="{BC7E4D62-3E29-4576-B7DA-3660356D71FA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527312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98" name="Freeform 37">
                <a:extLst>
                  <a:ext uri="{FF2B5EF4-FFF2-40B4-BE49-F238E27FC236}">
                    <a16:creationId xmlns:a16="http://schemas.microsoft.com/office/drawing/2014/main" id="{73478B60-8546-4F86-83F9-D5E17D67EB7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667303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99" name="Freeform 38">
                <a:extLst>
                  <a:ext uri="{FF2B5EF4-FFF2-40B4-BE49-F238E27FC236}">
                    <a16:creationId xmlns:a16="http://schemas.microsoft.com/office/drawing/2014/main" id="{424D80FE-B092-45C4-92EB-23A817ABA4D7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807294"/>
                <a:ext cx="449587" cy="75380"/>
              </a:xfrm>
              <a:custGeom>
                <a:avLst/>
                <a:gdLst>
                  <a:gd name="T0" fmla="*/ 25 w 287"/>
                  <a:gd name="T1" fmla="*/ 0 h 49"/>
                  <a:gd name="T2" fmla="*/ 0 w 287"/>
                  <a:gd name="T3" fmla="*/ 23 h 49"/>
                  <a:gd name="T4" fmla="*/ 0 w 287"/>
                  <a:gd name="T5" fmla="*/ 27 h 49"/>
                  <a:gd name="T6" fmla="*/ 25 w 287"/>
                  <a:gd name="T7" fmla="*/ 49 h 49"/>
                  <a:gd name="T8" fmla="*/ 262 w 287"/>
                  <a:gd name="T9" fmla="*/ 49 h 49"/>
                  <a:gd name="T10" fmla="*/ 287 w 287"/>
                  <a:gd name="T11" fmla="*/ 27 h 49"/>
                  <a:gd name="T12" fmla="*/ 287 w 287"/>
                  <a:gd name="T13" fmla="*/ 23 h 49"/>
                  <a:gd name="T14" fmla="*/ 262 w 287"/>
                  <a:gd name="T15" fmla="*/ 0 h 49"/>
                  <a:gd name="T16" fmla="*/ 153 w 287"/>
                  <a:gd name="T17" fmla="*/ 0 h 49"/>
                  <a:gd name="T18" fmla="*/ 25 w 287"/>
                  <a:gd name="T1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49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49"/>
                      <a:pt x="25" y="49"/>
                    </a:cubicBezTo>
                    <a:cubicBezTo>
                      <a:pt x="262" y="49"/>
                      <a:pt x="262" y="49"/>
                      <a:pt x="262" y="49"/>
                    </a:cubicBezTo>
                    <a:cubicBezTo>
                      <a:pt x="262" y="49"/>
                      <a:pt x="287" y="49"/>
                      <a:pt x="287" y="27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00" name="Freeform 39">
                <a:extLst>
                  <a:ext uri="{FF2B5EF4-FFF2-40B4-BE49-F238E27FC236}">
                    <a16:creationId xmlns:a16="http://schemas.microsoft.com/office/drawing/2014/main" id="{F92A89EE-EC11-4915-ACEC-0DA06365448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941900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4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4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4"/>
                      <a:pt x="287" y="24"/>
                      <a:pt x="287" y="24"/>
                    </a:cubicBezTo>
                    <a:cubicBezTo>
                      <a:pt x="287" y="24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01" name="Oval 200">
                <a:extLst>
                  <a:ext uri="{FF2B5EF4-FFF2-40B4-BE49-F238E27FC236}">
                    <a16:creationId xmlns:a16="http://schemas.microsoft.com/office/drawing/2014/main" id="{EBFE75F9-C1CD-4734-89DE-FBAC81D1148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4991577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02" name="Oval 201">
                <a:extLst>
                  <a:ext uri="{FF2B5EF4-FFF2-40B4-BE49-F238E27FC236}">
                    <a16:creationId xmlns:a16="http://schemas.microsoft.com/office/drawing/2014/main" id="{A7E42769-703F-43F5-A412-7376625B1F5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131568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03" name="Oval 202">
                <a:extLst>
                  <a:ext uri="{FF2B5EF4-FFF2-40B4-BE49-F238E27FC236}">
                    <a16:creationId xmlns:a16="http://schemas.microsoft.com/office/drawing/2014/main" id="{8F704F27-17CC-4C60-8328-3B6AAFC02BE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268867"/>
                <a:ext cx="45767" cy="45767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04" name="Oval 203">
                <a:extLst>
                  <a:ext uri="{FF2B5EF4-FFF2-40B4-BE49-F238E27FC236}">
                    <a16:creationId xmlns:a16="http://schemas.microsoft.com/office/drawing/2014/main" id="{F467073E-B416-49DC-8FA3-6C3F2FDFB66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406165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BCD5F6EA-A0EF-49BC-B82F-6C755548074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546156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B3BC85F2-70A7-462C-B755-B4EB075CF76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683456"/>
                <a:ext cx="45767" cy="45767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AC58FBC6-DA83-472F-98E4-D52473D5235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823447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E56A0B1D-EC9E-47E5-BC43-56E42889110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960744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09" name="Freeform 48">
                <a:extLst>
                  <a:ext uri="{FF2B5EF4-FFF2-40B4-BE49-F238E27FC236}">
                    <a16:creationId xmlns:a16="http://schemas.microsoft.com/office/drawing/2014/main" id="{43872BAE-86E2-43A5-A602-9EB2DBB64B2E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6081891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7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7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7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FF6E22FB-D49F-4956-9C80-EF7F82F0530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6100735"/>
                <a:ext cx="45767" cy="43074"/>
              </a:xfrm>
              <a:prstGeom prst="ellipse">
                <a:avLst/>
              </a:prstGeom>
              <a:solidFill>
                <a:srgbClr val="FF8C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11" name="Freeform 50">
                <a:extLst>
                  <a:ext uri="{FF2B5EF4-FFF2-40B4-BE49-F238E27FC236}">
                    <a16:creationId xmlns:a16="http://schemas.microsoft.com/office/drawing/2014/main" id="{C48622BD-9B47-480D-8396-8088AF66638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909595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253A15D9-4283-42F2-B307-AFF2634719D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928439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5966DFD7-E4BC-45E7-B976-45CD255D3F4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643261" y="4245857"/>
                <a:ext cx="573425" cy="255753"/>
              </a:xfrm>
              <a:prstGeom prst="rect">
                <a:avLst/>
              </a:pr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14" name="Freeform 53">
                <a:extLst>
                  <a:ext uri="{FF2B5EF4-FFF2-40B4-BE49-F238E27FC236}">
                    <a16:creationId xmlns:a16="http://schemas.microsoft.com/office/drawing/2014/main" id="{300A7D9C-0A59-45C4-B04B-448C0C1CCA7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772739" y="5917670"/>
                <a:ext cx="1243765" cy="621882"/>
              </a:xfrm>
              <a:custGeom>
                <a:avLst/>
                <a:gdLst>
                  <a:gd name="T0" fmla="*/ 763 w 788"/>
                  <a:gd name="T1" fmla="*/ 392 h 392"/>
                  <a:gd name="T2" fmla="*/ 788 w 788"/>
                  <a:gd name="T3" fmla="*/ 304 h 392"/>
                  <a:gd name="T4" fmla="*/ 625 w 788"/>
                  <a:gd name="T5" fmla="*/ 142 h 392"/>
                  <a:gd name="T6" fmla="*/ 580 w 788"/>
                  <a:gd name="T7" fmla="*/ 149 h 392"/>
                  <a:gd name="T8" fmla="*/ 358 w 788"/>
                  <a:gd name="T9" fmla="*/ 0 h 392"/>
                  <a:gd name="T10" fmla="*/ 120 w 788"/>
                  <a:gd name="T11" fmla="*/ 224 h 392"/>
                  <a:gd name="T12" fmla="*/ 0 w 788"/>
                  <a:gd name="T13" fmla="*/ 347 h 392"/>
                  <a:gd name="T14" fmla="*/ 8 w 788"/>
                  <a:gd name="T15" fmla="*/ 392 h 392"/>
                  <a:gd name="T16" fmla="*/ 763 w 788"/>
                  <a:gd name="T17" fmla="*/ 392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88" h="392">
                    <a:moveTo>
                      <a:pt x="763" y="392"/>
                    </a:moveTo>
                    <a:cubicBezTo>
                      <a:pt x="779" y="366"/>
                      <a:pt x="788" y="337"/>
                      <a:pt x="788" y="304"/>
                    </a:cubicBezTo>
                    <a:cubicBezTo>
                      <a:pt x="788" y="214"/>
                      <a:pt x="715" y="142"/>
                      <a:pt x="625" y="142"/>
                    </a:cubicBezTo>
                    <a:cubicBezTo>
                      <a:pt x="609" y="142"/>
                      <a:pt x="594" y="144"/>
                      <a:pt x="580" y="149"/>
                    </a:cubicBezTo>
                    <a:cubicBezTo>
                      <a:pt x="544" y="61"/>
                      <a:pt x="458" y="0"/>
                      <a:pt x="358" y="0"/>
                    </a:cubicBezTo>
                    <a:cubicBezTo>
                      <a:pt x="231" y="0"/>
                      <a:pt x="127" y="99"/>
                      <a:pt x="120" y="224"/>
                    </a:cubicBezTo>
                    <a:cubicBezTo>
                      <a:pt x="53" y="226"/>
                      <a:pt x="0" y="280"/>
                      <a:pt x="0" y="347"/>
                    </a:cubicBezTo>
                    <a:cubicBezTo>
                      <a:pt x="0" y="363"/>
                      <a:pt x="2" y="378"/>
                      <a:pt x="8" y="392"/>
                    </a:cubicBezTo>
                    <a:lnTo>
                      <a:pt x="763" y="392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15" name="Freeform 55">
                <a:extLst>
                  <a:ext uri="{FF2B5EF4-FFF2-40B4-BE49-F238E27FC236}">
                    <a16:creationId xmlns:a16="http://schemas.microsoft.com/office/drawing/2014/main" id="{5203B2FB-E158-4277-B1AB-7CFA97310276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1198092" y="5990359"/>
                <a:ext cx="1449301" cy="697263"/>
              </a:xfrm>
              <a:custGeom>
                <a:avLst/>
                <a:gdLst>
                  <a:gd name="T0" fmla="*/ 790 w 790"/>
                  <a:gd name="T1" fmla="*/ 206 h 414"/>
                  <a:gd name="T2" fmla="*/ 661 w 790"/>
                  <a:gd name="T3" fmla="*/ 149 h 414"/>
                  <a:gd name="T4" fmla="*/ 613 w 790"/>
                  <a:gd name="T5" fmla="*/ 156 h 414"/>
                  <a:gd name="T6" fmla="*/ 379 w 790"/>
                  <a:gd name="T7" fmla="*/ 0 h 414"/>
                  <a:gd name="T8" fmla="*/ 127 w 790"/>
                  <a:gd name="T9" fmla="*/ 236 h 414"/>
                  <a:gd name="T10" fmla="*/ 0 w 790"/>
                  <a:gd name="T11" fmla="*/ 366 h 414"/>
                  <a:gd name="T12" fmla="*/ 9 w 790"/>
                  <a:gd name="T13" fmla="*/ 414 h 414"/>
                  <a:gd name="T14" fmla="*/ 790 w 790"/>
                  <a:gd name="T15" fmla="*/ 414 h 414"/>
                  <a:gd name="T16" fmla="*/ 790 w 790"/>
                  <a:gd name="T17" fmla="*/ 206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0" h="414">
                    <a:moveTo>
                      <a:pt x="790" y="206"/>
                    </a:moveTo>
                    <a:cubicBezTo>
                      <a:pt x="758" y="172"/>
                      <a:pt x="713" y="149"/>
                      <a:pt x="661" y="149"/>
                    </a:cubicBezTo>
                    <a:cubicBezTo>
                      <a:pt x="644" y="149"/>
                      <a:pt x="628" y="152"/>
                      <a:pt x="613" y="156"/>
                    </a:cubicBezTo>
                    <a:cubicBezTo>
                      <a:pt x="576" y="64"/>
                      <a:pt x="484" y="0"/>
                      <a:pt x="379" y="0"/>
                    </a:cubicBezTo>
                    <a:cubicBezTo>
                      <a:pt x="245" y="0"/>
                      <a:pt x="135" y="104"/>
                      <a:pt x="127" y="236"/>
                    </a:cubicBezTo>
                    <a:cubicBezTo>
                      <a:pt x="56" y="238"/>
                      <a:pt x="0" y="295"/>
                      <a:pt x="0" y="366"/>
                    </a:cubicBezTo>
                    <a:cubicBezTo>
                      <a:pt x="0" y="383"/>
                      <a:pt x="3" y="399"/>
                      <a:pt x="9" y="414"/>
                    </a:cubicBezTo>
                    <a:cubicBezTo>
                      <a:pt x="790" y="414"/>
                      <a:pt x="790" y="414"/>
                      <a:pt x="790" y="414"/>
                    </a:cubicBezTo>
                    <a:lnTo>
                      <a:pt x="790" y="206"/>
                    </a:lnTo>
                    <a:close/>
                  </a:path>
                </a:pathLst>
              </a:custGeom>
              <a:ln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16" name="Freeform 59">
                <a:extLst>
                  <a:ext uri="{FF2B5EF4-FFF2-40B4-BE49-F238E27FC236}">
                    <a16:creationId xmlns:a16="http://schemas.microsoft.com/office/drawing/2014/main" id="{69E9A61B-1293-4767-85BB-BD063A7951D9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1682678" y="5328094"/>
                <a:ext cx="309596" cy="441510"/>
              </a:xfrm>
              <a:custGeom>
                <a:avLst/>
                <a:gdLst>
                  <a:gd name="T0" fmla="*/ 198 w 198"/>
                  <a:gd name="T1" fmla="*/ 202 h 283"/>
                  <a:gd name="T2" fmla="*/ 198 w 198"/>
                  <a:gd name="T3" fmla="*/ 0 h 283"/>
                  <a:gd name="T4" fmla="*/ 177 w 198"/>
                  <a:gd name="T5" fmla="*/ 6 h 283"/>
                  <a:gd name="T6" fmla="*/ 177 w 198"/>
                  <a:gd name="T7" fmla="*/ 230 h 283"/>
                  <a:gd name="T8" fmla="*/ 0 w 198"/>
                  <a:gd name="T9" fmla="*/ 230 h 283"/>
                  <a:gd name="T10" fmla="*/ 26 w 198"/>
                  <a:gd name="T11" fmla="*/ 246 h 283"/>
                  <a:gd name="T12" fmla="*/ 26 w 198"/>
                  <a:gd name="T13" fmla="*/ 283 h 283"/>
                  <a:gd name="T14" fmla="*/ 171 w 198"/>
                  <a:gd name="T15" fmla="*/ 283 h 283"/>
                  <a:gd name="T16" fmla="*/ 171 w 198"/>
                  <a:gd name="T17" fmla="*/ 246 h 283"/>
                  <a:gd name="T18" fmla="*/ 198 w 198"/>
                  <a:gd name="T19" fmla="*/ 202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8" h="283">
                    <a:moveTo>
                      <a:pt x="198" y="202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0" y="0"/>
                      <a:pt x="183" y="3"/>
                      <a:pt x="177" y="6"/>
                    </a:cubicBezTo>
                    <a:cubicBezTo>
                      <a:pt x="177" y="230"/>
                      <a:pt x="177" y="230"/>
                      <a:pt x="177" y="230"/>
                    </a:cubicBezTo>
                    <a:cubicBezTo>
                      <a:pt x="0" y="230"/>
                      <a:pt x="0" y="230"/>
                      <a:pt x="0" y="230"/>
                    </a:cubicBezTo>
                    <a:cubicBezTo>
                      <a:pt x="6" y="239"/>
                      <a:pt x="15" y="244"/>
                      <a:pt x="26" y="246"/>
                    </a:cubicBezTo>
                    <a:cubicBezTo>
                      <a:pt x="26" y="283"/>
                      <a:pt x="26" y="283"/>
                      <a:pt x="26" y="283"/>
                    </a:cubicBezTo>
                    <a:cubicBezTo>
                      <a:pt x="171" y="283"/>
                      <a:pt x="171" y="283"/>
                      <a:pt x="171" y="283"/>
                    </a:cubicBezTo>
                    <a:cubicBezTo>
                      <a:pt x="171" y="246"/>
                      <a:pt x="171" y="246"/>
                      <a:pt x="171" y="246"/>
                    </a:cubicBezTo>
                    <a:lnTo>
                      <a:pt x="198" y="202"/>
                    </a:lnTo>
                    <a:close/>
                  </a:path>
                </a:pathLst>
              </a:custGeom>
              <a:solidFill>
                <a:srgbClr val="613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17" name="Freeform 60">
                <a:extLst>
                  <a:ext uri="{FF2B5EF4-FFF2-40B4-BE49-F238E27FC236}">
                    <a16:creationId xmlns:a16="http://schemas.microsoft.com/office/drawing/2014/main" id="{CDA8809E-6BB7-4AC5-BA37-090E0114C6F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1704215" y="5815369"/>
                <a:ext cx="263829" cy="419973"/>
              </a:xfrm>
              <a:custGeom>
                <a:avLst/>
                <a:gdLst>
                  <a:gd name="T0" fmla="*/ 167 w 167"/>
                  <a:gd name="T1" fmla="*/ 270 h 270"/>
                  <a:gd name="T2" fmla="*/ 167 w 167"/>
                  <a:gd name="T3" fmla="*/ 0 h 270"/>
                  <a:gd name="T4" fmla="*/ 0 w 167"/>
                  <a:gd name="T5" fmla="*/ 0 h 270"/>
                  <a:gd name="T6" fmla="*/ 0 w 167"/>
                  <a:gd name="T7" fmla="*/ 203 h 270"/>
                  <a:gd name="T8" fmla="*/ 18 w 167"/>
                  <a:gd name="T9" fmla="*/ 202 h 270"/>
                  <a:gd name="T10" fmla="*/ 167 w 167"/>
                  <a:gd name="T11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7" h="270">
                    <a:moveTo>
                      <a:pt x="167" y="27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03"/>
                      <a:pt x="0" y="203"/>
                      <a:pt x="0" y="203"/>
                    </a:cubicBezTo>
                    <a:cubicBezTo>
                      <a:pt x="6" y="203"/>
                      <a:pt x="12" y="202"/>
                      <a:pt x="18" y="202"/>
                    </a:cubicBezTo>
                    <a:cubicBezTo>
                      <a:pt x="77" y="202"/>
                      <a:pt x="131" y="229"/>
                      <a:pt x="167" y="270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18" name="Rectangle 217">
                <a:extLst>
                  <a:ext uri="{FF2B5EF4-FFF2-40B4-BE49-F238E27FC236}">
                    <a16:creationId xmlns:a16="http://schemas.microsoft.com/office/drawing/2014/main" id="{01202EBA-F1A5-420D-9998-6C6BB570181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1712292" y="5769604"/>
                <a:ext cx="247676" cy="4576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19" name="Freeform 62">
                <a:extLst>
                  <a:ext uri="{FF2B5EF4-FFF2-40B4-BE49-F238E27FC236}">
                    <a16:creationId xmlns:a16="http://schemas.microsoft.com/office/drawing/2014/main" id="{C9631B17-F8FA-4B5E-A526-6E58F1B0D9AB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698577" y="6491095"/>
                <a:ext cx="1017626" cy="503430"/>
              </a:xfrm>
              <a:custGeom>
                <a:avLst/>
                <a:gdLst>
                  <a:gd name="T0" fmla="*/ 628 w 650"/>
                  <a:gd name="T1" fmla="*/ 323 h 323"/>
                  <a:gd name="T2" fmla="*/ 650 w 650"/>
                  <a:gd name="T3" fmla="*/ 251 h 323"/>
                  <a:gd name="T4" fmla="*/ 515 w 650"/>
                  <a:gd name="T5" fmla="*/ 117 h 323"/>
                  <a:gd name="T6" fmla="*/ 477 w 650"/>
                  <a:gd name="T7" fmla="*/ 122 h 323"/>
                  <a:gd name="T8" fmla="*/ 295 w 650"/>
                  <a:gd name="T9" fmla="*/ 0 h 323"/>
                  <a:gd name="T10" fmla="*/ 99 w 650"/>
                  <a:gd name="T11" fmla="*/ 184 h 323"/>
                  <a:gd name="T12" fmla="*/ 0 w 650"/>
                  <a:gd name="T13" fmla="*/ 285 h 323"/>
                  <a:gd name="T14" fmla="*/ 7 w 650"/>
                  <a:gd name="T15" fmla="*/ 323 h 323"/>
                  <a:gd name="T16" fmla="*/ 628 w 650"/>
                  <a:gd name="T17" fmla="*/ 323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0" h="323">
                    <a:moveTo>
                      <a:pt x="628" y="323"/>
                    </a:moveTo>
                    <a:cubicBezTo>
                      <a:pt x="642" y="302"/>
                      <a:pt x="650" y="277"/>
                      <a:pt x="650" y="251"/>
                    </a:cubicBezTo>
                    <a:cubicBezTo>
                      <a:pt x="650" y="176"/>
                      <a:pt x="589" y="117"/>
                      <a:pt x="515" y="117"/>
                    </a:cubicBezTo>
                    <a:cubicBezTo>
                      <a:pt x="502" y="117"/>
                      <a:pt x="489" y="119"/>
                      <a:pt x="477" y="122"/>
                    </a:cubicBezTo>
                    <a:cubicBezTo>
                      <a:pt x="448" y="50"/>
                      <a:pt x="377" y="0"/>
                      <a:pt x="295" y="0"/>
                    </a:cubicBezTo>
                    <a:cubicBezTo>
                      <a:pt x="191" y="0"/>
                      <a:pt x="105" y="81"/>
                      <a:pt x="99" y="184"/>
                    </a:cubicBezTo>
                    <a:cubicBezTo>
                      <a:pt x="44" y="185"/>
                      <a:pt x="0" y="230"/>
                      <a:pt x="0" y="285"/>
                    </a:cubicBezTo>
                    <a:cubicBezTo>
                      <a:pt x="0" y="298"/>
                      <a:pt x="1" y="311"/>
                      <a:pt x="7" y="323"/>
                    </a:cubicBezTo>
                    <a:lnTo>
                      <a:pt x="628" y="323"/>
                    </a:lnTo>
                    <a:close/>
                  </a:path>
                </a:pathLst>
              </a:custGeom>
              <a:ln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20" name="Rectangle 219">
                <a:extLst>
                  <a:ext uri="{FF2B5EF4-FFF2-40B4-BE49-F238E27FC236}">
                    <a16:creationId xmlns:a16="http://schemas.microsoft.com/office/drawing/2014/main" id="{75B416B6-4A23-4038-AF1B-6F5A93C9BEC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0840041" y="5481545"/>
                <a:ext cx="43074" cy="91532"/>
              </a:xfrm>
              <a:prstGeom prst="rect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21" name="Freeform 64">
                <a:extLst>
                  <a:ext uri="{FF2B5EF4-FFF2-40B4-BE49-F238E27FC236}">
                    <a16:creationId xmlns:a16="http://schemas.microsoft.com/office/drawing/2014/main" id="{B60DBD62-90AE-4C45-B814-6088E21206C5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852992" y="5328094"/>
                <a:ext cx="729569" cy="231523"/>
              </a:xfrm>
              <a:custGeom>
                <a:avLst/>
                <a:gdLst>
                  <a:gd name="T0" fmla="*/ 271 w 271"/>
                  <a:gd name="T1" fmla="*/ 0 h 86"/>
                  <a:gd name="T2" fmla="*/ 0 w 271"/>
                  <a:gd name="T3" fmla="*/ 0 h 86"/>
                  <a:gd name="T4" fmla="*/ 17 w 271"/>
                  <a:gd name="T5" fmla="*/ 11 h 86"/>
                  <a:gd name="T6" fmla="*/ 132 w 271"/>
                  <a:gd name="T7" fmla="*/ 48 h 86"/>
                  <a:gd name="T8" fmla="*/ 133 w 271"/>
                  <a:gd name="T9" fmla="*/ 86 h 86"/>
                  <a:gd name="T10" fmla="*/ 240 w 271"/>
                  <a:gd name="T11" fmla="*/ 86 h 86"/>
                  <a:gd name="T12" fmla="*/ 240 w 271"/>
                  <a:gd name="T13" fmla="*/ 21 h 86"/>
                  <a:gd name="T14" fmla="*/ 271 w 271"/>
                  <a:gd name="T15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1" h="86">
                    <a:moveTo>
                      <a:pt x="271" y="0"/>
                    </a:moveTo>
                    <a:lnTo>
                      <a:pt x="0" y="0"/>
                    </a:lnTo>
                    <a:lnTo>
                      <a:pt x="17" y="11"/>
                    </a:lnTo>
                    <a:lnTo>
                      <a:pt x="132" y="48"/>
                    </a:lnTo>
                    <a:lnTo>
                      <a:pt x="133" y="86"/>
                    </a:lnTo>
                    <a:lnTo>
                      <a:pt x="240" y="86"/>
                    </a:lnTo>
                    <a:lnTo>
                      <a:pt x="240" y="21"/>
                    </a:lnTo>
                    <a:lnTo>
                      <a:pt x="271" y="0"/>
                    </a:lnTo>
                    <a:close/>
                  </a:path>
                </a:pathLst>
              </a:custGeom>
              <a:solidFill>
                <a:srgbClr val="BB91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22" name="Freeform 65">
                <a:extLst>
                  <a:ext uri="{FF2B5EF4-FFF2-40B4-BE49-F238E27FC236}">
                    <a16:creationId xmlns:a16="http://schemas.microsoft.com/office/drawing/2014/main" id="{EF8F2B8B-FAF1-4D0E-9C4F-BD0CBD283AD6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7192201" y="5621536"/>
                <a:ext cx="328440" cy="508814"/>
              </a:xfrm>
              <a:custGeom>
                <a:avLst/>
                <a:gdLst>
                  <a:gd name="T0" fmla="*/ 209 w 209"/>
                  <a:gd name="T1" fmla="*/ 327 h 327"/>
                  <a:gd name="T2" fmla="*/ 209 w 209"/>
                  <a:gd name="T3" fmla="*/ 0 h 327"/>
                  <a:gd name="T4" fmla="*/ 0 w 209"/>
                  <a:gd name="T5" fmla="*/ 0 h 327"/>
                  <a:gd name="T6" fmla="*/ 0 w 209"/>
                  <a:gd name="T7" fmla="*/ 242 h 327"/>
                  <a:gd name="T8" fmla="*/ 209 w 209"/>
                  <a:gd name="T9" fmla="*/ 327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9" h="327">
                    <a:moveTo>
                      <a:pt x="209" y="327"/>
                    </a:moveTo>
                    <a:cubicBezTo>
                      <a:pt x="209" y="0"/>
                      <a:pt x="209" y="0"/>
                      <a:pt x="20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81" y="245"/>
                      <a:pt x="153" y="277"/>
                      <a:pt x="209" y="327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23" name="Rectangle 222">
                <a:extLst>
                  <a:ext uri="{FF2B5EF4-FFF2-40B4-BE49-F238E27FC236}">
                    <a16:creationId xmlns:a16="http://schemas.microsoft.com/office/drawing/2014/main" id="{C3F9AE66-49BC-4CC5-96E7-EE3F56DD5EB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7202970" y="5559618"/>
                <a:ext cx="306903" cy="6192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24" name="Rectangle 223">
                <a:extLst>
                  <a:ext uri="{FF2B5EF4-FFF2-40B4-BE49-F238E27FC236}">
                    <a16:creationId xmlns:a16="http://schemas.microsoft.com/office/drawing/2014/main" id="{CAEE64D5-3C4B-4F98-A941-FBCF6E3FD72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7943307" y="5048112"/>
                <a:ext cx="43074" cy="91532"/>
              </a:xfrm>
              <a:prstGeom prst="rect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25" name="Freeform 68">
                <a:extLst>
                  <a:ext uri="{FF2B5EF4-FFF2-40B4-BE49-F238E27FC236}">
                    <a16:creationId xmlns:a16="http://schemas.microsoft.com/office/drawing/2014/main" id="{0EF9A87B-56E1-4430-8847-8C7AC0B0EE7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7940614" y="5088494"/>
                <a:ext cx="1289532" cy="454971"/>
              </a:xfrm>
              <a:custGeom>
                <a:avLst/>
                <a:gdLst>
                  <a:gd name="T0" fmla="*/ 479 w 479"/>
                  <a:gd name="T1" fmla="*/ 169 h 169"/>
                  <a:gd name="T2" fmla="*/ 163 w 479"/>
                  <a:gd name="T3" fmla="*/ 169 h 169"/>
                  <a:gd name="T4" fmla="*/ 163 w 479"/>
                  <a:gd name="T5" fmla="*/ 5 h 169"/>
                  <a:gd name="T6" fmla="*/ 0 w 479"/>
                  <a:gd name="T7" fmla="*/ 5 h 169"/>
                  <a:gd name="T8" fmla="*/ 0 w 479"/>
                  <a:gd name="T9" fmla="*/ 0 h 169"/>
                  <a:gd name="T10" fmla="*/ 169 w 479"/>
                  <a:gd name="T11" fmla="*/ 0 h 169"/>
                  <a:gd name="T12" fmla="*/ 169 w 479"/>
                  <a:gd name="T13" fmla="*/ 165 h 169"/>
                  <a:gd name="T14" fmla="*/ 479 w 479"/>
                  <a:gd name="T15" fmla="*/ 165 h 169"/>
                  <a:gd name="T16" fmla="*/ 479 w 479"/>
                  <a:gd name="T17" fmla="*/ 169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9" h="169">
                    <a:moveTo>
                      <a:pt x="479" y="169"/>
                    </a:moveTo>
                    <a:lnTo>
                      <a:pt x="163" y="169"/>
                    </a:lnTo>
                    <a:lnTo>
                      <a:pt x="163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169" y="0"/>
                    </a:lnTo>
                    <a:lnTo>
                      <a:pt x="169" y="165"/>
                    </a:lnTo>
                    <a:lnTo>
                      <a:pt x="479" y="165"/>
                    </a:lnTo>
                    <a:lnTo>
                      <a:pt x="479" y="169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26" name="Freeform 69">
                <a:extLst>
                  <a:ext uri="{FF2B5EF4-FFF2-40B4-BE49-F238E27FC236}">
                    <a16:creationId xmlns:a16="http://schemas.microsoft.com/office/drawing/2014/main" id="{E4C1337D-B9D0-48AE-BC0D-22560FF71707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215467" y="6227266"/>
                <a:ext cx="134607" cy="188449"/>
              </a:xfrm>
              <a:custGeom>
                <a:avLst/>
                <a:gdLst>
                  <a:gd name="T0" fmla="*/ 85 w 85"/>
                  <a:gd name="T1" fmla="*/ 86 h 121"/>
                  <a:gd name="T2" fmla="*/ 85 w 85"/>
                  <a:gd name="T3" fmla="*/ 0 h 121"/>
                  <a:gd name="T4" fmla="*/ 77 w 85"/>
                  <a:gd name="T5" fmla="*/ 2 h 121"/>
                  <a:gd name="T6" fmla="*/ 77 w 85"/>
                  <a:gd name="T7" fmla="*/ 98 h 121"/>
                  <a:gd name="T8" fmla="*/ 0 w 85"/>
                  <a:gd name="T9" fmla="*/ 98 h 121"/>
                  <a:gd name="T10" fmla="*/ 11 w 85"/>
                  <a:gd name="T11" fmla="*/ 105 h 121"/>
                  <a:gd name="T12" fmla="*/ 11 w 85"/>
                  <a:gd name="T13" fmla="*/ 121 h 121"/>
                  <a:gd name="T14" fmla="*/ 73 w 85"/>
                  <a:gd name="T15" fmla="*/ 121 h 121"/>
                  <a:gd name="T16" fmla="*/ 73 w 85"/>
                  <a:gd name="T17" fmla="*/ 105 h 121"/>
                  <a:gd name="T18" fmla="*/ 85 w 85"/>
                  <a:gd name="T19" fmla="*/ 86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5" h="121">
                    <a:moveTo>
                      <a:pt x="85" y="86"/>
                    </a:moveTo>
                    <a:cubicBezTo>
                      <a:pt x="85" y="0"/>
                      <a:pt x="85" y="0"/>
                      <a:pt x="85" y="0"/>
                    </a:cubicBezTo>
                    <a:cubicBezTo>
                      <a:pt x="82" y="0"/>
                      <a:pt x="79" y="1"/>
                      <a:pt x="77" y="2"/>
                    </a:cubicBezTo>
                    <a:cubicBezTo>
                      <a:pt x="77" y="98"/>
                      <a:pt x="77" y="98"/>
                      <a:pt x="77" y="98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3" y="102"/>
                      <a:pt x="7" y="104"/>
                      <a:pt x="11" y="105"/>
                    </a:cubicBezTo>
                    <a:cubicBezTo>
                      <a:pt x="11" y="121"/>
                      <a:pt x="11" y="121"/>
                      <a:pt x="11" y="121"/>
                    </a:cubicBezTo>
                    <a:cubicBezTo>
                      <a:pt x="73" y="121"/>
                      <a:pt x="73" y="121"/>
                      <a:pt x="73" y="121"/>
                    </a:cubicBezTo>
                    <a:cubicBezTo>
                      <a:pt x="73" y="105"/>
                      <a:pt x="73" y="105"/>
                      <a:pt x="73" y="105"/>
                    </a:cubicBezTo>
                    <a:lnTo>
                      <a:pt x="85" y="86"/>
                    </a:lnTo>
                    <a:close/>
                  </a:path>
                </a:pathLst>
              </a:custGeom>
              <a:solidFill>
                <a:srgbClr val="CE9C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27" name="Freeform 70">
                <a:extLst>
                  <a:ext uri="{FF2B5EF4-FFF2-40B4-BE49-F238E27FC236}">
                    <a16:creationId xmlns:a16="http://schemas.microsoft.com/office/drawing/2014/main" id="{C578DC3A-7131-4AF0-97FF-ACF4E0508B6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228926" y="6437253"/>
                <a:ext cx="110378" cy="250369"/>
              </a:xfrm>
              <a:custGeom>
                <a:avLst/>
                <a:gdLst>
                  <a:gd name="T0" fmla="*/ 72 w 72"/>
                  <a:gd name="T1" fmla="*/ 160 h 160"/>
                  <a:gd name="T2" fmla="*/ 72 w 72"/>
                  <a:gd name="T3" fmla="*/ 0 h 160"/>
                  <a:gd name="T4" fmla="*/ 0 w 72"/>
                  <a:gd name="T5" fmla="*/ 0 h 160"/>
                  <a:gd name="T6" fmla="*/ 0 w 72"/>
                  <a:gd name="T7" fmla="*/ 119 h 160"/>
                  <a:gd name="T8" fmla="*/ 72 w 72"/>
                  <a:gd name="T9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60">
                    <a:moveTo>
                      <a:pt x="72" y="160"/>
                    </a:moveTo>
                    <a:cubicBezTo>
                      <a:pt x="72" y="0"/>
                      <a:pt x="72" y="0"/>
                      <a:pt x="7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27" y="126"/>
                      <a:pt x="52" y="140"/>
                      <a:pt x="72" y="160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B267A13E-5474-4FCE-9121-A7BD89E7552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0231619" y="6415716"/>
                <a:ext cx="104994" cy="2153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29" name="Freeform 72">
                <a:extLst>
                  <a:ext uri="{FF2B5EF4-FFF2-40B4-BE49-F238E27FC236}">
                    <a16:creationId xmlns:a16="http://schemas.microsoft.com/office/drawing/2014/main" id="{C0806179-4FB5-4C43-A9A4-B44655E2CDFD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916639" y="5287711"/>
                <a:ext cx="923402" cy="247676"/>
              </a:xfrm>
              <a:custGeom>
                <a:avLst/>
                <a:gdLst>
                  <a:gd name="T0" fmla="*/ 343 w 343"/>
                  <a:gd name="T1" fmla="*/ 92 h 92"/>
                  <a:gd name="T2" fmla="*/ 196 w 343"/>
                  <a:gd name="T3" fmla="*/ 92 h 92"/>
                  <a:gd name="T4" fmla="*/ 196 w 343"/>
                  <a:gd name="T5" fmla="*/ 5 h 92"/>
                  <a:gd name="T6" fmla="*/ 0 w 343"/>
                  <a:gd name="T7" fmla="*/ 5 h 92"/>
                  <a:gd name="T8" fmla="*/ 0 w 343"/>
                  <a:gd name="T9" fmla="*/ 0 h 92"/>
                  <a:gd name="T10" fmla="*/ 201 w 343"/>
                  <a:gd name="T11" fmla="*/ 0 h 92"/>
                  <a:gd name="T12" fmla="*/ 201 w 343"/>
                  <a:gd name="T13" fmla="*/ 87 h 92"/>
                  <a:gd name="T14" fmla="*/ 343 w 343"/>
                  <a:gd name="T15" fmla="*/ 87 h 92"/>
                  <a:gd name="T16" fmla="*/ 343 w 343"/>
                  <a:gd name="T17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3" h="92">
                    <a:moveTo>
                      <a:pt x="343" y="92"/>
                    </a:moveTo>
                    <a:lnTo>
                      <a:pt x="196" y="92"/>
                    </a:lnTo>
                    <a:lnTo>
                      <a:pt x="196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201" y="0"/>
                    </a:lnTo>
                    <a:lnTo>
                      <a:pt x="201" y="87"/>
                    </a:lnTo>
                    <a:lnTo>
                      <a:pt x="343" y="87"/>
                    </a:lnTo>
                    <a:lnTo>
                      <a:pt x="343" y="92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30" name="Freeform 73">
                <a:extLst>
                  <a:ext uri="{FF2B5EF4-FFF2-40B4-BE49-F238E27FC236}">
                    <a16:creationId xmlns:a16="http://schemas.microsoft.com/office/drawing/2014/main" id="{49D4CFF6-5332-40D6-9E30-F45880C4522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623198" y="5565002"/>
                <a:ext cx="282675" cy="743029"/>
              </a:xfrm>
              <a:custGeom>
                <a:avLst/>
                <a:gdLst>
                  <a:gd name="T0" fmla="*/ 93 w 105"/>
                  <a:gd name="T1" fmla="*/ 276 h 276"/>
                  <a:gd name="T2" fmla="*/ 0 w 105"/>
                  <a:gd name="T3" fmla="*/ 276 h 276"/>
                  <a:gd name="T4" fmla="*/ 0 w 105"/>
                  <a:gd name="T5" fmla="*/ 0 h 276"/>
                  <a:gd name="T6" fmla="*/ 105 w 105"/>
                  <a:gd name="T7" fmla="*/ 0 h 276"/>
                  <a:gd name="T8" fmla="*/ 105 w 105"/>
                  <a:gd name="T9" fmla="*/ 6 h 276"/>
                  <a:gd name="T10" fmla="*/ 6 w 105"/>
                  <a:gd name="T11" fmla="*/ 6 h 276"/>
                  <a:gd name="T12" fmla="*/ 6 w 105"/>
                  <a:gd name="T13" fmla="*/ 271 h 276"/>
                  <a:gd name="T14" fmla="*/ 93 w 105"/>
                  <a:gd name="T15" fmla="*/ 271 h 276"/>
                  <a:gd name="T16" fmla="*/ 93 w 105"/>
                  <a:gd name="T17" fmla="*/ 276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5" h="276">
                    <a:moveTo>
                      <a:pt x="93" y="276"/>
                    </a:moveTo>
                    <a:lnTo>
                      <a:pt x="0" y="276"/>
                    </a:lnTo>
                    <a:lnTo>
                      <a:pt x="0" y="0"/>
                    </a:lnTo>
                    <a:lnTo>
                      <a:pt x="105" y="0"/>
                    </a:lnTo>
                    <a:lnTo>
                      <a:pt x="105" y="6"/>
                    </a:lnTo>
                    <a:lnTo>
                      <a:pt x="6" y="6"/>
                    </a:lnTo>
                    <a:lnTo>
                      <a:pt x="6" y="271"/>
                    </a:lnTo>
                    <a:lnTo>
                      <a:pt x="93" y="271"/>
                    </a:lnTo>
                    <a:lnTo>
                      <a:pt x="93" y="276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2A2EFEED-D1E2-4FD9-A138-552DE67E47A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46644" y="6273032"/>
                <a:ext cx="26921" cy="56536"/>
              </a:xfrm>
              <a:prstGeom prst="rect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32" name="Freeform 75">
                <a:extLst>
                  <a:ext uri="{FF2B5EF4-FFF2-40B4-BE49-F238E27FC236}">
                    <a16:creationId xmlns:a16="http://schemas.microsoft.com/office/drawing/2014/main" id="{A348E330-4BA5-49B5-89E0-E1F407E9140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883115" y="4951196"/>
                <a:ext cx="1076853" cy="734953"/>
              </a:xfrm>
              <a:custGeom>
                <a:avLst/>
                <a:gdLst>
                  <a:gd name="T0" fmla="*/ 400 w 400"/>
                  <a:gd name="T1" fmla="*/ 273 h 273"/>
                  <a:gd name="T2" fmla="*/ 400 w 400"/>
                  <a:gd name="T3" fmla="*/ 0 h 273"/>
                  <a:gd name="T4" fmla="*/ 201 w 400"/>
                  <a:gd name="T5" fmla="*/ 0 h 273"/>
                  <a:gd name="T6" fmla="*/ 0 w 400"/>
                  <a:gd name="T7" fmla="*/ 0 h 273"/>
                  <a:gd name="T8" fmla="*/ 0 w 400"/>
                  <a:gd name="T9" fmla="*/ 273 h 273"/>
                  <a:gd name="T10" fmla="*/ 201 w 400"/>
                  <a:gd name="T11" fmla="*/ 273 h 273"/>
                  <a:gd name="T12" fmla="*/ 400 w 400"/>
                  <a:gd name="T13" fmla="*/ 273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0" h="273">
                    <a:moveTo>
                      <a:pt x="400" y="273"/>
                    </a:moveTo>
                    <a:lnTo>
                      <a:pt x="400" y="0"/>
                    </a:lnTo>
                    <a:lnTo>
                      <a:pt x="201" y="0"/>
                    </a:lnTo>
                    <a:lnTo>
                      <a:pt x="0" y="0"/>
                    </a:lnTo>
                    <a:lnTo>
                      <a:pt x="0" y="273"/>
                    </a:lnTo>
                    <a:lnTo>
                      <a:pt x="201" y="273"/>
                    </a:lnTo>
                    <a:lnTo>
                      <a:pt x="400" y="273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D0DD5A38-4FF2-4B4D-B83B-0F3572C0E80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0939649" y="4991577"/>
                <a:ext cx="966476" cy="573425"/>
              </a:xfrm>
              <a:prstGeom prst="rect">
                <a:avLst/>
              </a:prstGeom>
              <a:solidFill>
                <a:srgbClr val="D048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234" name="Freeform 80">
                <a:extLst>
                  <a:ext uri="{FF2B5EF4-FFF2-40B4-BE49-F238E27FC236}">
                    <a16:creationId xmlns:a16="http://schemas.microsoft.com/office/drawing/2014/main" id="{223C58EE-7F78-4839-9651-128AC8AC33C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873565" y="6065739"/>
                <a:ext cx="463047" cy="314980"/>
              </a:xfrm>
              <a:custGeom>
                <a:avLst/>
                <a:gdLst>
                  <a:gd name="T0" fmla="*/ 172 w 172"/>
                  <a:gd name="T1" fmla="*/ 117 h 117"/>
                  <a:gd name="T2" fmla="*/ 172 w 172"/>
                  <a:gd name="T3" fmla="*/ 0 h 117"/>
                  <a:gd name="T4" fmla="*/ 86 w 172"/>
                  <a:gd name="T5" fmla="*/ 0 h 117"/>
                  <a:gd name="T6" fmla="*/ 0 w 172"/>
                  <a:gd name="T7" fmla="*/ 0 h 117"/>
                  <a:gd name="T8" fmla="*/ 0 w 172"/>
                  <a:gd name="T9" fmla="*/ 117 h 117"/>
                  <a:gd name="T10" fmla="*/ 86 w 172"/>
                  <a:gd name="T11" fmla="*/ 117 h 117"/>
                  <a:gd name="T12" fmla="*/ 172 w 172"/>
                  <a:gd name="T13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2" h="117">
                    <a:moveTo>
                      <a:pt x="172" y="117"/>
                    </a:moveTo>
                    <a:lnTo>
                      <a:pt x="172" y="0"/>
                    </a:lnTo>
                    <a:lnTo>
                      <a:pt x="86" y="0"/>
                    </a:lnTo>
                    <a:lnTo>
                      <a:pt x="0" y="0"/>
                    </a:lnTo>
                    <a:lnTo>
                      <a:pt x="0" y="117"/>
                    </a:lnTo>
                    <a:lnTo>
                      <a:pt x="86" y="117"/>
                    </a:lnTo>
                    <a:lnTo>
                      <a:pt x="172" y="117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3B495461-35B6-459E-8442-FACDF94D1FB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97795" y="6079198"/>
                <a:ext cx="414588" cy="250369"/>
              </a:xfrm>
              <a:prstGeom prst="rect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36" name="Freeform 83">
                <a:extLst>
                  <a:ext uri="{FF2B5EF4-FFF2-40B4-BE49-F238E27FC236}">
                    <a16:creationId xmlns:a16="http://schemas.microsoft.com/office/drawing/2014/main" id="{574BED13-3C44-442A-92B0-CF608E1702E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624162" y="5271559"/>
                <a:ext cx="1523747" cy="56536"/>
              </a:xfrm>
              <a:custGeom>
                <a:avLst/>
                <a:gdLst>
                  <a:gd name="T0" fmla="*/ 0 w 973"/>
                  <a:gd name="T1" fmla="*/ 0 h 35"/>
                  <a:gd name="T2" fmla="*/ 75 w 973"/>
                  <a:gd name="T3" fmla="*/ 35 h 35"/>
                  <a:gd name="T4" fmla="*/ 897 w 973"/>
                  <a:gd name="T5" fmla="*/ 35 h 35"/>
                  <a:gd name="T6" fmla="*/ 973 w 973"/>
                  <a:gd name="T7" fmla="*/ 0 h 35"/>
                  <a:gd name="T8" fmla="*/ 0 w 973"/>
                  <a:gd name="T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3" h="35">
                    <a:moveTo>
                      <a:pt x="0" y="0"/>
                    </a:moveTo>
                    <a:cubicBezTo>
                      <a:pt x="0" y="3"/>
                      <a:pt x="2" y="35"/>
                      <a:pt x="75" y="35"/>
                    </a:cubicBezTo>
                    <a:cubicBezTo>
                      <a:pt x="897" y="35"/>
                      <a:pt x="897" y="35"/>
                      <a:pt x="897" y="35"/>
                    </a:cubicBezTo>
                    <a:cubicBezTo>
                      <a:pt x="897" y="35"/>
                      <a:pt x="973" y="35"/>
                      <a:pt x="97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237" name="Freeform 84">
                <a:extLst>
                  <a:ext uri="{FF2B5EF4-FFF2-40B4-BE49-F238E27FC236}">
                    <a16:creationId xmlns:a16="http://schemas.microsoft.com/office/drawing/2014/main" id="{6F70A388-A268-4892-AEAE-57359D7F83B9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931065" y="4480072"/>
                <a:ext cx="1012242" cy="756489"/>
              </a:xfrm>
              <a:custGeom>
                <a:avLst/>
                <a:gdLst>
                  <a:gd name="T0" fmla="*/ 60 w 710"/>
                  <a:gd name="T1" fmla="*/ 0 h 515"/>
                  <a:gd name="T2" fmla="*/ 0 w 710"/>
                  <a:gd name="T3" fmla="*/ 60 h 515"/>
                  <a:gd name="T4" fmla="*/ 0 w 710"/>
                  <a:gd name="T5" fmla="*/ 515 h 515"/>
                  <a:gd name="T6" fmla="*/ 60 w 710"/>
                  <a:gd name="T7" fmla="*/ 513 h 515"/>
                  <a:gd name="T8" fmla="*/ 648 w 710"/>
                  <a:gd name="T9" fmla="*/ 513 h 515"/>
                  <a:gd name="T10" fmla="*/ 710 w 710"/>
                  <a:gd name="T11" fmla="*/ 515 h 515"/>
                  <a:gd name="T12" fmla="*/ 710 w 710"/>
                  <a:gd name="T13" fmla="*/ 60 h 515"/>
                  <a:gd name="T14" fmla="*/ 648 w 710"/>
                  <a:gd name="T15" fmla="*/ 0 h 515"/>
                  <a:gd name="T16" fmla="*/ 92 w 710"/>
                  <a:gd name="T17" fmla="*/ 0 h 515"/>
                  <a:gd name="T18" fmla="*/ 60 w 710"/>
                  <a:gd name="T19" fmla="*/ 0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10" h="515">
                    <a:moveTo>
                      <a:pt x="60" y="0"/>
                    </a:moveTo>
                    <a:cubicBezTo>
                      <a:pt x="60" y="0"/>
                      <a:pt x="0" y="0"/>
                      <a:pt x="0" y="60"/>
                    </a:cubicBezTo>
                    <a:cubicBezTo>
                      <a:pt x="0" y="515"/>
                      <a:pt x="0" y="515"/>
                      <a:pt x="0" y="515"/>
                    </a:cubicBezTo>
                    <a:cubicBezTo>
                      <a:pt x="60" y="513"/>
                      <a:pt x="60" y="513"/>
                      <a:pt x="60" y="513"/>
                    </a:cubicBezTo>
                    <a:cubicBezTo>
                      <a:pt x="648" y="513"/>
                      <a:pt x="648" y="513"/>
                      <a:pt x="648" y="513"/>
                    </a:cubicBezTo>
                    <a:cubicBezTo>
                      <a:pt x="710" y="515"/>
                      <a:pt x="710" y="515"/>
                      <a:pt x="710" y="515"/>
                    </a:cubicBezTo>
                    <a:cubicBezTo>
                      <a:pt x="710" y="60"/>
                      <a:pt x="710" y="60"/>
                      <a:pt x="710" y="60"/>
                    </a:cubicBezTo>
                    <a:cubicBezTo>
                      <a:pt x="710" y="60"/>
                      <a:pt x="710" y="0"/>
                      <a:pt x="648" y="0"/>
                    </a:cubicBezTo>
                    <a:cubicBezTo>
                      <a:pt x="92" y="0"/>
                      <a:pt x="92" y="0"/>
                      <a:pt x="92" y="0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238" name="Freeform 85">
                <a:extLst>
                  <a:ext uri="{FF2B5EF4-FFF2-40B4-BE49-F238E27FC236}">
                    <a16:creationId xmlns:a16="http://schemas.microsoft.com/office/drawing/2014/main" id="{4962D301-DB32-4D6F-97F7-A3DF6B36159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7016288" y="4545006"/>
                <a:ext cx="854330" cy="670017"/>
              </a:xfrm>
              <a:custGeom>
                <a:avLst/>
                <a:gdLst>
                  <a:gd name="T0" fmla="*/ 55 w 646"/>
                  <a:gd name="T1" fmla="*/ 0 h 466"/>
                  <a:gd name="T2" fmla="*/ 0 w 646"/>
                  <a:gd name="T3" fmla="*/ 55 h 466"/>
                  <a:gd name="T4" fmla="*/ 0 w 646"/>
                  <a:gd name="T5" fmla="*/ 411 h 466"/>
                  <a:gd name="T6" fmla="*/ 55 w 646"/>
                  <a:gd name="T7" fmla="*/ 466 h 466"/>
                  <a:gd name="T8" fmla="*/ 590 w 646"/>
                  <a:gd name="T9" fmla="*/ 466 h 466"/>
                  <a:gd name="T10" fmla="*/ 646 w 646"/>
                  <a:gd name="T11" fmla="*/ 411 h 466"/>
                  <a:gd name="T12" fmla="*/ 646 w 646"/>
                  <a:gd name="T13" fmla="*/ 55 h 466"/>
                  <a:gd name="T14" fmla="*/ 590 w 646"/>
                  <a:gd name="T15" fmla="*/ 0 h 466"/>
                  <a:gd name="T16" fmla="*/ 220 w 646"/>
                  <a:gd name="T17" fmla="*/ 0 h 466"/>
                  <a:gd name="T18" fmla="*/ 55 w 646"/>
                  <a:gd name="T19" fmla="*/ 0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6" h="466">
                    <a:moveTo>
                      <a:pt x="55" y="0"/>
                    </a:moveTo>
                    <a:cubicBezTo>
                      <a:pt x="55" y="0"/>
                      <a:pt x="0" y="0"/>
                      <a:pt x="0" y="55"/>
                    </a:cubicBezTo>
                    <a:cubicBezTo>
                      <a:pt x="0" y="411"/>
                      <a:pt x="0" y="411"/>
                      <a:pt x="0" y="411"/>
                    </a:cubicBezTo>
                    <a:cubicBezTo>
                      <a:pt x="0" y="411"/>
                      <a:pt x="0" y="466"/>
                      <a:pt x="55" y="466"/>
                    </a:cubicBezTo>
                    <a:cubicBezTo>
                      <a:pt x="590" y="466"/>
                      <a:pt x="590" y="466"/>
                      <a:pt x="590" y="466"/>
                    </a:cubicBezTo>
                    <a:cubicBezTo>
                      <a:pt x="590" y="466"/>
                      <a:pt x="646" y="466"/>
                      <a:pt x="646" y="411"/>
                    </a:cubicBezTo>
                    <a:cubicBezTo>
                      <a:pt x="646" y="55"/>
                      <a:pt x="646" y="55"/>
                      <a:pt x="646" y="55"/>
                    </a:cubicBezTo>
                    <a:cubicBezTo>
                      <a:pt x="646" y="55"/>
                      <a:pt x="646" y="0"/>
                      <a:pt x="590" y="0"/>
                    </a:cubicBezTo>
                    <a:cubicBezTo>
                      <a:pt x="220" y="0"/>
                      <a:pt x="220" y="0"/>
                      <a:pt x="220" y="0"/>
                    </a:cubicBezTo>
                    <a:lnTo>
                      <a:pt x="55" y="0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239" name="Freeform 86">
                <a:extLst>
                  <a:ext uri="{FF2B5EF4-FFF2-40B4-BE49-F238E27FC236}">
                    <a16:creationId xmlns:a16="http://schemas.microsoft.com/office/drawing/2014/main" id="{EC2C46A8-CA4A-4456-AD7C-45BD98246AA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624162" y="5233869"/>
                <a:ext cx="1523747" cy="37690"/>
              </a:xfrm>
              <a:custGeom>
                <a:avLst/>
                <a:gdLst>
                  <a:gd name="T0" fmla="*/ 76 w 566"/>
                  <a:gd name="T1" fmla="*/ 0 h 14"/>
                  <a:gd name="T2" fmla="*/ 0 w 566"/>
                  <a:gd name="T3" fmla="*/ 14 h 14"/>
                  <a:gd name="T4" fmla="*/ 566 w 566"/>
                  <a:gd name="T5" fmla="*/ 14 h 14"/>
                  <a:gd name="T6" fmla="*/ 490 w 566"/>
                  <a:gd name="T7" fmla="*/ 0 h 14"/>
                  <a:gd name="T8" fmla="*/ 76 w 566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6" h="14">
                    <a:moveTo>
                      <a:pt x="76" y="0"/>
                    </a:moveTo>
                    <a:lnTo>
                      <a:pt x="0" y="14"/>
                    </a:lnTo>
                    <a:lnTo>
                      <a:pt x="566" y="14"/>
                    </a:lnTo>
                    <a:lnTo>
                      <a:pt x="490" y="0"/>
                    </a:lnTo>
                    <a:lnTo>
                      <a:pt x="76" y="0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</p:grpSp>
        <p:pic>
          <p:nvPicPr>
            <p:cNvPr id="163" name="Picture 162">
              <a:extLst>
                <a:ext uri="{FF2B5EF4-FFF2-40B4-BE49-F238E27FC236}">
                  <a16:creationId xmlns:a16="http://schemas.microsoft.com/office/drawing/2014/main" id="{CE4705FC-5B86-4965-A6D1-886825B30DB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6220" y="4568432"/>
              <a:ext cx="736358" cy="613092"/>
            </a:xfrm>
            <a:prstGeom prst="rect">
              <a:avLst/>
            </a:prstGeom>
          </p:spPr>
        </p:pic>
        <p:pic>
          <p:nvPicPr>
            <p:cNvPr id="164" name="Picture 163">
              <a:extLst>
                <a:ext uri="{FF2B5EF4-FFF2-40B4-BE49-F238E27FC236}">
                  <a16:creationId xmlns:a16="http://schemas.microsoft.com/office/drawing/2014/main" id="{813EC1FF-C494-475E-AFAD-D1E3C108A5D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36377" y="5038107"/>
              <a:ext cx="604035" cy="502920"/>
            </a:xfrm>
            <a:prstGeom prst="rect">
              <a:avLst/>
            </a:prstGeom>
          </p:spPr>
        </p:pic>
        <p:pic>
          <p:nvPicPr>
            <p:cNvPr id="165" name="Picture 164">
              <a:extLst>
                <a:ext uri="{FF2B5EF4-FFF2-40B4-BE49-F238E27FC236}">
                  <a16:creationId xmlns:a16="http://schemas.microsoft.com/office/drawing/2014/main" id="{AE46182C-D272-4961-80BE-15E356DDBCB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0500" y="6106350"/>
              <a:ext cx="252597" cy="2103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92413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C3963000-F91C-4D9B-B983-AFD60801B0A9}"/>
              </a:ext>
            </a:extLst>
          </p:cNvPr>
          <p:cNvGrpSpPr/>
          <p:nvPr userDrawn="1"/>
        </p:nvGrpSpPr>
        <p:grpSpPr>
          <a:xfrm>
            <a:off x="5468357" y="4139517"/>
            <a:ext cx="6723644" cy="2716134"/>
            <a:chOff x="5789470" y="4224320"/>
            <a:chExt cx="6858467" cy="2770205"/>
          </a:xfrm>
        </p:grpSpPr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92A3C992-D3CD-4FF3-A099-E59D7BAFBAD7}"/>
                </a:ext>
              </a:extLst>
            </p:cNvPr>
            <p:cNvGrpSpPr>
              <a:grpSpLocks noChangeAspect="1"/>
            </p:cNvGrpSpPr>
            <p:nvPr userDrawn="1"/>
          </p:nvGrpSpPr>
          <p:grpSpPr bwMode="gray">
            <a:xfrm>
              <a:off x="5789470" y="4224320"/>
              <a:ext cx="6858467" cy="2770205"/>
              <a:chOff x="5788926" y="4224320"/>
              <a:chExt cx="6858467" cy="2770205"/>
            </a:xfrm>
          </p:grpSpPr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2BC0C1E6-13F4-4476-9706-8E2F1859E53C}"/>
                  </a:ext>
                </a:extLst>
              </p:cNvPr>
              <p:cNvSpPr/>
              <p:nvPr userDrawn="1"/>
            </p:nvSpPr>
            <p:spPr bwMode="gray">
              <a:xfrm>
                <a:off x="5788926" y="5758835"/>
                <a:ext cx="2577047" cy="1235690"/>
              </a:xfrm>
              <a:custGeom>
                <a:avLst/>
                <a:gdLst>
                  <a:gd name="connsiteX0" fmla="*/ 1214715 w 2577047"/>
                  <a:gd name="connsiteY0" fmla="*/ 0 h 1235690"/>
                  <a:gd name="connsiteX1" fmla="*/ 1914672 w 2577047"/>
                  <a:gd name="connsiteY1" fmla="*/ 468064 h 1235690"/>
                  <a:gd name="connsiteX2" fmla="*/ 2060300 w 2577047"/>
                  <a:gd name="connsiteY2" fmla="*/ 446221 h 1235690"/>
                  <a:gd name="connsiteX3" fmla="*/ 2577047 w 2577047"/>
                  <a:gd name="connsiteY3" fmla="*/ 957972 h 1235690"/>
                  <a:gd name="connsiteX4" fmla="*/ 2495620 w 2577047"/>
                  <a:gd name="connsiteY4" fmla="*/ 1235690 h 1235690"/>
                  <a:gd name="connsiteX5" fmla="*/ 1889591 w 2577047"/>
                  <a:gd name="connsiteY5" fmla="*/ 1235690 h 1235690"/>
                  <a:gd name="connsiteX6" fmla="*/ 1799319 w 2577047"/>
                  <a:gd name="connsiteY6" fmla="*/ 1235690 h 1235690"/>
                  <a:gd name="connsiteX7" fmla="*/ 31390 w 2577047"/>
                  <a:gd name="connsiteY7" fmla="*/ 1235690 h 1235690"/>
                  <a:gd name="connsiteX8" fmla="*/ 9264 w 2577047"/>
                  <a:gd name="connsiteY8" fmla="*/ 1164413 h 1235690"/>
                  <a:gd name="connsiteX9" fmla="*/ 0 w 2577047"/>
                  <a:gd name="connsiteY9" fmla="*/ 1072517 h 1235690"/>
                  <a:gd name="connsiteX10" fmla="*/ 455981 w 2577047"/>
                  <a:gd name="connsiteY10" fmla="*/ 616536 h 1235690"/>
                  <a:gd name="connsiteX11" fmla="*/ 459500 w 2577047"/>
                  <a:gd name="connsiteY11" fmla="*/ 616891 h 1235690"/>
                  <a:gd name="connsiteX12" fmla="*/ 459640 w 2577047"/>
                  <a:gd name="connsiteY12" fmla="*/ 615506 h 1235690"/>
                  <a:gd name="connsiteX13" fmla="*/ 720719 w 2577047"/>
                  <a:gd name="connsiteY13" fmla="*/ 182302 h 1235690"/>
                  <a:gd name="connsiteX14" fmla="*/ 739060 w 2577047"/>
                  <a:gd name="connsiteY14" fmla="*/ 169592 h 1235690"/>
                  <a:gd name="connsiteX15" fmla="*/ 747661 w 2577047"/>
                  <a:gd name="connsiteY15" fmla="*/ 161263 h 1235690"/>
                  <a:gd name="connsiteX16" fmla="*/ 1214715 w 2577047"/>
                  <a:gd name="connsiteY16" fmla="*/ 0 h 123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577047" h="1235690">
                    <a:moveTo>
                      <a:pt x="1214715" y="0"/>
                    </a:moveTo>
                    <a:cubicBezTo>
                      <a:pt x="1532592" y="0"/>
                      <a:pt x="1803493" y="191906"/>
                      <a:pt x="1914672" y="468064"/>
                    </a:cubicBezTo>
                    <a:cubicBezTo>
                      <a:pt x="1961649" y="454022"/>
                      <a:pt x="2010192" y="446221"/>
                      <a:pt x="2060300" y="446221"/>
                    </a:cubicBezTo>
                    <a:cubicBezTo>
                      <a:pt x="2346860" y="446221"/>
                      <a:pt x="2577047" y="675573"/>
                      <a:pt x="2577047" y="957972"/>
                    </a:cubicBezTo>
                    <a:cubicBezTo>
                      <a:pt x="2577047" y="1060946"/>
                      <a:pt x="2547295" y="1156119"/>
                      <a:pt x="2495620" y="1235690"/>
                    </a:cubicBezTo>
                    <a:cubicBezTo>
                      <a:pt x="2495620" y="1235690"/>
                      <a:pt x="2495620" y="1235690"/>
                      <a:pt x="1889591" y="1235690"/>
                    </a:cubicBezTo>
                    <a:lnTo>
                      <a:pt x="1799319" y="1235690"/>
                    </a:lnTo>
                    <a:lnTo>
                      <a:pt x="31390" y="1235690"/>
                    </a:lnTo>
                    <a:lnTo>
                      <a:pt x="9264" y="1164413"/>
                    </a:lnTo>
                    <a:cubicBezTo>
                      <a:pt x="3190" y="1134730"/>
                      <a:pt x="0" y="1103996"/>
                      <a:pt x="0" y="1072517"/>
                    </a:cubicBezTo>
                    <a:cubicBezTo>
                      <a:pt x="0" y="820686"/>
                      <a:pt x="204150" y="616536"/>
                      <a:pt x="455981" y="616536"/>
                    </a:cubicBezTo>
                    <a:lnTo>
                      <a:pt x="459500" y="616891"/>
                    </a:lnTo>
                    <a:lnTo>
                      <a:pt x="459640" y="615506"/>
                    </a:lnTo>
                    <a:cubicBezTo>
                      <a:pt x="495067" y="442379"/>
                      <a:pt x="589371" y="290700"/>
                      <a:pt x="720719" y="182302"/>
                    </a:cubicBezTo>
                    <a:lnTo>
                      <a:pt x="739060" y="169592"/>
                    </a:lnTo>
                    <a:lnTo>
                      <a:pt x="747661" y="161263"/>
                    </a:lnTo>
                    <a:cubicBezTo>
                      <a:pt x="876480" y="60556"/>
                      <a:pt x="1038551" y="0"/>
                      <a:pt x="1214715" y="0"/>
                    </a:cubicBezTo>
                    <a:close/>
                  </a:path>
                </a:pathLst>
              </a:cu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8" name="Freeform 6">
                <a:extLst>
                  <a:ext uri="{FF2B5EF4-FFF2-40B4-BE49-F238E27FC236}">
                    <a16:creationId xmlns:a16="http://schemas.microsoft.com/office/drawing/2014/main" id="{86C13A96-1DC4-4390-9BB3-60BA856DE50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422506" y="4305084"/>
                <a:ext cx="2008331" cy="1846803"/>
              </a:xfrm>
              <a:custGeom>
                <a:avLst/>
                <a:gdLst>
                  <a:gd name="T0" fmla="*/ 948 w 1281"/>
                  <a:gd name="T1" fmla="*/ 6 h 1185"/>
                  <a:gd name="T2" fmla="*/ 641 w 1281"/>
                  <a:gd name="T3" fmla="*/ 168 h 1185"/>
                  <a:gd name="T4" fmla="*/ 333 w 1281"/>
                  <a:gd name="T5" fmla="*/ 6 h 1185"/>
                  <a:gd name="T6" fmla="*/ 10 w 1281"/>
                  <a:gd name="T7" fmla="*/ 362 h 1185"/>
                  <a:gd name="T8" fmla="*/ 641 w 1281"/>
                  <a:gd name="T9" fmla="*/ 1185 h 1185"/>
                  <a:gd name="T10" fmla="*/ 641 w 1281"/>
                  <a:gd name="T11" fmla="*/ 1184 h 1185"/>
                  <a:gd name="T12" fmla="*/ 641 w 1281"/>
                  <a:gd name="T13" fmla="*/ 1185 h 1185"/>
                  <a:gd name="T14" fmla="*/ 1272 w 1281"/>
                  <a:gd name="T15" fmla="*/ 361 h 1185"/>
                  <a:gd name="T16" fmla="*/ 948 w 1281"/>
                  <a:gd name="T17" fmla="*/ 6 h 1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81" h="1185">
                    <a:moveTo>
                      <a:pt x="948" y="6"/>
                    </a:moveTo>
                    <a:cubicBezTo>
                      <a:pt x="820" y="0"/>
                      <a:pt x="703" y="65"/>
                      <a:pt x="641" y="168"/>
                    </a:cubicBezTo>
                    <a:cubicBezTo>
                      <a:pt x="578" y="65"/>
                      <a:pt x="461" y="0"/>
                      <a:pt x="333" y="6"/>
                    </a:cubicBezTo>
                    <a:cubicBezTo>
                      <a:pt x="144" y="15"/>
                      <a:pt x="0" y="175"/>
                      <a:pt x="10" y="362"/>
                    </a:cubicBezTo>
                    <a:cubicBezTo>
                      <a:pt x="19" y="548"/>
                      <a:pt x="641" y="1185"/>
                      <a:pt x="641" y="1185"/>
                    </a:cubicBezTo>
                    <a:cubicBezTo>
                      <a:pt x="641" y="1185"/>
                      <a:pt x="641" y="1185"/>
                      <a:pt x="641" y="1184"/>
                    </a:cubicBezTo>
                    <a:cubicBezTo>
                      <a:pt x="641" y="1185"/>
                      <a:pt x="641" y="1185"/>
                      <a:pt x="641" y="1185"/>
                    </a:cubicBezTo>
                    <a:cubicBezTo>
                      <a:pt x="641" y="1185"/>
                      <a:pt x="1263" y="548"/>
                      <a:pt x="1272" y="361"/>
                    </a:cubicBezTo>
                    <a:cubicBezTo>
                      <a:pt x="1281" y="174"/>
                      <a:pt x="1137" y="15"/>
                      <a:pt x="948" y="6"/>
                    </a:cubicBezTo>
                    <a:close/>
                  </a:path>
                </a:pathLst>
              </a:custGeom>
              <a:solidFill>
                <a:srgbClr val="3393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FA6FFFB3-AA4D-49CA-880D-84C00E4B217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601660" y="4515070"/>
                <a:ext cx="573425" cy="1445676"/>
              </a:xfrm>
              <a:prstGeom prst="rect">
                <a:avLst/>
              </a:pr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21429DF9-7E77-49F0-8C13-F59A9D4E5A6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640568" y="4224320"/>
                <a:ext cx="576116" cy="1445676"/>
              </a:xfrm>
              <a:prstGeom prst="rect">
                <a:avLst/>
              </a:pr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2EFDFCC8-E1CE-427E-906C-68E883C5C3A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771264" y="4698135"/>
                <a:ext cx="573425" cy="1445676"/>
              </a:xfrm>
              <a:prstGeom prst="rect">
                <a:avLst/>
              </a:pr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12A04AE3-C356-41BC-B306-6833AA1076F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351291" y="4843510"/>
                <a:ext cx="320365" cy="1397218"/>
              </a:xfrm>
              <a:prstGeom prst="rect">
                <a:avLst/>
              </a:pr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054C3F0D-C038-4ABD-AC0E-DDB8AE612C9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505962" y="4708904"/>
                <a:ext cx="309596" cy="1292224"/>
              </a:xfrm>
              <a:prstGeom prst="rect">
                <a:avLst/>
              </a:pr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4" name="Rectangle 93">
                <a:extLst>
                  <a:ext uri="{FF2B5EF4-FFF2-40B4-BE49-F238E27FC236}">
                    <a16:creationId xmlns:a16="http://schemas.microsoft.com/office/drawing/2014/main" id="{101754BA-9CD4-49F4-9299-5D028A5C228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780559" y="4576988"/>
                <a:ext cx="570732" cy="1518363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5" name="Freeform 13">
                <a:extLst>
                  <a:ext uri="{FF2B5EF4-FFF2-40B4-BE49-F238E27FC236}">
                    <a16:creationId xmlns:a16="http://schemas.microsoft.com/office/drawing/2014/main" id="{6759B8A7-ACAD-4994-8C35-5C036B6BD76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4665830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2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2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2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2"/>
                      <a:pt x="286" y="22"/>
                      <a:pt x="286" y="22"/>
                    </a:cubicBezTo>
                    <a:cubicBezTo>
                      <a:pt x="286" y="22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6" name="Freeform 14">
                <a:extLst>
                  <a:ext uri="{FF2B5EF4-FFF2-40B4-BE49-F238E27FC236}">
                    <a16:creationId xmlns:a16="http://schemas.microsoft.com/office/drawing/2014/main" id="{428F985F-5586-420B-A27A-4FACBC34743F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4805821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7" name="Freeform 15">
                <a:extLst>
                  <a:ext uri="{FF2B5EF4-FFF2-40B4-BE49-F238E27FC236}">
                    <a16:creationId xmlns:a16="http://schemas.microsoft.com/office/drawing/2014/main" id="{B1C5AD91-A6D8-4147-90F2-CEF89583A2B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4943118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4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4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4"/>
                      <a:pt x="286" y="24"/>
                      <a:pt x="286" y="24"/>
                    </a:cubicBezTo>
                    <a:cubicBezTo>
                      <a:pt x="286" y="24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8" name="Freeform 16">
                <a:extLst>
                  <a:ext uri="{FF2B5EF4-FFF2-40B4-BE49-F238E27FC236}">
                    <a16:creationId xmlns:a16="http://schemas.microsoft.com/office/drawing/2014/main" id="{E82BBECD-3419-4441-9066-66FE2A807AD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080418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9" name="Freeform 17">
                <a:extLst>
                  <a:ext uri="{FF2B5EF4-FFF2-40B4-BE49-F238E27FC236}">
                    <a16:creationId xmlns:a16="http://schemas.microsoft.com/office/drawing/2014/main" id="{8E6DA5D8-E3BD-4266-A58A-A5436034387F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220409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0" name="Freeform 18">
                <a:extLst>
                  <a:ext uri="{FF2B5EF4-FFF2-40B4-BE49-F238E27FC236}">
                    <a16:creationId xmlns:a16="http://schemas.microsoft.com/office/drawing/2014/main" id="{F99D9FB5-EC20-47B5-A4A2-CB5565B6E11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357707"/>
                <a:ext cx="446894" cy="78073"/>
              </a:xfrm>
              <a:custGeom>
                <a:avLst/>
                <a:gdLst>
                  <a:gd name="T0" fmla="*/ 24 w 286"/>
                  <a:gd name="T1" fmla="*/ 0 h 51"/>
                  <a:gd name="T2" fmla="*/ 0 w 286"/>
                  <a:gd name="T3" fmla="*/ 24 h 51"/>
                  <a:gd name="T4" fmla="*/ 0 w 286"/>
                  <a:gd name="T5" fmla="*/ 28 h 51"/>
                  <a:gd name="T6" fmla="*/ 24 w 286"/>
                  <a:gd name="T7" fmla="*/ 51 h 51"/>
                  <a:gd name="T8" fmla="*/ 262 w 286"/>
                  <a:gd name="T9" fmla="*/ 51 h 51"/>
                  <a:gd name="T10" fmla="*/ 286 w 286"/>
                  <a:gd name="T11" fmla="*/ 28 h 51"/>
                  <a:gd name="T12" fmla="*/ 286 w 286"/>
                  <a:gd name="T13" fmla="*/ 24 h 51"/>
                  <a:gd name="T14" fmla="*/ 262 w 286"/>
                  <a:gd name="T15" fmla="*/ 0 h 51"/>
                  <a:gd name="T16" fmla="*/ 152 w 286"/>
                  <a:gd name="T17" fmla="*/ 0 h 51"/>
                  <a:gd name="T18" fmla="*/ 24 w 286"/>
                  <a:gd name="T1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1">
                    <a:moveTo>
                      <a:pt x="24" y="0"/>
                    </a:moveTo>
                    <a:cubicBezTo>
                      <a:pt x="24" y="0"/>
                      <a:pt x="0" y="0"/>
                      <a:pt x="0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1"/>
                      <a:pt x="24" y="51"/>
                    </a:cubicBezTo>
                    <a:cubicBezTo>
                      <a:pt x="262" y="51"/>
                      <a:pt x="262" y="51"/>
                      <a:pt x="262" y="51"/>
                    </a:cubicBezTo>
                    <a:cubicBezTo>
                      <a:pt x="262" y="51"/>
                      <a:pt x="286" y="51"/>
                      <a:pt x="286" y="28"/>
                    </a:cubicBezTo>
                    <a:cubicBezTo>
                      <a:pt x="286" y="24"/>
                      <a:pt x="286" y="24"/>
                      <a:pt x="286" y="24"/>
                    </a:cubicBezTo>
                    <a:cubicBezTo>
                      <a:pt x="286" y="24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1" name="Freeform 19">
                <a:extLst>
                  <a:ext uri="{FF2B5EF4-FFF2-40B4-BE49-F238E27FC236}">
                    <a16:creationId xmlns:a16="http://schemas.microsoft.com/office/drawing/2014/main" id="{72753D06-A837-48F1-ACBF-C41E8DA6710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495006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2" name="Freeform 20">
                <a:extLst>
                  <a:ext uri="{FF2B5EF4-FFF2-40B4-BE49-F238E27FC236}">
                    <a16:creationId xmlns:a16="http://schemas.microsoft.com/office/drawing/2014/main" id="{4C0F2AA0-BD81-4650-82C7-06C922396877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634997"/>
                <a:ext cx="446894" cy="78073"/>
              </a:xfrm>
              <a:custGeom>
                <a:avLst/>
                <a:gdLst>
                  <a:gd name="T0" fmla="*/ 24 w 286"/>
                  <a:gd name="T1" fmla="*/ 0 h 51"/>
                  <a:gd name="T2" fmla="*/ 0 w 286"/>
                  <a:gd name="T3" fmla="*/ 23 h 51"/>
                  <a:gd name="T4" fmla="*/ 0 w 286"/>
                  <a:gd name="T5" fmla="*/ 27 h 51"/>
                  <a:gd name="T6" fmla="*/ 24 w 286"/>
                  <a:gd name="T7" fmla="*/ 51 h 51"/>
                  <a:gd name="T8" fmla="*/ 262 w 286"/>
                  <a:gd name="T9" fmla="*/ 51 h 51"/>
                  <a:gd name="T10" fmla="*/ 286 w 286"/>
                  <a:gd name="T11" fmla="*/ 27 h 51"/>
                  <a:gd name="T12" fmla="*/ 286 w 286"/>
                  <a:gd name="T13" fmla="*/ 23 h 51"/>
                  <a:gd name="T14" fmla="*/ 262 w 286"/>
                  <a:gd name="T15" fmla="*/ 0 h 51"/>
                  <a:gd name="T16" fmla="*/ 152 w 286"/>
                  <a:gd name="T17" fmla="*/ 0 h 51"/>
                  <a:gd name="T18" fmla="*/ 24 w 286"/>
                  <a:gd name="T1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1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1"/>
                      <a:pt x="24" y="51"/>
                    </a:cubicBezTo>
                    <a:cubicBezTo>
                      <a:pt x="262" y="51"/>
                      <a:pt x="262" y="51"/>
                      <a:pt x="262" y="51"/>
                    </a:cubicBezTo>
                    <a:cubicBezTo>
                      <a:pt x="262" y="51"/>
                      <a:pt x="286" y="51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DA0B10D1-BA53-4FFF-8C62-2AEF1FCAA0F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4681982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2612C330-A45C-4C10-96BF-F9F70EBBCB7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4821973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F7ADE268-621F-4EDC-9EAF-2FC730B0B5D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4959271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18877468-4B23-4D56-B10F-0D6828AD1F8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099262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7" name="Freeform 25">
                <a:extLst>
                  <a:ext uri="{FF2B5EF4-FFF2-40B4-BE49-F238E27FC236}">
                    <a16:creationId xmlns:a16="http://schemas.microsoft.com/office/drawing/2014/main" id="{0D9C0A28-2B78-4D93-B657-5CD5F7D186B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203225" y="5236562"/>
                <a:ext cx="45767" cy="43074"/>
              </a:xfrm>
              <a:custGeom>
                <a:avLst/>
                <a:gdLst>
                  <a:gd name="T0" fmla="*/ 14 w 28"/>
                  <a:gd name="T1" fmla="*/ 28 h 28"/>
                  <a:gd name="T2" fmla="*/ 28 w 28"/>
                  <a:gd name="T3" fmla="*/ 13 h 28"/>
                  <a:gd name="T4" fmla="*/ 14 w 28"/>
                  <a:gd name="T5" fmla="*/ 0 h 28"/>
                  <a:gd name="T6" fmla="*/ 0 w 28"/>
                  <a:gd name="T7" fmla="*/ 13 h 28"/>
                  <a:gd name="T8" fmla="*/ 14 w 28"/>
                  <a:gd name="T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22" y="28"/>
                      <a:pt x="28" y="21"/>
                      <a:pt x="28" y="13"/>
                    </a:cubicBezTo>
                    <a:cubicBezTo>
                      <a:pt x="28" y="7"/>
                      <a:pt x="22" y="0"/>
                      <a:pt x="14" y="0"/>
                    </a:cubicBezTo>
                    <a:cubicBezTo>
                      <a:pt x="7" y="0"/>
                      <a:pt x="0" y="7"/>
                      <a:pt x="0" y="13"/>
                    </a:cubicBezTo>
                    <a:cubicBezTo>
                      <a:pt x="0" y="21"/>
                      <a:pt x="7" y="28"/>
                      <a:pt x="14" y="28"/>
                    </a:cubicBez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AE09FC56-6821-47FC-8FC7-2F002947488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376553"/>
                <a:ext cx="45767" cy="40383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43F9E2EE-FD3D-44B8-8995-2C99EBEE98D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513851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271DE23B-1AAA-4E6C-86F6-2E2CB996208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653841"/>
                <a:ext cx="45767" cy="40383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1" name="Freeform 29">
                <a:extLst>
                  <a:ext uri="{FF2B5EF4-FFF2-40B4-BE49-F238E27FC236}">
                    <a16:creationId xmlns:a16="http://schemas.microsoft.com/office/drawing/2014/main" id="{BF22106E-6818-4E4E-8B23-4092B370D020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772295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2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2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2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2"/>
                      <a:pt x="286" y="22"/>
                      <a:pt x="286" y="22"/>
                    </a:cubicBezTo>
                    <a:cubicBezTo>
                      <a:pt x="286" y="22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3B043737-7C08-4103-A972-D6C27D01333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791141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450978F9-6BAD-4605-A51B-BECE12A0656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467054" y="4883892"/>
                <a:ext cx="570732" cy="1337991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4" name="Freeform 32">
                <a:extLst>
                  <a:ext uri="{FF2B5EF4-FFF2-40B4-BE49-F238E27FC236}">
                    <a16:creationId xmlns:a16="http://schemas.microsoft.com/office/drawing/2014/main" id="{1B56E46C-F6EF-45E7-8DD4-34AD877D4AE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4975424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2 h 50"/>
                  <a:gd name="T4" fmla="*/ 0 w 287"/>
                  <a:gd name="T5" fmla="*/ 27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7 h 50"/>
                  <a:gd name="T12" fmla="*/ 287 w 287"/>
                  <a:gd name="T13" fmla="*/ 22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2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7"/>
                    </a:cubicBezTo>
                    <a:cubicBezTo>
                      <a:pt x="287" y="22"/>
                      <a:pt x="287" y="22"/>
                      <a:pt x="287" y="22"/>
                    </a:cubicBezTo>
                    <a:cubicBezTo>
                      <a:pt x="287" y="22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5" name="Freeform 33">
                <a:extLst>
                  <a:ext uri="{FF2B5EF4-FFF2-40B4-BE49-F238E27FC236}">
                    <a16:creationId xmlns:a16="http://schemas.microsoft.com/office/drawing/2014/main" id="{66881CB7-22B6-443B-97B3-12BEA7EC4D0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112724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6" name="Freeform 34">
                <a:extLst>
                  <a:ext uri="{FF2B5EF4-FFF2-40B4-BE49-F238E27FC236}">
                    <a16:creationId xmlns:a16="http://schemas.microsoft.com/office/drawing/2014/main" id="{4C97B99A-9988-48B5-B633-24904429B5C5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252715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2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2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2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2"/>
                      <a:pt x="287" y="22"/>
                      <a:pt x="287" y="22"/>
                    </a:cubicBezTo>
                    <a:cubicBezTo>
                      <a:pt x="287" y="22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7" name="Freeform 35">
                <a:extLst>
                  <a:ext uri="{FF2B5EF4-FFF2-40B4-BE49-F238E27FC236}">
                    <a16:creationId xmlns:a16="http://schemas.microsoft.com/office/drawing/2014/main" id="{292A9BC6-1BC1-401E-A904-37F2B5B9A03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390012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2 h 50"/>
                  <a:gd name="T4" fmla="*/ 0 w 287"/>
                  <a:gd name="T5" fmla="*/ 27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7 h 50"/>
                  <a:gd name="T12" fmla="*/ 287 w 287"/>
                  <a:gd name="T13" fmla="*/ 22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2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7"/>
                    </a:cubicBezTo>
                    <a:cubicBezTo>
                      <a:pt x="287" y="22"/>
                      <a:pt x="287" y="22"/>
                      <a:pt x="287" y="22"/>
                    </a:cubicBezTo>
                    <a:cubicBezTo>
                      <a:pt x="287" y="22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8" name="Freeform 36">
                <a:extLst>
                  <a:ext uri="{FF2B5EF4-FFF2-40B4-BE49-F238E27FC236}">
                    <a16:creationId xmlns:a16="http://schemas.microsoft.com/office/drawing/2014/main" id="{A2EED1B8-6A77-4EA4-98FD-356346A68D1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527312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9" name="Freeform 37">
                <a:extLst>
                  <a:ext uri="{FF2B5EF4-FFF2-40B4-BE49-F238E27FC236}">
                    <a16:creationId xmlns:a16="http://schemas.microsoft.com/office/drawing/2014/main" id="{7FEAB4D7-D623-49D8-A7FC-E39C7C00052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667303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0" name="Freeform 38">
                <a:extLst>
                  <a:ext uri="{FF2B5EF4-FFF2-40B4-BE49-F238E27FC236}">
                    <a16:creationId xmlns:a16="http://schemas.microsoft.com/office/drawing/2014/main" id="{5757BC31-8050-49A0-8A36-356806A73CD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807294"/>
                <a:ext cx="449587" cy="75380"/>
              </a:xfrm>
              <a:custGeom>
                <a:avLst/>
                <a:gdLst>
                  <a:gd name="T0" fmla="*/ 25 w 287"/>
                  <a:gd name="T1" fmla="*/ 0 h 49"/>
                  <a:gd name="T2" fmla="*/ 0 w 287"/>
                  <a:gd name="T3" fmla="*/ 23 h 49"/>
                  <a:gd name="T4" fmla="*/ 0 w 287"/>
                  <a:gd name="T5" fmla="*/ 27 h 49"/>
                  <a:gd name="T6" fmla="*/ 25 w 287"/>
                  <a:gd name="T7" fmla="*/ 49 h 49"/>
                  <a:gd name="T8" fmla="*/ 262 w 287"/>
                  <a:gd name="T9" fmla="*/ 49 h 49"/>
                  <a:gd name="T10" fmla="*/ 287 w 287"/>
                  <a:gd name="T11" fmla="*/ 27 h 49"/>
                  <a:gd name="T12" fmla="*/ 287 w 287"/>
                  <a:gd name="T13" fmla="*/ 23 h 49"/>
                  <a:gd name="T14" fmla="*/ 262 w 287"/>
                  <a:gd name="T15" fmla="*/ 0 h 49"/>
                  <a:gd name="T16" fmla="*/ 153 w 287"/>
                  <a:gd name="T17" fmla="*/ 0 h 49"/>
                  <a:gd name="T18" fmla="*/ 25 w 287"/>
                  <a:gd name="T1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49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49"/>
                      <a:pt x="25" y="49"/>
                    </a:cubicBezTo>
                    <a:cubicBezTo>
                      <a:pt x="262" y="49"/>
                      <a:pt x="262" y="49"/>
                      <a:pt x="262" y="49"/>
                    </a:cubicBezTo>
                    <a:cubicBezTo>
                      <a:pt x="262" y="49"/>
                      <a:pt x="287" y="49"/>
                      <a:pt x="287" y="27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1" name="Freeform 39">
                <a:extLst>
                  <a:ext uri="{FF2B5EF4-FFF2-40B4-BE49-F238E27FC236}">
                    <a16:creationId xmlns:a16="http://schemas.microsoft.com/office/drawing/2014/main" id="{947DF2BD-E5EA-4DA2-B48F-81135892A4E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941900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4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4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4"/>
                      <a:pt x="287" y="24"/>
                      <a:pt x="287" y="24"/>
                    </a:cubicBezTo>
                    <a:cubicBezTo>
                      <a:pt x="287" y="24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A46DCB54-EE28-4E51-BA06-9541609C16B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4991577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9B3062DE-E2C1-41BC-95EF-07C19D0288A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131568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DB91B7F1-0C0A-40E3-941D-C7D471100F9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268867"/>
                <a:ext cx="45767" cy="45767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5BB0CC25-FB84-4EAD-91AB-C2AE2E62B96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406165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DCC48F03-3076-46E7-87DA-B975C2756E4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546156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06769420-88C6-4B3A-9E9B-1DEEC17F923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683456"/>
                <a:ext cx="45767" cy="45767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0919F2C4-4414-4562-BC09-3A74441C79A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823447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C760F144-44B2-45FB-BC00-6A11B2352B8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960744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0" name="Freeform 48">
                <a:extLst>
                  <a:ext uri="{FF2B5EF4-FFF2-40B4-BE49-F238E27FC236}">
                    <a16:creationId xmlns:a16="http://schemas.microsoft.com/office/drawing/2014/main" id="{F4ECC6E5-A5EB-46D5-89BE-53BD4810AFD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6081891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7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7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7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460FB30C-0207-44EB-9E5E-C6792386DDE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6100735"/>
                <a:ext cx="45767" cy="43074"/>
              </a:xfrm>
              <a:prstGeom prst="ellipse">
                <a:avLst/>
              </a:prstGeom>
              <a:solidFill>
                <a:srgbClr val="FF8C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2" name="Freeform 50">
                <a:extLst>
                  <a:ext uri="{FF2B5EF4-FFF2-40B4-BE49-F238E27FC236}">
                    <a16:creationId xmlns:a16="http://schemas.microsoft.com/office/drawing/2014/main" id="{3F7256A5-3F84-4130-9EA5-8DE93264ACE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909595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3" name="Oval 132">
                <a:extLst>
                  <a:ext uri="{FF2B5EF4-FFF2-40B4-BE49-F238E27FC236}">
                    <a16:creationId xmlns:a16="http://schemas.microsoft.com/office/drawing/2014/main" id="{AF262B7F-6420-4641-A4DC-1E41B16E303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928439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6648C072-5C6C-48C2-8B5F-639735D7ACD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643261" y="4245857"/>
                <a:ext cx="573425" cy="255753"/>
              </a:xfrm>
              <a:prstGeom prst="rect">
                <a:avLst/>
              </a:pr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5" name="Freeform 53">
                <a:extLst>
                  <a:ext uri="{FF2B5EF4-FFF2-40B4-BE49-F238E27FC236}">
                    <a16:creationId xmlns:a16="http://schemas.microsoft.com/office/drawing/2014/main" id="{04A3092D-329E-474B-9D47-C25E32C2297F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772739" y="5917670"/>
                <a:ext cx="1243765" cy="621882"/>
              </a:xfrm>
              <a:custGeom>
                <a:avLst/>
                <a:gdLst>
                  <a:gd name="T0" fmla="*/ 763 w 788"/>
                  <a:gd name="T1" fmla="*/ 392 h 392"/>
                  <a:gd name="T2" fmla="*/ 788 w 788"/>
                  <a:gd name="T3" fmla="*/ 304 h 392"/>
                  <a:gd name="T4" fmla="*/ 625 w 788"/>
                  <a:gd name="T5" fmla="*/ 142 h 392"/>
                  <a:gd name="T6" fmla="*/ 580 w 788"/>
                  <a:gd name="T7" fmla="*/ 149 h 392"/>
                  <a:gd name="T8" fmla="*/ 358 w 788"/>
                  <a:gd name="T9" fmla="*/ 0 h 392"/>
                  <a:gd name="T10" fmla="*/ 120 w 788"/>
                  <a:gd name="T11" fmla="*/ 224 h 392"/>
                  <a:gd name="T12" fmla="*/ 0 w 788"/>
                  <a:gd name="T13" fmla="*/ 347 h 392"/>
                  <a:gd name="T14" fmla="*/ 8 w 788"/>
                  <a:gd name="T15" fmla="*/ 392 h 392"/>
                  <a:gd name="T16" fmla="*/ 763 w 788"/>
                  <a:gd name="T17" fmla="*/ 392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88" h="392">
                    <a:moveTo>
                      <a:pt x="763" y="392"/>
                    </a:moveTo>
                    <a:cubicBezTo>
                      <a:pt x="779" y="366"/>
                      <a:pt x="788" y="337"/>
                      <a:pt x="788" y="304"/>
                    </a:cubicBezTo>
                    <a:cubicBezTo>
                      <a:pt x="788" y="214"/>
                      <a:pt x="715" y="142"/>
                      <a:pt x="625" y="142"/>
                    </a:cubicBezTo>
                    <a:cubicBezTo>
                      <a:pt x="609" y="142"/>
                      <a:pt x="594" y="144"/>
                      <a:pt x="580" y="149"/>
                    </a:cubicBezTo>
                    <a:cubicBezTo>
                      <a:pt x="544" y="61"/>
                      <a:pt x="458" y="0"/>
                      <a:pt x="358" y="0"/>
                    </a:cubicBezTo>
                    <a:cubicBezTo>
                      <a:pt x="231" y="0"/>
                      <a:pt x="127" y="99"/>
                      <a:pt x="120" y="224"/>
                    </a:cubicBezTo>
                    <a:cubicBezTo>
                      <a:pt x="53" y="226"/>
                      <a:pt x="0" y="280"/>
                      <a:pt x="0" y="347"/>
                    </a:cubicBezTo>
                    <a:cubicBezTo>
                      <a:pt x="0" y="363"/>
                      <a:pt x="2" y="378"/>
                      <a:pt x="8" y="392"/>
                    </a:cubicBezTo>
                    <a:lnTo>
                      <a:pt x="763" y="392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6" name="Freeform 55">
                <a:extLst>
                  <a:ext uri="{FF2B5EF4-FFF2-40B4-BE49-F238E27FC236}">
                    <a16:creationId xmlns:a16="http://schemas.microsoft.com/office/drawing/2014/main" id="{B53D536B-5ED8-4828-872C-DF1ADA130D4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1198092" y="5990359"/>
                <a:ext cx="1449301" cy="697263"/>
              </a:xfrm>
              <a:custGeom>
                <a:avLst/>
                <a:gdLst>
                  <a:gd name="T0" fmla="*/ 790 w 790"/>
                  <a:gd name="T1" fmla="*/ 206 h 414"/>
                  <a:gd name="T2" fmla="*/ 661 w 790"/>
                  <a:gd name="T3" fmla="*/ 149 h 414"/>
                  <a:gd name="T4" fmla="*/ 613 w 790"/>
                  <a:gd name="T5" fmla="*/ 156 h 414"/>
                  <a:gd name="T6" fmla="*/ 379 w 790"/>
                  <a:gd name="T7" fmla="*/ 0 h 414"/>
                  <a:gd name="T8" fmla="*/ 127 w 790"/>
                  <a:gd name="T9" fmla="*/ 236 h 414"/>
                  <a:gd name="T10" fmla="*/ 0 w 790"/>
                  <a:gd name="T11" fmla="*/ 366 h 414"/>
                  <a:gd name="T12" fmla="*/ 9 w 790"/>
                  <a:gd name="T13" fmla="*/ 414 h 414"/>
                  <a:gd name="T14" fmla="*/ 790 w 790"/>
                  <a:gd name="T15" fmla="*/ 414 h 414"/>
                  <a:gd name="T16" fmla="*/ 790 w 790"/>
                  <a:gd name="T17" fmla="*/ 206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0" h="414">
                    <a:moveTo>
                      <a:pt x="790" y="206"/>
                    </a:moveTo>
                    <a:cubicBezTo>
                      <a:pt x="758" y="172"/>
                      <a:pt x="713" y="149"/>
                      <a:pt x="661" y="149"/>
                    </a:cubicBezTo>
                    <a:cubicBezTo>
                      <a:pt x="644" y="149"/>
                      <a:pt x="628" y="152"/>
                      <a:pt x="613" y="156"/>
                    </a:cubicBezTo>
                    <a:cubicBezTo>
                      <a:pt x="576" y="64"/>
                      <a:pt x="484" y="0"/>
                      <a:pt x="379" y="0"/>
                    </a:cubicBezTo>
                    <a:cubicBezTo>
                      <a:pt x="245" y="0"/>
                      <a:pt x="135" y="104"/>
                      <a:pt x="127" y="236"/>
                    </a:cubicBezTo>
                    <a:cubicBezTo>
                      <a:pt x="56" y="238"/>
                      <a:pt x="0" y="295"/>
                      <a:pt x="0" y="366"/>
                    </a:cubicBezTo>
                    <a:cubicBezTo>
                      <a:pt x="0" y="383"/>
                      <a:pt x="3" y="399"/>
                      <a:pt x="9" y="414"/>
                    </a:cubicBezTo>
                    <a:cubicBezTo>
                      <a:pt x="790" y="414"/>
                      <a:pt x="790" y="414"/>
                      <a:pt x="790" y="414"/>
                    </a:cubicBezTo>
                    <a:lnTo>
                      <a:pt x="790" y="206"/>
                    </a:lnTo>
                    <a:close/>
                  </a:path>
                </a:pathLst>
              </a:custGeom>
              <a:ln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7" name="Freeform 59">
                <a:extLst>
                  <a:ext uri="{FF2B5EF4-FFF2-40B4-BE49-F238E27FC236}">
                    <a16:creationId xmlns:a16="http://schemas.microsoft.com/office/drawing/2014/main" id="{BCEB0A85-A31D-420C-A498-2376899083C5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1682678" y="5328094"/>
                <a:ext cx="309596" cy="441510"/>
              </a:xfrm>
              <a:custGeom>
                <a:avLst/>
                <a:gdLst>
                  <a:gd name="T0" fmla="*/ 198 w 198"/>
                  <a:gd name="T1" fmla="*/ 202 h 283"/>
                  <a:gd name="T2" fmla="*/ 198 w 198"/>
                  <a:gd name="T3" fmla="*/ 0 h 283"/>
                  <a:gd name="T4" fmla="*/ 177 w 198"/>
                  <a:gd name="T5" fmla="*/ 6 h 283"/>
                  <a:gd name="T6" fmla="*/ 177 w 198"/>
                  <a:gd name="T7" fmla="*/ 230 h 283"/>
                  <a:gd name="T8" fmla="*/ 0 w 198"/>
                  <a:gd name="T9" fmla="*/ 230 h 283"/>
                  <a:gd name="T10" fmla="*/ 26 w 198"/>
                  <a:gd name="T11" fmla="*/ 246 h 283"/>
                  <a:gd name="T12" fmla="*/ 26 w 198"/>
                  <a:gd name="T13" fmla="*/ 283 h 283"/>
                  <a:gd name="T14" fmla="*/ 171 w 198"/>
                  <a:gd name="T15" fmla="*/ 283 h 283"/>
                  <a:gd name="T16" fmla="*/ 171 w 198"/>
                  <a:gd name="T17" fmla="*/ 246 h 283"/>
                  <a:gd name="T18" fmla="*/ 198 w 198"/>
                  <a:gd name="T19" fmla="*/ 202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8" h="283">
                    <a:moveTo>
                      <a:pt x="198" y="202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0" y="0"/>
                      <a:pt x="183" y="3"/>
                      <a:pt x="177" y="6"/>
                    </a:cubicBezTo>
                    <a:cubicBezTo>
                      <a:pt x="177" y="230"/>
                      <a:pt x="177" y="230"/>
                      <a:pt x="177" y="230"/>
                    </a:cubicBezTo>
                    <a:cubicBezTo>
                      <a:pt x="0" y="230"/>
                      <a:pt x="0" y="230"/>
                      <a:pt x="0" y="230"/>
                    </a:cubicBezTo>
                    <a:cubicBezTo>
                      <a:pt x="6" y="239"/>
                      <a:pt x="15" y="244"/>
                      <a:pt x="26" y="246"/>
                    </a:cubicBezTo>
                    <a:cubicBezTo>
                      <a:pt x="26" y="283"/>
                      <a:pt x="26" y="283"/>
                      <a:pt x="26" y="283"/>
                    </a:cubicBezTo>
                    <a:cubicBezTo>
                      <a:pt x="171" y="283"/>
                      <a:pt x="171" y="283"/>
                      <a:pt x="171" y="283"/>
                    </a:cubicBezTo>
                    <a:cubicBezTo>
                      <a:pt x="171" y="246"/>
                      <a:pt x="171" y="246"/>
                      <a:pt x="171" y="246"/>
                    </a:cubicBezTo>
                    <a:lnTo>
                      <a:pt x="198" y="202"/>
                    </a:lnTo>
                    <a:close/>
                  </a:path>
                </a:pathLst>
              </a:custGeom>
              <a:solidFill>
                <a:srgbClr val="613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8" name="Freeform 60">
                <a:extLst>
                  <a:ext uri="{FF2B5EF4-FFF2-40B4-BE49-F238E27FC236}">
                    <a16:creationId xmlns:a16="http://schemas.microsoft.com/office/drawing/2014/main" id="{E0A85934-4759-40BD-AE41-D759337A2759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1704215" y="5815369"/>
                <a:ext cx="263829" cy="419973"/>
              </a:xfrm>
              <a:custGeom>
                <a:avLst/>
                <a:gdLst>
                  <a:gd name="T0" fmla="*/ 167 w 167"/>
                  <a:gd name="T1" fmla="*/ 270 h 270"/>
                  <a:gd name="T2" fmla="*/ 167 w 167"/>
                  <a:gd name="T3" fmla="*/ 0 h 270"/>
                  <a:gd name="T4" fmla="*/ 0 w 167"/>
                  <a:gd name="T5" fmla="*/ 0 h 270"/>
                  <a:gd name="T6" fmla="*/ 0 w 167"/>
                  <a:gd name="T7" fmla="*/ 203 h 270"/>
                  <a:gd name="T8" fmla="*/ 18 w 167"/>
                  <a:gd name="T9" fmla="*/ 202 h 270"/>
                  <a:gd name="T10" fmla="*/ 167 w 167"/>
                  <a:gd name="T11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7" h="270">
                    <a:moveTo>
                      <a:pt x="167" y="27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03"/>
                      <a:pt x="0" y="203"/>
                      <a:pt x="0" y="203"/>
                    </a:cubicBezTo>
                    <a:cubicBezTo>
                      <a:pt x="6" y="203"/>
                      <a:pt x="12" y="202"/>
                      <a:pt x="18" y="202"/>
                    </a:cubicBezTo>
                    <a:cubicBezTo>
                      <a:pt x="77" y="202"/>
                      <a:pt x="131" y="229"/>
                      <a:pt x="167" y="270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BDD7C752-BD6E-483F-9AEB-D86E9BB9A02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1712292" y="5769604"/>
                <a:ext cx="247676" cy="4576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0" name="Freeform 62">
                <a:extLst>
                  <a:ext uri="{FF2B5EF4-FFF2-40B4-BE49-F238E27FC236}">
                    <a16:creationId xmlns:a16="http://schemas.microsoft.com/office/drawing/2014/main" id="{0351BCBD-522A-4103-ADFE-23522BF7401F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698577" y="6491095"/>
                <a:ext cx="1017626" cy="503430"/>
              </a:xfrm>
              <a:custGeom>
                <a:avLst/>
                <a:gdLst>
                  <a:gd name="T0" fmla="*/ 628 w 650"/>
                  <a:gd name="T1" fmla="*/ 323 h 323"/>
                  <a:gd name="T2" fmla="*/ 650 w 650"/>
                  <a:gd name="T3" fmla="*/ 251 h 323"/>
                  <a:gd name="T4" fmla="*/ 515 w 650"/>
                  <a:gd name="T5" fmla="*/ 117 h 323"/>
                  <a:gd name="T6" fmla="*/ 477 w 650"/>
                  <a:gd name="T7" fmla="*/ 122 h 323"/>
                  <a:gd name="T8" fmla="*/ 295 w 650"/>
                  <a:gd name="T9" fmla="*/ 0 h 323"/>
                  <a:gd name="T10" fmla="*/ 99 w 650"/>
                  <a:gd name="T11" fmla="*/ 184 h 323"/>
                  <a:gd name="T12" fmla="*/ 0 w 650"/>
                  <a:gd name="T13" fmla="*/ 285 h 323"/>
                  <a:gd name="T14" fmla="*/ 7 w 650"/>
                  <a:gd name="T15" fmla="*/ 323 h 323"/>
                  <a:gd name="T16" fmla="*/ 628 w 650"/>
                  <a:gd name="T17" fmla="*/ 323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0" h="323">
                    <a:moveTo>
                      <a:pt x="628" y="323"/>
                    </a:moveTo>
                    <a:cubicBezTo>
                      <a:pt x="642" y="302"/>
                      <a:pt x="650" y="277"/>
                      <a:pt x="650" y="251"/>
                    </a:cubicBezTo>
                    <a:cubicBezTo>
                      <a:pt x="650" y="176"/>
                      <a:pt x="589" y="117"/>
                      <a:pt x="515" y="117"/>
                    </a:cubicBezTo>
                    <a:cubicBezTo>
                      <a:pt x="502" y="117"/>
                      <a:pt x="489" y="119"/>
                      <a:pt x="477" y="122"/>
                    </a:cubicBezTo>
                    <a:cubicBezTo>
                      <a:pt x="448" y="50"/>
                      <a:pt x="377" y="0"/>
                      <a:pt x="295" y="0"/>
                    </a:cubicBezTo>
                    <a:cubicBezTo>
                      <a:pt x="191" y="0"/>
                      <a:pt x="105" y="81"/>
                      <a:pt x="99" y="184"/>
                    </a:cubicBezTo>
                    <a:cubicBezTo>
                      <a:pt x="44" y="185"/>
                      <a:pt x="0" y="230"/>
                      <a:pt x="0" y="285"/>
                    </a:cubicBezTo>
                    <a:cubicBezTo>
                      <a:pt x="0" y="298"/>
                      <a:pt x="1" y="311"/>
                      <a:pt x="7" y="323"/>
                    </a:cubicBezTo>
                    <a:lnTo>
                      <a:pt x="628" y="323"/>
                    </a:lnTo>
                    <a:close/>
                  </a:path>
                </a:pathLst>
              </a:custGeom>
              <a:ln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id="{5E410F93-6648-4A83-B3CF-A5C3C12007F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0840041" y="5481545"/>
                <a:ext cx="43074" cy="91532"/>
              </a:xfrm>
              <a:prstGeom prst="rect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2" name="Freeform 64">
                <a:extLst>
                  <a:ext uri="{FF2B5EF4-FFF2-40B4-BE49-F238E27FC236}">
                    <a16:creationId xmlns:a16="http://schemas.microsoft.com/office/drawing/2014/main" id="{C81FA598-A0B3-44B6-AB22-49E2C17715E6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852992" y="5328094"/>
                <a:ext cx="729569" cy="231523"/>
              </a:xfrm>
              <a:custGeom>
                <a:avLst/>
                <a:gdLst>
                  <a:gd name="T0" fmla="*/ 271 w 271"/>
                  <a:gd name="T1" fmla="*/ 0 h 86"/>
                  <a:gd name="T2" fmla="*/ 0 w 271"/>
                  <a:gd name="T3" fmla="*/ 0 h 86"/>
                  <a:gd name="T4" fmla="*/ 17 w 271"/>
                  <a:gd name="T5" fmla="*/ 11 h 86"/>
                  <a:gd name="T6" fmla="*/ 132 w 271"/>
                  <a:gd name="T7" fmla="*/ 48 h 86"/>
                  <a:gd name="T8" fmla="*/ 133 w 271"/>
                  <a:gd name="T9" fmla="*/ 86 h 86"/>
                  <a:gd name="T10" fmla="*/ 240 w 271"/>
                  <a:gd name="T11" fmla="*/ 86 h 86"/>
                  <a:gd name="T12" fmla="*/ 240 w 271"/>
                  <a:gd name="T13" fmla="*/ 21 h 86"/>
                  <a:gd name="T14" fmla="*/ 271 w 271"/>
                  <a:gd name="T15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1" h="86">
                    <a:moveTo>
                      <a:pt x="271" y="0"/>
                    </a:moveTo>
                    <a:lnTo>
                      <a:pt x="0" y="0"/>
                    </a:lnTo>
                    <a:lnTo>
                      <a:pt x="17" y="11"/>
                    </a:lnTo>
                    <a:lnTo>
                      <a:pt x="132" y="48"/>
                    </a:lnTo>
                    <a:lnTo>
                      <a:pt x="133" y="86"/>
                    </a:lnTo>
                    <a:lnTo>
                      <a:pt x="240" y="86"/>
                    </a:lnTo>
                    <a:lnTo>
                      <a:pt x="240" y="21"/>
                    </a:lnTo>
                    <a:lnTo>
                      <a:pt x="271" y="0"/>
                    </a:lnTo>
                    <a:close/>
                  </a:path>
                </a:pathLst>
              </a:custGeom>
              <a:solidFill>
                <a:srgbClr val="BB91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3" name="Freeform 65">
                <a:extLst>
                  <a:ext uri="{FF2B5EF4-FFF2-40B4-BE49-F238E27FC236}">
                    <a16:creationId xmlns:a16="http://schemas.microsoft.com/office/drawing/2014/main" id="{84B71087-8FC0-4CE4-94BD-F5F3CBD2D297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7192201" y="5621536"/>
                <a:ext cx="328440" cy="508814"/>
              </a:xfrm>
              <a:custGeom>
                <a:avLst/>
                <a:gdLst>
                  <a:gd name="T0" fmla="*/ 209 w 209"/>
                  <a:gd name="T1" fmla="*/ 327 h 327"/>
                  <a:gd name="T2" fmla="*/ 209 w 209"/>
                  <a:gd name="T3" fmla="*/ 0 h 327"/>
                  <a:gd name="T4" fmla="*/ 0 w 209"/>
                  <a:gd name="T5" fmla="*/ 0 h 327"/>
                  <a:gd name="T6" fmla="*/ 0 w 209"/>
                  <a:gd name="T7" fmla="*/ 242 h 327"/>
                  <a:gd name="T8" fmla="*/ 209 w 209"/>
                  <a:gd name="T9" fmla="*/ 327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9" h="327">
                    <a:moveTo>
                      <a:pt x="209" y="327"/>
                    </a:moveTo>
                    <a:cubicBezTo>
                      <a:pt x="209" y="0"/>
                      <a:pt x="209" y="0"/>
                      <a:pt x="20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81" y="245"/>
                      <a:pt x="153" y="277"/>
                      <a:pt x="209" y="327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4" name="Rectangle 143">
                <a:extLst>
                  <a:ext uri="{FF2B5EF4-FFF2-40B4-BE49-F238E27FC236}">
                    <a16:creationId xmlns:a16="http://schemas.microsoft.com/office/drawing/2014/main" id="{66E20E85-961E-4E4C-9223-A4952D3164B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7202970" y="5559618"/>
                <a:ext cx="306903" cy="6192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5" name="Rectangle 144">
                <a:extLst>
                  <a:ext uri="{FF2B5EF4-FFF2-40B4-BE49-F238E27FC236}">
                    <a16:creationId xmlns:a16="http://schemas.microsoft.com/office/drawing/2014/main" id="{B3F8E92C-A81B-4672-8371-B2E54206B90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7943307" y="5048112"/>
                <a:ext cx="43074" cy="91532"/>
              </a:xfrm>
              <a:prstGeom prst="rect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6" name="Freeform 68">
                <a:extLst>
                  <a:ext uri="{FF2B5EF4-FFF2-40B4-BE49-F238E27FC236}">
                    <a16:creationId xmlns:a16="http://schemas.microsoft.com/office/drawing/2014/main" id="{F4059822-CE27-4CEB-9D20-5F1AC3637DE6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7940614" y="5088494"/>
                <a:ext cx="1289532" cy="454971"/>
              </a:xfrm>
              <a:custGeom>
                <a:avLst/>
                <a:gdLst>
                  <a:gd name="T0" fmla="*/ 479 w 479"/>
                  <a:gd name="T1" fmla="*/ 169 h 169"/>
                  <a:gd name="T2" fmla="*/ 163 w 479"/>
                  <a:gd name="T3" fmla="*/ 169 h 169"/>
                  <a:gd name="T4" fmla="*/ 163 w 479"/>
                  <a:gd name="T5" fmla="*/ 5 h 169"/>
                  <a:gd name="T6" fmla="*/ 0 w 479"/>
                  <a:gd name="T7" fmla="*/ 5 h 169"/>
                  <a:gd name="T8" fmla="*/ 0 w 479"/>
                  <a:gd name="T9" fmla="*/ 0 h 169"/>
                  <a:gd name="T10" fmla="*/ 169 w 479"/>
                  <a:gd name="T11" fmla="*/ 0 h 169"/>
                  <a:gd name="T12" fmla="*/ 169 w 479"/>
                  <a:gd name="T13" fmla="*/ 165 h 169"/>
                  <a:gd name="T14" fmla="*/ 479 w 479"/>
                  <a:gd name="T15" fmla="*/ 165 h 169"/>
                  <a:gd name="T16" fmla="*/ 479 w 479"/>
                  <a:gd name="T17" fmla="*/ 169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9" h="169">
                    <a:moveTo>
                      <a:pt x="479" y="169"/>
                    </a:moveTo>
                    <a:lnTo>
                      <a:pt x="163" y="169"/>
                    </a:lnTo>
                    <a:lnTo>
                      <a:pt x="163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169" y="0"/>
                    </a:lnTo>
                    <a:lnTo>
                      <a:pt x="169" y="165"/>
                    </a:lnTo>
                    <a:lnTo>
                      <a:pt x="479" y="165"/>
                    </a:lnTo>
                    <a:lnTo>
                      <a:pt x="479" y="169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7" name="Freeform 69">
                <a:extLst>
                  <a:ext uri="{FF2B5EF4-FFF2-40B4-BE49-F238E27FC236}">
                    <a16:creationId xmlns:a16="http://schemas.microsoft.com/office/drawing/2014/main" id="{AC57A572-BEAD-4737-8DD9-36A3776C7BA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215467" y="6227266"/>
                <a:ext cx="134607" cy="188449"/>
              </a:xfrm>
              <a:custGeom>
                <a:avLst/>
                <a:gdLst>
                  <a:gd name="T0" fmla="*/ 85 w 85"/>
                  <a:gd name="T1" fmla="*/ 86 h 121"/>
                  <a:gd name="T2" fmla="*/ 85 w 85"/>
                  <a:gd name="T3" fmla="*/ 0 h 121"/>
                  <a:gd name="T4" fmla="*/ 77 w 85"/>
                  <a:gd name="T5" fmla="*/ 2 h 121"/>
                  <a:gd name="T6" fmla="*/ 77 w 85"/>
                  <a:gd name="T7" fmla="*/ 98 h 121"/>
                  <a:gd name="T8" fmla="*/ 0 w 85"/>
                  <a:gd name="T9" fmla="*/ 98 h 121"/>
                  <a:gd name="T10" fmla="*/ 11 w 85"/>
                  <a:gd name="T11" fmla="*/ 105 h 121"/>
                  <a:gd name="T12" fmla="*/ 11 w 85"/>
                  <a:gd name="T13" fmla="*/ 121 h 121"/>
                  <a:gd name="T14" fmla="*/ 73 w 85"/>
                  <a:gd name="T15" fmla="*/ 121 h 121"/>
                  <a:gd name="T16" fmla="*/ 73 w 85"/>
                  <a:gd name="T17" fmla="*/ 105 h 121"/>
                  <a:gd name="T18" fmla="*/ 85 w 85"/>
                  <a:gd name="T19" fmla="*/ 86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5" h="121">
                    <a:moveTo>
                      <a:pt x="85" y="86"/>
                    </a:moveTo>
                    <a:cubicBezTo>
                      <a:pt x="85" y="0"/>
                      <a:pt x="85" y="0"/>
                      <a:pt x="85" y="0"/>
                    </a:cubicBezTo>
                    <a:cubicBezTo>
                      <a:pt x="82" y="0"/>
                      <a:pt x="79" y="1"/>
                      <a:pt x="77" y="2"/>
                    </a:cubicBezTo>
                    <a:cubicBezTo>
                      <a:pt x="77" y="98"/>
                      <a:pt x="77" y="98"/>
                      <a:pt x="77" y="98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3" y="102"/>
                      <a:pt x="7" y="104"/>
                      <a:pt x="11" y="105"/>
                    </a:cubicBezTo>
                    <a:cubicBezTo>
                      <a:pt x="11" y="121"/>
                      <a:pt x="11" y="121"/>
                      <a:pt x="11" y="121"/>
                    </a:cubicBezTo>
                    <a:cubicBezTo>
                      <a:pt x="73" y="121"/>
                      <a:pt x="73" y="121"/>
                      <a:pt x="73" y="121"/>
                    </a:cubicBezTo>
                    <a:cubicBezTo>
                      <a:pt x="73" y="105"/>
                      <a:pt x="73" y="105"/>
                      <a:pt x="73" y="105"/>
                    </a:cubicBezTo>
                    <a:lnTo>
                      <a:pt x="85" y="86"/>
                    </a:lnTo>
                    <a:close/>
                  </a:path>
                </a:pathLst>
              </a:custGeom>
              <a:solidFill>
                <a:srgbClr val="CE9C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8" name="Freeform 70">
                <a:extLst>
                  <a:ext uri="{FF2B5EF4-FFF2-40B4-BE49-F238E27FC236}">
                    <a16:creationId xmlns:a16="http://schemas.microsoft.com/office/drawing/2014/main" id="{45DE3373-225F-461B-9D24-46AC6D4AD81E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228926" y="6437253"/>
                <a:ext cx="110378" cy="250369"/>
              </a:xfrm>
              <a:custGeom>
                <a:avLst/>
                <a:gdLst>
                  <a:gd name="T0" fmla="*/ 72 w 72"/>
                  <a:gd name="T1" fmla="*/ 160 h 160"/>
                  <a:gd name="T2" fmla="*/ 72 w 72"/>
                  <a:gd name="T3" fmla="*/ 0 h 160"/>
                  <a:gd name="T4" fmla="*/ 0 w 72"/>
                  <a:gd name="T5" fmla="*/ 0 h 160"/>
                  <a:gd name="T6" fmla="*/ 0 w 72"/>
                  <a:gd name="T7" fmla="*/ 119 h 160"/>
                  <a:gd name="T8" fmla="*/ 72 w 72"/>
                  <a:gd name="T9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60">
                    <a:moveTo>
                      <a:pt x="72" y="160"/>
                    </a:moveTo>
                    <a:cubicBezTo>
                      <a:pt x="72" y="0"/>
                      <a:pt x="72" y="0"/>
                      <a:pt x="7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27" y="126"/>
                      <a:pt x="52" y="140"/>
                      <a:pt x="72" y="160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9" name="Rectangle 148">
                <a:extLst>
                  <a:ext uri="{FF2B5EF4-FFF2-40B4-BE49-F238E27FC236}">
                    <a16:creationId xmlns:a16="http://schemas.microsoft.com/office/drawing/2014/main" id="{1B659661-D37A-4B7E-855D-EAD5309484A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0231619" y="6415716"/>
                <a:ext cx="104994" cy="2153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0" name="Freeform 72">
                <a:extLst>
                  <a:ext uri="{FF2B5EF4-FFF2-40B4-BE49-F238E27FC236}">
                    <a16:creationId xmlns:a16="http://schemas.microsoft.com/office/drawing/2014/main" id="{7ED29502-A5CC-483B-9D53-9EB4F5B4A92E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916639" y="5287711"/>
                <a:ext cx="923402" cy="247676"/>
              </a:xfrm>
              <a:custGeom>
                <a:avLst/>
                <a:gdLst>
                  <a:gd name="T0" fmla="*/ 343 w 343"/>
                  <a:gd name="T1" fmla="*/ 92 h 92"/>
                  <a:gd name="T2" fmla="*/ 196 w 343"/>
                  <a:gd name="T3" fmla="*/ 92 h 92"/>
                  <a:gd name="T4" fmla="*/ 196 w 343"/>
                  <a:gd name="T5" fmla="*/ 5 h 92"/>
                  <a:gd name="T6" fmla="*/ 0 w 343"/>
                  <a:gd name="T7" fmla="*/ 5 h 92"/>
                  <a:gd name="T8" fmla="*/ 0 w 343"/>
                  <a:gd name="T9" fmla="*/ 0 h 92"/>
                  <a:gd name="T10" fmla="*/ 201 w 343"/>
                  <a:gd name="T11" fmla="*/ 0 h 92"/>
                  <a:gd name="T12" fmla="*/ 201 w 343"/>
                  <a:gd name="T13" fmla="*/ 87 h 92"/>
                  <a:gd name="T14" fmla="*/ 343 w 343"/>
                  <a:gd name="T15" fmla="*/ 87 h 92"/>
                  <a:gd name="T16" fmla="*/ 343 w 343"/>
                  <a:gd name="T17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3" h="92">
                    <a:moveTo>
                      <a:pt x="343" y="92"/>
                    </a:moveTo>
                    <a:lnTo>
                      <a:pt x="196" y="92"/>
                    </a:lnTo>
                    <a:lnTo>
                      <a:pt x="196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201" y="0"/>
                    </a:lnTo>
                    <a:lnTo>
                      <a:pt x="201" y="87"/>
                    </a:lnTo>
                    <a:lnTo>
                      <a:pt x="343" y="87"/>
                    </a:lnTo>
                    <a:lnTo>
                      <a:pt x="343" y="92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1" name="Freeform 73">
                <a:extLst>
                  <a:ext uri="{FF2B5EF4-FFF2-40B4-BE49-F238E27FC236}">
                    <a16:creationId xmlns:a16="http://schemas.microsoft.com/office/drawing/2014/main" id="{5B1ED106-37D8-4CDD-9BFA-F62D97BFD9FD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623198" y="5565002"/>
                <a:ext cx="282675" cy="743029"/>
              </a:xfrm>
              <a:custGeom>
                <a:avLst/>
                <a:gdLst>
                  <a:gd name="T0" fmla="*/ 93 w 105"/>
                  <a:gd name="T1" fmla="*/ 276 h 276"/>
                  <a:gd name="T2" fmla="*/ 0 w 105"/>
                  <a:gd name="T3" fmla="*/ 276 h 276"/>
                  <a:gd name="T4" fmla="*/ 0 w 105"/>
                  <a:gd name="T5" fmla="*/ 0 h 276"/>
                  <a:gd name="T6" fmla="*/ 105 w 105"/>
                  <a:gd name="T7" fmla="*/ 0 h 276"/>
                  <a:gd name="T8" fmla="*/ 105 w 105"/>
                  <a:gd name="T9" fmla="*/ 6 h 276"/>
                  <a:gd name="T10" fmla="*/ 6 w 105"/>
                  <a:gd name="T11" fmla="*/ 6 h 276"/>
                  <a:gd name="T12" fmla="*/ 6 w 105"/>
                  <a:gd name="T13" fmla="*/ 271 h 276"/>
                  <a:gd name="T14" fmla="*/ 93 w 105"/>
                  <a:gd name="T15" fmla="*/ 271 h 276"/>
                  <a:gd name="T16" fmla="*/ 93 w 105"/>
                  <a:gd name="T17" fmla="*/ 276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5" h="276">
                    <a:moveTo>
                      <a:pt x="93" y="276"/>
                    </a:moveTo>
                    <a:lnTo>
                      <a:pt x="0" y="276"/>
                    </a:lnTo>
                    <a:lnTo>
                      <a:pt x="0" y="0"/>
                    </a:lnTo>
                    <a:lnTo>
                      <a:pt x="105" y="0"/>
                    </a:lnTo>
                    <a:lnTo>
                      <a:pt x="105" y="6"/>
                    </a:lnTo>
                    <a:lnTo>
                      <a:pt x="6" y="6"/>
                    </a:lnTo>
                    <a:lnTo>
                      <a:pt x="6" y="271"/>
                    </a:lnTo>
                    <a:lnTo>
                      <a:pt x="93" y="271"/>
                    </a:lnTo>
                    <a:lnTo>
                      <a:pt x="93" y="276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2" name="Rectangle 151">
                <a:extLst>
                  <a:ext uri="{FF2B5EF4-FFF2-40B4-BE49-F238E27FC236}">
                    <a16:creationId xmlns:a16="http://schemas.microsoft.com/office/drawing/2014/main" id="{F97E26E2-0BA6-43DA-822E-D8B3381901B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46644" y="6273032"/>
                <a:ext cx="26921" cy="56536"/>
              </a:xfrm>
              <a:prstGeom prst="rect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3" name="Freeform 75">
                <a:extLst>
                  <a:ext uri="{FF2B5EF4-FFF2-40B4-BE49-F238E27FC236}">
                    <a16:creationId xmlns:a16="http://schemas.microsoft.com/office/drawing/2014/main" id="{2529967A-0E0B-428E-AEB2-0C2A24898E4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883115" y="4951196"/>
                <a:ext cx="1076853" cy="734953"/>
              </a:xfrm>
              <a:custGeom>
                <a:avLst/>
                <a:gdLst>
                  <a:gd name="T0" fmla="*/ 400 w 400"/>
                  <a:gd name="T1" fmla="*/ 273 h 273"/>
                  <a:gd name="T2" fmla="*/ 400 w 400"/>
                  <a:gd name="T3" fmla="*/ 0 h 273"/>
                  <a:gd name="T4" fmla="*/ 201 w 400"/>
                  <a:gd name="T5" fmla="*/ 0 h 273"/>
                  <a:gd name="T6" fmla="*/ 0 w 400"/>
                  <a:gd name="T7" fmla="*/ 0 h 273"/>
                  <a:gd name="T8" fmla="*/ 0 w 400"/>
                  <a:gd name="T9" fmla="*/ 273 h 273"/>
                  <a:gd name="T10" fmla="*/ 201 w 400"/>
                  <a:gd name="T11" fmla="*/ 273 h 273"/>
                  <a:gd name="T12" fmla="*/ 400 w 400"/>
                  <a:gd name="T13" fmla="*/ 273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0" h="273">
                    <a:moveTo>
                      <a:pt x="400" y="273"/>
                    </a:moveTo>
                    <a:lnTo>
                      <a:pt x="400" y="0"/>
                    </a:lnTo>
                    <a:lnTo>
                      <a:pt x="201" y="0"/>
                    </a:lnTo>
                    <a:lnTo>
                      <a:pt x="0" y="0"/>
                    </a:lnTo>
                    <a:lnTo>
                      <a:pt x="0" y="273"/>
                    </a:lnTo>
                    <a:lnTo>
                      <a:pt x="201" y="273"/>
                    </a:lnTo>
                    <a:lnTo>
                      <a:pt x="400" y="273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4" name="Rectangle 153">
                <a:extLst>
                  <a:ext uri="{FF2B5EF4-FFF2-40B4-BE49-F238E27FC236}">
                    <a16:creationId xmlns:a16="http://schemas.microsoft.com/office/drawing/2014/main" id="{55E76401-56A1-42CA-95B2-73A3D796B3C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0939649" y="4991577"/>
                <a:ext cx="966476" cy="573425"/>
              </a:xfrm>
              <a:prstGeom prst="rect">
                <a:avLst/>
              </a:prstGeom>
              <a:solidFill>
                <a:srgbClr val="D048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155" name="Freeform 80">
                <a:extLst>
                  <a:ext uri="{FF2B5EF4-FFF2-40B4-BE49-F238E27FC236}">
                    <a16:creationId xmlns:a16="http://schemas.microsoft.com/office/drawing/2014/main" id="{A7C5B9F8-D006-459E-80F0-5DE7EA2745B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873565" y="6065739"/>
                <a:ext cx="463047" cy="314980"/>
              </a:xfrm>
              <a:custGeom>
                <a:avLst/>
                <a:gdLst>
                  <a:gd name="T0" fmla="*/ 172 w 172"/>
                  <a:gd name="T1" fmla="*/ 117 h 117"/>
                  <a:gd name="T2" fmla="*/ 172 w 172"/>
                  <a:gd name="T3" fmla="*/ 0 h 117"/>
                  <a:gd name="T4" fmla="*/ 86 w 172"/>
                  <a:gd name="T5" fmla="*/ 0 h 117"/>
                  <a:gd name="T6" fmla="*/ 0 w 172"/>
                  <a:gd name="T7" fmla="*/ 0 h 117"/>
                  <a:gd name="T8" fmla="*/ 0 w 172"/>
                  <a:gd name="T9" fmla="*/ 117 h 117"/>
                  <a:gd name="T10" fmla="*/ 86 w 172"/>
                  <a:gd name="T11" fmla="*/ 117 h 117"/>
                  <a:gd name="T12" fmla="*/ 172 w 172"/>
                  <a:gd name="T13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2" h="117">
                    <a:moveTo>
                      <a:pt x="172" y="117"/>
                    </a:moveTo>
                    <a:lnTo>
                      <a:pt x="172" y="0"/>
                    </a:lnTo>
                    <a:lnTo>
                      <a:pt x="86" y="0"/>
                    </a:lnTo>
                    <a:lnTo>
                      <a:pt x="0" y="0"/>
                    </a:lnTo>
                    <a:lnTo>
                      <a:pt x="0" y="117"/>
                    </a:lnTo>
                    <a:lnTo>
                      <a:pt x="86" y="117"/>
                    </a:lnTo>
                    <a:lnTo>
                      <a:pt x="172" y="117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6" name="Rectangle 155">
                <a:extLst>
                  <a:ext uri="{FF2B5EF4-FFF2-40B4-BE49-F238E27FC236}">
                    <a16:creationId xmlns:a16="http://schemas.microsoft.com/office/drawing/2014/main" id="{5018B7FF-061C-40DD-907B-5105B3D11A3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97795" y="6079198"/>
                <a:ext cx="414588" cy="250369"/>
              </a:xfrm>
              <a:prstGeom prst="rect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7" name="Freeform 83">
                <a:extLst>
                  <a:ext uri="{FF2B5EF4-FFF2-40B4-BE49-F238E27FC236}">
                    <a16:creationId xmlns:a16="http://schemas.microsoft.com/office/drawing/2014/main" id="{7E92BB9F-B7CB-499A-AE7A-F22031D94990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624162" y="5271559"/>
                <a:ext cx="1523747" cy="56536"/>
              </a:xfrm>
              <a:custGeom>
                <a:avLst/>
                <a:gdLst>
                  <a:gd name="T0" fmla="*/ 0 w 973"/>
                  <a:gd name="T1" fmla="*/ 0 h 35"/>
                  <a:gd name="T2" fmla="*/ 75 w 973"/>
                  <a:gd name="T3" fmla="*/ 35 h 35"/>
                  <a:gd name="T4" fmla="*/ 897 w 973"/>
                  <a:gd name="T5" fmla="*/ 35 h 35"/>
                  <a:gd name="T6" fmla="*/ 973 w 973"/>
                  <a:gd name="T7" fmla="*/ 0 h 35"/>
                  <a:gd name="T8" fmla="*/ 0 w 973"/>
                  <a:gd name="T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3" h="35">
                    <a:moveTo>
                      <a:pt x="0" y="0"/>
                    </a:moveTo>
                    <a:cubicBezTo>
                      <a:pt x="0" y="3"/>
                      <a:pt x="2" y="35"/>
                      <a:pt x="75" y="35"/>
                    </a:cubicBezTo>
                    <a:cubicBezTo>
                      <a:pt x="897" y="35"/>
                      <a:pt x="897" y="35"/>
                      <a:pt x="897" y="35"/>
                    </a:cubicBezTo>
                    <a:cubicBezTo>
                      <a:pt x="897" y="35"/>
                      <a:pt x="973" y="35"/>
                      <a:pt x="97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8" name="Freeform 84">
                <a:extLst>
                  <a:ext uri="{FF2B5EF4-FFF2-40B4-BE49-F238E27FC236}">
                    <a16:creationId xmlns:a16="http://schemas.microsoft.com/office/drawing/2014/main" id="{7E02A2A5-0B91-4015-8D5F-BD4BE9521EB7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931065" y="4480072"/>
                <a:ext cx="1012242" cy="756489"/>
              </a:xfrm>
              <a:custGeom>
                <a:avLst/>
                <a:gdLst>
                  <a:gd name="T0" fmla="*/ 60 w 710"/>
                  <a:gd name="T1" fmla="*/ 0 h 515"/>
                  <a:gd name="T2" fmla="*/ 0 w 710"/>
                  <a:gd name="T3" fmla="*/ 60 h 515"/>
                  <a:gd name="T4" fmla="*/ 0 w 710"/>
                  <a:gd name="T5" fmla="*/ 515 h 515"/>
                  <a:gd name="T6" fmla="*/ 60 w 710"/>
                  <a:gd name="T7" fmla="*/ 513 h 515"/>
                  <a:gd name="T8" fmla="*/ 648 w 710"/>
                  <a:gd name="T9" fmla="*/ 513 h 515"/>
                  <a:gd name="T10" fmla="*/ 710 w 710"/>
                  <a:gd name="T11" fmla="*/ 515 h 515"/>
                  <a:gd name="T12" fmla="*/ 710 w 710"/>
                  <a:gd name="T13" fmla="*/ 60 h 515"/>
                  <a:gd name="T14" fmla="*/ 648 w 710"/>
                  <a:gd name="T15" fmla="*/ 0 h 515"/>
                  <a:gd name="T16" fmla="*/ 92 w 710"/>
                  <a:gd name="T17" fmla="*/ 0 h 515"/>
                  <a:gd name="T18" fmla="*/ 60 w 710"/>
                  <a:gd name="T19" fmla="*/ 0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10" h="515">
                    <a:moveTo>
                      <a:pt x="60" y="0"/>
                    </a:moveTo>
                    <a:cubicBezTo>
                      <a:pt x="60" y="0"/>
                      <a:pt x="0" y="0"/>
                      <a:pt x="0" y="60"/>
                    </a:cubicBezTo>
                    <a:cubicBezTo>
                      <a:pt x="0" y="515"/>
                      <a:pt x="0" y="515"/>
                      <a:pt x="0" y="515"/>
                    </a:cubicBezTo>
                    <a:cubicBezTo>
                      <a:pt x="60" y="513"/>
                      <a:pt x="60" y="513"/>
                      <a:pt x="60" y="513"/>
                    </a:cubicBezTo>
                    <a:cubicBezTo>
                      <a:pt x="648" y="513"/>
                      <a:pt x="648" y="513"/>
                      <a:pt x="648" y="513"/>
                    </a:cubicBezTo>
                    <a:cubicBezTo>
                      <a:pt x="710" y="515"/>
                      <a:pt x="710" y="515"/>
                      <a:pt x="710" y="515"/>
                    </a:cubicBezTo>
                    <a:cubicBezTo>
                      <a:pt x="710" y="60"/>
                      <a:pt x="710" y="60"/>
                      <a:pt x="710" y="60"/>
                    </a:cubicBezTo>
                    <a:cubicBezTo>
                      <a:pt x="710" y="60"/>
                      <a:pt x="710" y="0"/>
                      <a:pt x="648" y="0"/>
                    </a:cubicBezTo>
                    <a:cubicBezTo>
                      <a:pt x="92" y="0"/>
                      <a:pt x="92" y="0"/>
                      <a:pt x="92" y="0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159" name="Freeform 85">
                <a:extLst>
                  <a:ext uri="{FF2B5EF4-FFF2-40B4-BE49-F238E27FC236}">
                    <a16:creationId xmlns:a16="http://schemas.microsoft.com/office/drawing/2014/main" id="{C6DD0C20-2142-460F-BC12-429C2E5064B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7016288" y="4545006"/>
                <a:ext cx="854330" cy="670017"/>
              </a:xfrm>
              <a:custGeom>
                <a:avLst/>
                <a:gdLst>
                  <a:gd name="T0" fmla="*/ 55 w 646"/>
                  <a:gd name="T1" fmla="*/ 0 h 466"/>
                  <a:gd name="T2" fmla="*/ 0 w 646"/>
                  <a:gd name="T3" fmla="*/ 55 h 466"/>
                  <a:gd name="T4" fmla="*/ 0 w 646"/>
                  <a:gd name="T5" fmla="*/ 411 h 466"/>
                  <a:gd name="T6" fmla="*/ 55 w 646"/>
                  <a:gd name="T7" fmla="*/ 466 h 466"/>
                  <a:gd name="T8" fmla="*/ 590 w 646"/>
                  <a:gd name="T9" fmla="*/ 466 h 466"/>
                  <a:gd name="T10" fmla="*/ 646 w 646"/>
                  <a:gd name="T11" fmla="*/ 411 h 466"/>
                  <a:gd name="T12" fmla="*/ 646 w 646"/>
                  <a:gd name="T13" fmla="*/ 55 h 466"/>
                  <a:gd name="T14" fmla="*/ 590 w 646"/>
                  <a:gd name="T15" fmla="*/ 0 h 466"/>
                  <a:gd name="T16" fmla="*/ 220 w 646"/>
                  <a:gd name="T17" fmla="*/ 0 h 466"/>
                  <a:gd name="T18" fmla="*/ 55 w 646"/>
                  <a:gd name="T19" fmla="*/ 0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6" h="466">
                    <a:moveTo>
                      <a:pt x="55" y="0"/>
                    </a:moveTo>
                    <a:cubicBezTo>
                      <a:pt x="55" y="0"/>
                      <a:pt x="0" y="0"/>
                      <a:pt x="0" y="55"/>
                    </a:cubicBezTo>
                    <a:cubicBezTo>
                      <a:pt x="0" y="411"/>
                      <a:pt x="0" y="411"/>
                      <a:pt x="0" y="411"/>
                    </a:cubicBezTo>
                    <a:cubicBezTo>
                      <a:pt x="0" y="411"/>
                      <a:pt x="0" y="466"/>
                      <a:pt x="55" y="466"/>
                    </a:cubicBezTo>
                    <a:cubicBezTo>
                      <a:pt x="590" y="466"/>
                      <a:pt x="590" y="466"/>
                      <a:pt x="590" y="466"/>
                    </a:cubicBezTo>
                    <a:cubicBezTo>
                      <a:pt x="590" y="466"/>
                      <a:pt x="646" y="466"/>
                      <a:pt x="646" y="411"/>
                    </a:cubicBezTo>
                    <a:cubicBezTo>
                      <a:pt x="646" y="55"/>
                      <a:pt x="646" y="55"/>
                      <a:pt x="646" y="55"/>
                    </a:cubicBezTo>
                    <a:cubicBezTo>
                      <a:pt x="646" y="55"/>
                      <a:pt x="646" y="0"/>
                      <a:pt x="590" y="0"/>
                    </a:cubicBezTo>
                    <a:cubicBezTo>
                      <a:pt x="220" y="0"/>
                      <a:pt x="220" y="0"/>
                      <a:pt x="220" y="0"/>
                    </a:cubicBezTo>
                    <a:lnTo>
                      <a:pt x="55" y="0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160" name="Freeform 86">
                <a:extLst>
                  <a:ext uri="{FF2B5EF4-FFF2-40B4-BE49-F238E27FC236}">
                    <a16:creationId xmlns:a16="http://schemas.microsoft.com/office/drawing/2014/main" id="{EB2EB6F8-364E-425E-970B-54BFE0651F7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624162" y="5233869"/>
                <a:ext cx="1523747" cy="37690"/>
              </a:xfrm>
              <a:custGeom>
                <a:avLst/>
                <a:gdLst>
                  <a:gd name="T0" fmla="*/ 76 w 566"/>
                  <a:gd name="T1" fmla="*/ 0 h 14"/>
                  <a:gd name="T2" fmla="*/ 0 w 566"/>
                  <a:gd name="T3" fmla="*/ 14 h 14"/>
                  <a:gd name="T4" fmla="*/ 566 w 566"/>
                  <a:gd name="T5" fmla="*/ 14 h 14"/>
                  <a:gd name="T6" fmla="*/ 490 w 566"/>
                  <a:gd name="T7" fmla="*/ 0 h 14"/>
                  <a:gd name="T8" fmla="*/ 76 w 566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6" h="14">
                    <a:moveTo>
                      <a:pt x="76" y="0"/>
                    </a:moveTo>
                    <a:lnTo>
                      <a:pt x="0" y="14"/>
                    </a:lnTo>
                    <a:lnTo>
                      <a:pt x="566" y="14"/>
                    </a:lnTo>
                    <a:lnTo>
                      <a:pt x="490" y="0"/>
                    </a:lnTo>
                    <a:lnTo>
                      <a:pt x="76" y="0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</p:grpSp>
        <p:pic>
          <p:nvPicPr>
            <p:cNvPr id="84" name="Picture 83">
              <a:extLst>
                <a:ext uri="{FF2B5EF4-FFF2-40B4-BE49-F238E27FC236}">
                  <a16:creationId xmlns:a16="http://schemas.microsoft.com/office/drawing/2014/main" id="{8AB7910C-DAEF-4067-8EDA-A859C2FE175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6220" y="4568432"/>
              <a:ext cx="736358" cy="613092"/>
            </a:xfrm>
            <a:prstGeom prst="rect">
              <a:avLst/>
            </a:prstGeom>
          </p:spPr>
        </p:pic>
        <p:pic>
          <p:nvPicPr>
            <p:cNvPr id="85" name="Picture 84">
              <a:extLst>
                <a:ext uri="{FF2B5EF4-FFF2-40B4-BE49-F238E27FC236}">
                  <a16:creationId xmlns:a16="http://schemas.microsoft.com/office/drawing/2014/main" id="{C9DE6B58-396C-40E8-AB10-3AABF49B47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36377" y="5038107"/>
              <a:ext cx="604035" cy="502920"/>
            </a:xfrm>
            <a:prstGeom prst="rect">
              <a:avLst/>
            </a:prstGeom>
          </p:spPr>
        </p:pic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E8AFE8E6-EC4B-4CC5-A10E-CF8636A6535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0500" y="6106350"/>
              <a:ext cx="252597" cy="2103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67538734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bg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B8D817D8-603E-4A44-B7EE-404690F616CD}"/>
              </a:ext>
            </a:extLst>
          </p:cNvPr>
          <p:cNvGrpSpPr/>
          <p:nvPr userDrawn="1"/>
        </p:nvGrpSpPr>
        <p:grpSpPr>
          <a:xfrm>
            <a:off x="5468357" y="4139517"/>
            <a:ext cx="6723644" cy="2716134"/>
            <a:chOff x="5789470" y="4224320"/>
            <a:chExt cx="6858467" cy="2770205"/>
          </a:xfrm>
        </p:grpSpPr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80A439C4-4217-4499-BCB3-5F400345C80E}"/>
                </a:ext>
              </a:extLst>
            </p:cNvPr>
            <p:cNvGrpSpPr>
              <a:grpSpLocks noChangeAspect="1"/>
            </p:cNvGrpSpPr>
            <p:nvPr userDrawn="1"/>
          </p:nvGrpSpPr>
          <p:grpSpPr bwMode="gray">
            <a:xfrm>
              <a:off x="5789470" y="4224320"/>
              <a:ext cx="6858467" cy="2770205"/>
              <a:chOff x="5788926" y="4224320"/>
              <a:chExt cx="6858467" cy="2770205"/>
            </a:xfrm>
          </p:grpSpPr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DCC4A063-A694-4D66-8DD4-F47721D33F43}"/>
                  </a:ext>
                </a:extLst>
              </p:cNvPr>
              <p:cNvSpPr/>
              <p:nvPr userDrawn="1"/>
            </p:nvSpPr>
            <p:spPr bwMode="gray">
              <a:xfrm>
                <a:off x="5788926" y="5758835"/>
                <a:ext cx="2577047" cy="1235690"/>
              </a:xfrm>
              <a:custGeom>
                <a:avLst/>
                <a:gdLst>
                  <a:gd name="connsiteX0" fmla="*/ 1214715 w 2577047"/>
                  <a:gd name="connsiteY0" fmla="*/ 0 h 1235690"/>
                  <a:gd name="connsiteX1" fmla="*/ 1914672 w 2577047"/>
                  <a:gd name="connsiteY1" fmla="*/ 468064 h 1235690"/>
                  <a:gd name="connsiteX2" fmla="*/ 2060300 w 2577047"/>
                  <a:gd name="connsiteY2" fmla="*/ 446221 h 1235690"/>
                  <a:gd name="connsiteX3" fmla="*/ 2577047 w 2577047"/>
                  <a:gd name="connsiteY3" fmla="*/ 957972 h 1235690"/>
                  <a:gd name="connsiteX4" fmla="*/ 2495620 w 2577047"/>
                  <a:gd name="connsiteY4" fmla="*/ 1235690 h 1235690"/>
                  <a:gd name="connsiteX5" fmla="*/ 1889591 w 2577047"/>
                  <a:gd name="connsiteY5" fmla="*/ 1235690 h 1235690"/>
                  <a:gd name="connsiteX6" fmla="*/ 1799319 w 2577047"/>
                  <a:gd name="connsiteY6" fmla="*/ 1235690 h 1235690"/>
                  <a:gd name="connsiteX7" fmla="*/ 31390 w 2577047"/>
                  <a:gd name="connsiteY7" fmla="*/ 1235690 h 1235690"/>
                  <a:gd name="connsiteX8" fmla="*/ 9264 w 2577047"/>
                  <a:gd name="connsiteY8" fmla="*/ 1164413 h 1235690"/>
                  <a:gd name="connsiteX9" fmla="*/ 0 w 2577047"/>
                  <a:gd name="connsiteY9" fmla="*/ 1072517 h 1235690"/>
                  <a:gd name="connsiteX10" fmla="*/ 455981 w 2577047"/>
                  <a:gd name="connsiteY10" fmla="*/ 616536 h 1235690"/>
                  <a:gd name="connsiteX11" fmla="*/ 459500 w 2577047"/>
                  <a:gd name="connsiteY11" fmla="*/ 616891 h 1235690"/>
                  <a:gd name="connsiteX12" fmla="*/ 459640 w 2577047"/>
                  <a:gd name="connsiteY12" fmla="*/ 615506 h 1235690"/>
                  <a:gd name="connsiteX13" fmla="*/ 720719 w 2577047"/>
                  <a:gd name="connsiteY13" fmla="*/ 182302 h 1235690"/>
                  <a:gd name="connsiteX14" fmla="*/ 739060 w 2577047"/>
                  <a:gd name="connsiteY14" fmla="*/ 169592 h 1235690"/>
                  <a:gd name="connsiteX15" fmla="*/ 747661 w 2577047"/>
                  <a:gd name="connsiteY15" fmla="*/ 161263 h 1235690"/>
                  <a:gd name="connsiteX16" fmla="*/ 1214715 w 2577047"/>
                  <a:gd name="connsiteY16" fmla="*/ 0 h 123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577047" h="1235690">
                    <a:moveTo>
                      <a:pt x="1214715" y="0"/>
                    </a:moveTo>
                    <a:cubicBezTo>
                      <a:pt x="1532592" y="0"/>
                      <a:pt x="1803493" y="191906"/>
                      <a:pt x="1914672" y="468064"/>
                    </a:cubicBezTo>
                    <a:cubicBezTo>
                      <a:pt x="1961649" y="454022"/>
                      <a:pt x="2010192" y="446221"/>
                      <a:pt x="2060300" y="446221"/>
                    </a:cubicBezTo>
                    <a:cubicBezTo>
                      <a:pt x="2346860" y="446221"/>
                      <a:pt x="2577047" y="675573"/>
                      <a:pt x="2577047" y="957972"/>
                    </a:cubicBezTo>
                    <a:cubicBezTo>
                      <a:pt x="2577047" y="1060946"/>
                      <a:pt x="2547295" y="1156119"/>
                      <a:pt x="2495620" y="1235690"/>
                    </a:cubicBezTo>
                    <a:cubicBezTo>
                      <a:pt x="2495620" y="1235690"/>
                      <a:pt x="2495620" y="1235690"/>
                      <a:pt x="1889591" y="1235690"/>
                    </a:cubicBezTo>
                    <a:lnTo>
                      <a:pt x="1799319" y="1235690"/>
                    </a:lnTo>
                    <a:lnTo>
                      <a:pt x="31390" y="1235690"/>
                    </a:lnTo>
                    <a:lnTo>
                      <a:pt x="9264" y="1164413"/>
                    </a:lnTo>
                    <a:cubicBezTo>
                      <a:pt x="3190" y="1134730"/>
                      <a:pt x="0" y="1103996"/>
                      <a:pt x="0" y="1072517"/>
                    </a:cubicBezTo>
                    <a:cubicBezTo>
                      <a:pt x="0" y="820686"/>
                      <a:pt x="204150" y="616536"/>
                      <a:pt x="455981" y="616536"/>
                    </a:cubicBezTo>
                    <a:lnTo>
                      <a:pt x="459500" y="616891"/>
                    </a:lnTo>
                    <a:lnTo>
                      <a:pt x="459640" y="615506"/>
                    </a:lnTo>
                    <a:cubicBezTo>
                      <a:pt x="495067" y="442379"/>
                      <a:pt x="589371" y="290700"/>
                      <a:pt x="720719" y="182302"/>
                    </a:cubicBezTo>
                    <a:lnTo>
                      <a:pt x="739060" y="169592"/>
                    </a:lnTo>
                    <a:lnTo>
                      <a:pt x="747661" y="161263"/>
                    </a:lnTo>
                    <a:cubicBezTo>
                      <a:pt x="876480" y="60556"/>
                      <a:pt x="1038551" y="0"/>
                      <a:pt x="1214715" y="0"/>
                    </a:cubicBezTo>
                    <a:close/>
                  </a:path>
                </a:pathLst>
              </a:cu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8" name="Freeform 6">
                <a:extLst>
                  <a:ext uri="{FF2B5EF4-FFF2-40B4-BE49-F238E27FC236}">
                    <a16:creationId xmlns:a16="http://schemas.microsoft.com/office/drawing/2014/main" id="{3964BAE4-5A7F-4487-B8BD-092B593FE3E5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422506" y="4305084"/>
                <a:ext cx="2008331" cy="1846803"/>
              </a:xfrm>
              <a:custGeom>
                <a:avLst/>
                <a:gdLst>
                  <a:gd name="T0" fmla="*/ 948 w 1281"/>
                  <a:gd name="T1" fmla="*/ 6 h 1185"/>
                  <a:gd name="T2" fmla="*/ 641 w 1281"/>
                  <a:gd name="T3" fmla="*/ 168 h 1185"/>
                  <a:gd name="T4" fmla="*/ 333 w 1281"/>
                  <a:gd name="T5" fmla="*/ 6 h 1185"/>
                  <a:gd name="T6" fmla="*/ 10 w 1281"/>
                  <a:gd name="T7" fmla="*/ 362 h 1185"/>
                  <a:gd name="T8" fmla="*/ 641 w 1281"/>
                  <a:gd name="T9" fmla="*/ 1185 h 1185"/>
                  <a:gd name="T10" fmla="*/ 641 w 1281"/>
                  <a:gd name="T11" fmla="*/ 1184 h 1185"/>
                  <a:gd name="T12" fmla="*/ 641 w 1281"/>
                  <a:gd name="T13" fmla="*/ 1185 h 1185"/>
                  <a:gd name="T14" fmla="*/ 1272 w 1281"/>
                  <a:gd name="T15" fmla="*/ 361 h 1185"/>
                  <a:gd name="T16" fmla="*/ 948 w 1281"/>
                  <a:gd name="T17" fmla="*/ 6 h 1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81" h="1185">
                    <a:moveTo>
                      <a:pt x="948" y="6"/>
                    </a:moveTo>
                    <a:cubicBezTo>
                      <a:pt x="820" y="0"/>
                      <a:pt x="703" y="65"/>
                      <a:pt x="641" y="168"/>
                    </a:cubicBezTo>
                    <a:cubicBezTo>
                      <a:pt x="578" y="65"/>
                      <a:pt x="461" y="0"/>
                      <a:pt x="333" y="6"/>
                    </a:cubicBezTo>
                    <a:cubicBezTo>
                      <a:pt x="144" y="15"/>
                      <a:pt x="0" y="175"/>
                      <a:pt x="10" y="362"/>
                    </a:cubicBezTo>
                    <a:cubicBezTo>
                      <a:pt x="19" y="548"/>
                      <a:pt x="641" y="1185"/>
                      <a:pt x="641" y="1185"/>
                    </a:cubicBezTo>
                    <a:cubicBezTo>
                      <a:pt x="641" y="1185"/>
                      <a:pt x="641" y="1185"/>
                      <a:pt x="641" y="1184"/>
                    </a:cubicBezTo>
                    <a:cubicBezTo>
                      <a:pt x="641" y="1185"/>
                      <a:pt x="641" y="1185"/>
                      <a:pt x="641" y="1185"/>
                    </a:cubicBezTo>
                    <a:cubicBezTo>
                      <a:pt x="641" y="1185"/>
                      <a:pt x="1263" y="548"/>
                      <a:pt x="1272" y="361"/>
                    </a:cubicBezTo>
                    <a:cubicBezTo>
                      <a:pt x="1281" y="174"/>
                      <a:pt x="1137" y="15"/>
                      <a:pt x="948" y="6"/>
                    </a:cubicBezTo>
                    <a:close/>
                  </a:path>
                </a:pathLst>
              </a:custGeom>
              <a:solidFill>
                <a:srgbClr val="3393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3F2C5A1F-3D9D-41CD-BB20-D9972DA28FC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601660" y="4515070"/>
                <a:ext cx="573425" cy="1445676"/>
              </a:xfrm>
              <a:prstGeom prst="rect">
                <a:avLst/>
              </a:pr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FC98F995-7E03-4E9A-AE30-AA4155BF721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640568" y="4224320"/>
                <a:ext cx="576116" cy="1445676"/>
              </a:xfrm>
              <a:prstGeom prst="rect">
                <a:avLst/>
              </a:pr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B9BEF86-D2E3-426D-9EB1-FB4550E0562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771264" y="4698135"/>
                <a:ext cx="573425" cy="1445676"/>
              </a:xfrm>
              <a:prstGeom prst="rect">
                <a:avLst/>
              </a:pr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883B801C-B158-4343-8593-20148E3627A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351291" y="4843510"/>
                <a:ext cx="320365" cy="1397218"/>
              </a:xfrm>
              <a:prstGeom prst="rect">
                <a:avLst/>
              </a:pr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258494E7-01AD-4D62-AFFC-D6CF4CBE075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505962" y="4708904"/>
                <a:ext cx="309596" cy="1292224"/>
              </a:xfrm>
              <a:prstGeom prst="rect">
                <a:avLst/>
              </a:pr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4" name="Rectangle 93">
                <a:extLst>
                  <a:ext uri="{FF2B5EF4-FFF2-40B4-BE49-F238E27FC236}">
                    <a16:creationId xmlns:a16="http://schemas.microsoft.com/office/drawing/2014/main" id="{7C804B8F-2A4B-4F99-90D6-2A953501731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780559" y="4576988"/>
                <a:ext cx="570732" cy="1518363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5" name="Freeform 13">
                <a:extLst>
                  <a:ext uri="{FF2B5EF4-FFF2-40B4-BE49-F238E27FC236}">
                    <a16:creationId xmlns:a16="http://schemas.microsoft.com/office/drawing/2014/main" id="{4C0F4EB9-9531-494D-89F3-AA7F95634740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4665830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2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2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2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2"/>
                      <a:pt x="286" y="22"/>
                      <a:pt x="286" y="22"/>
                    </a:cubicBezTo>
                    <a:cubicBezTo>
                      <a:pt x="286" y="22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6" name="Freeform 14">
                <a:extLst>
                  <a:ext uri="{FF2B5EF4-FFF2-40B4-BE49-F238E27FC236}">
                    <a16:creationId xmlns:a16="http://schemas.microsoft.com/office/drawing/2014/main" id="{E3734589-B0D2-4EC1-A45D-8FFD695C3A4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4805821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7" name="Freeform 15">
                <a:extLst>
                  <a:ext uri="{FF2B5EF4-FFF2-40B4-BE49-F238E27FC236}">
                    <a16:creationId xmlns:a16="http://schemas.microsoft.com/office/drawing/2014/main" id="{579F71A7-75E0-4811-A5F3-471DBA49EFF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4943118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4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4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4"/>
                      <a:pt x="286" y="24"/>
                      <a:pt x="286" y="24"/>
                    </a:cubicBezTo>
                    <a:cubicBezTo>
                      <a:pt x="286" y="24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8" name="Freeform 16">
                <a:extLst>
                  <a:ext uri="{FF2B5EF4-FFF2-40B4-BE49-F238E27FC236}">
                    <a16:creationId xmlns:a16="http://schemas.microsoft.com/office/drawing/2014/main" id="{FBEC5DB7-A3EB-4151-A1D9-E845014C129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080418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9" name="Freeform 17">
                <a:extLst>
                  <a:ext uri="{FF2B5EF4-FFF2-40B4-BE49-F238E27FC236}">
                    <a16:creationId xmlns:a16="http://schemas.microsoft.com/office/drawing/2014/main" id="{3B6D047A-0B10-4444-B6FF-FA8776A7EE8B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220409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0" name="Freeform 18">
                <a:extLst>
                  <a:ext uri="{FF2B5EF4-FFF2-40B4-BE49-F238E27FC236}">
                    <a16:creationId xmlns:a16="http://schemas.microsoft.com/office/drawing/2014/main" id="{0F58970C-DC49-45C5-9F36-6DCEA7575A55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357707"/>
                <a:ext cx="446894" cy="78073"/>
              </a:xfrm>
              <a:custGeom>
                <a:avLst/>
                <a:gdLst>
                  <a:gd name="T0" fmla="*/ 24 w 286"/>
                  <a:gd name="T1" fmla="*/ 0 h 51"/>
                  <a:gd name="T2" fmla="*/ 0 w 286"/>
                  <a:gd name="T3" fmla="*/ 24 h 51"/>
                  <a:gd name="T4" fmla="*/ 0 w 286"/>
                  <a:gd name="T5" fmla="*/ 28 h 51"/>
                  <a:gd name="T6" fmla="*/ 24 w 286"/>
                  <a:gd name="T7" fmla="*/ 51 h 51"/>
                  <a:gd name="T8" fmla="*/ 262 w 286"/>
                  <a:gd name="T9" fmla="*/ 51 h 51"/>
                  <a:gd name="T10" fmla="*/ 286 w 286"/>
                  <a:gd name="T11" fmla="*/ 28 h 51"/>
                  <a:gd name="T12" fmla="*/ 286 w 286"/>
                  <a:gd name="T13" fmla="*/ 24 h 51"/>
                  <a:gd name="T14" fmla="*/ 262 w 286"/>
                  <a:gd name="T15" fmla="*/ 0 h 51"/>
                  <a:gd name="T16" fmla="*/ 152 w 286"/>
                  <a:gd name="T17" fmla="*/ 0 h 51"/>
                  <a:gd name="T18" fmla="*/ 24 w 286"/>
                  <a:gd name="T1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1">
                    <a:moveTo>
                      <a:pt x="24" y="0"/>
                    </a:moveTo>
                    <a:cubicBezTo>
                      <a:pt x="24" y="0"/>
                      <a:pt x="0" y="0"/>
                      <a:pt x="0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1"/>
                      <a:pt x="24" y="51"/>
                    </a:cubicBezTo>
                    <a:cubicBezTo>
                      <a:pt x="262" y="51"/>
                      <a:pt x="262" y="51"/>
                      <a:pt x="262" y="51"/>
                    </a:cubicBezTo>
                    <a:cubicBezTo>
                      <a:pt x="262" y="51"/>
                      <a:pt x="286" y="51"/>
                      <a:pt x="286" y="28"/>
                    </a:cubicBezTo>
                    <a:cubicBezTo>
                      <a:pt x="286" y="24"/>
                      <a:pt x="286" y="24"/>
                      <a:pt x="286" y="24"/>
                    </a:cubicBezTo>
                    <a:cubicBezTo>
                      <a:pt x="286" y="24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1" name="Freeform 19">
                <a:extLst>
                  <a:ext uri="{FF2B5EF4-FFF2-40B4-BE49-F238E27FC236}">
                    <a16:creationId xmlns:a16="http://schemas.microsoft.com/office/drawing/2014/main" id="{72764DBA-DB05-4E29-89BC-B2C9BECEE7B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495006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2" name="Freeform 20">
                <a:extLst>
                  <a:ext uri="{FF2B5EF4-FFF2-40B4-BE49-F238E27FC236}">
                    <a16:creationId xmlns:a16="http://schemas.microsoft.com/office/drawing/2014/main" id="{B7707964-2ED4-4CFB-8A77-1B3A0FF6CCBF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634997"/>
                <a:ext cx="446894" cy="78073"/>
              </a:xfrm>
              <a:custGeom>
                <a:avLst/>
                <a:gdLst>
                  <a:gd name="T0" fmla="*/ 24 w 286"/>
                  <a:gd name="T1" fmla="*/ 0 h 51"/>
                  <a:gd name="T2" fmla="*/ 0 w 286"/>
                  <a:gd name="T3" fmla="*/ 23 h 51"/>
                  <a:gd name="T4" fmla="*/ 0 w 286"/>
                  <a:gd name="T5" fmla="*/ 27 h 51"/>
                  <a:gd name="T6" fmla="*/ 24 w 286"/>
                  <a:gd name="T7" fmla="*/ 51 h 51"/>
                  <a:gd name="T8" fmla="*/ 262 w 286"/>
                  <a:gd name="T9" fmla="*/ 51 h 51"/>
                  <a:gd name="T10" fmla="*/ 286 w 286"/>
                  <a:gd name="T11" fmla="*/ 27 h 51"/>
                  <a:gd name="T12" fmla="*/ 286 w 286"/>
                  <a:gd name="T13" fmla="*/ 23 h 51"/>
                  <a:gd name="T14" fmla="*/ 262 w 286"/>
                  <a:gd name="T15" fmla="*/ 0 h 51"/>
                  <a:gd name="T16" fmla="*/ 152 w 286"/>
                  <a:gd name="T17" fmla="*/ 0 h 51"/>
                  <a:gd name="T18" fmla="*/ 24 w 286"/>
                  <a:gd name="T1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1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1"/>
                      <a:pt x="24" y="51"/>
                    </a:cubicBezTo>
                    <a:cubicBezTo>
                      <a:pt x="262" y="51"/>
                      <a:pt x="262" y="51"/>
                      <a:pt x="262" y="51"/>
                    </a:cubicBezTo>
                    <a:cubicBezTo>
                      <a:pt x="262" y="51"/>
                      <a:pt x="286" y="51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3EB98931-C2C5-413C-B83D-C7F433B1AD5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4681982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47EE4171-0171-4F29-B533-5A16F58F4FC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4821973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3FD78722-4F55-4FD1-91EA-B04EA902B01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4959271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B1EE5BAE-AD46-446E-B138-ED4CCC8FDD7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099262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7" name="Freeform 25">
                <a:extLst>
                  <a:ext uri="{FF2B5EF4-FFF2-40B4-BE49-F238E27FC236}">
                    <a16:creationId xmlns:a16="http://schemas.microsoft.com/office/drawing/2014/main" id="{8F398C47-CEB6-4A5B-A8DC-1FB483FC1FB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203225" y="5236562"/>
                <a:ext cx="45767" cy="43074"/>
              </a:xfrm>
              <a:custGeom>
                <a:avLst/>
                <a:gdLst>
                  <a:gd name="T0" fmla="*/ 14 w 28"/>
                  <a:gd name="T1" fmla="*/ 28 h 28"/>
                  <a:gd name="T2" fmla="*/ 28 w 28"/>
                  <a:gd name="T3" fmla="*/ 13 h 28"/>
                  <a:gd name="T4" fmla="*/ 14 w 28"/>
                  <a:gd name="T5" fmla="*/ 0 h 28"/>
                  <a:gd name="T6" fmla="*/ 0 w 28"/>
                  <a:gd name="T7" fmla="*/ 13 h 28"/>
                  <a:gd name="T8" fmla="*/ 14 w 28"/>
                  <a:gd name="T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22" y="28"/>
                      <a:pt x="28" y="21"/>
                      <a:pt x="28" y="13"/>
                    </a:cubicBezTo>
                    <a:cubicBezTo>
                      <a:pt x="28" y="7"/>
                      <a:pt x="22" y="0"/>
                      <a:pt x="14" y="0"/>
                    </a:cubicBezTo>
                    <a:cubicBezTo>
                      <a:pt x="7" y="0"/>
                      <a:pt x="0" y="7"/>
                      <a:pt x="0" y="13"/>
                    </a:cubicBezTo>
                    <a:cubicBezTo>
                      <a:pt x="0" y="21"/>
                      <a:pt x="7" y="28"/>
                      <a:pt x="14" y="28"/>
                    </a:cubicBez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6C0443D5-A336-4E47-9302-3008A6CBE04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376553"/>
                <a:ext cx="45767" cy="40383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8415124A-8334-485E-A78F-25531B8A631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513851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7497DF9D-C5BA-4244-B721-BD60837B9FD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653841"/>
                <a:ext cx="45767" cy="40383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1" name="Freeform 29">
                <a:extLst>
                  <a:ext uri="{FF2B5EF4-FFF2-40B4-BE49-F238E27FC236}">
                    <a16:creationId xmlns:a16="http://schemas.microsoft.com/office/drawing/2014/main" id="{4BC68D88-3E6A-4689-A984-DE915506D57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772295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2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2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2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2"/>
                      <a:pt x="286" y="22"/>
                      <a:pt x="286" y="22"/>
                    </a:cubicBezTo>
                    <a:cubicBezTo>
                      <a:pt x="286" y="22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1191EFE2-5AEE-4C5B-B15B-89F775DCFEB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791141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98FC4692-8AC3-4347-B965-AE4B41E7915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467054" y="4883892"/>
                <a:ext cx="570732" cy="1337991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4" name="Freeform 32">
                <a:extLst>
                  <a:ext uri="{FF2B5EF4-FFF2-40B4-BE49-F238E27FC236}">
                    <a16:creationId xmlns:a16="http://schemas.microsoft.com/office/drawing/2014/main" id="{9D823201-8A62-4501-8B0C-9EBE1F8A08A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4975424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2 h 50"/>
                  <a:gd name="T4" fmla="*/ 0 w 287"/>
                  <a:gd name="T5" fmla="*/ 27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7 h 50"/>
                  <a:gd name="T12" fmla="*/ 287 w 287"/>
                  <a:gd name="T13" fmla="*/ 22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2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7"/>
                    </a:cubicBezTo>
                    <a:cubicBezTo>
                      <a:pt x="287" y="22"/>
                      <a:pt x="287" y="22"/>
                      <a:pt x="287" y="22"/>
                    </a:cubicBezTo>
                    <a:cubicBezTo>
                      <a:pt x="287" y="22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5" name="Freeform 33">
                <a:extLst>
                  <a:ext uri="{FF2B5EF4-FFF2-40B4-BE49-F238E27FC236}">
                    <a16:creationId xmlns:a16="http://schemas.microsoft.com/office/drawing/2014/main" id="{01E002C9-6AFD-4968-B591-28514C3E3350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112724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6" name="Freeform 34">
                <a:extLst>
                  <a:ext uri="{FF2B5EF4-FFF2-40B4-BE49-F238E27FC236}">
                    <a16:creationId xmlns:a16="http://schemas.microsoft.com/office/drawing/2014/main" id="{8AF4E1C1-974B-422F-BB6B-4E5BEAA0F739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252715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2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2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2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2"/>
                      <a:pt x="287" y="22"/>
                      <a:pt x="287" y="22"/>
                    </a:cubicBezTo>
                    <a:cubicBezTo>
                      <a:pt x="287" y="22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7" name="Freeform 35">
                <a:extLst>
                  <a:ext uri="{FF2B5EF4-FFF2-40B4-BE49-F238E27FC236}">
                    <a16:creationId xmlns:a16="http://schemas.microsoft.com/office/drawing/2014/main" id="{4FC6B5BB-BC87-46F3-B329-0DD15C6B40D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390012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2 h 50"/>
                  <a:gd name="T4" fmla="*/ 0 w 287"/>
                  <a:gd name="T5" fmla="*/ 27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7 h 50"/>
                  <a:gd name="T12" fmla="*/ 287 w 287"/>
                  <a:gd name="T13" fmla="*/ 22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2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7"/>
                    </a:cubicBezTo>
                    <a:cubicBezTo>
                      <a:pt x="287" y="22"/>
                      <a:pt x="287" y="22"/>
                      <a:pt x="287" y="22"/>
                    </a:cubicBezTo>
                    <a:cubicBezTo>
                      <a:pt x="287" y="22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8" name="Freeform 36">
                <a:extLst>
                  <a:ext uri="{FF2B5EF4-FFF2-40B4-BE49-F238E27FC236}">
                    <a16:creationId xmlns:a16="http://schemas.microsoft.com/office/drawing/2014/main" id="{74D994BB-5F79-44B6-B7FC-C17BEAF9BF4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527312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9" name="Freeform 37">
                <a:extLst>
                  <a:ext uri="{FF2B5EF4-FFF2-40B4-BE49-F238E27FC236}">
                    <a16:creationId xmlns:a16="http://schemas.microsoft.com/office/drawing/2014/main" id="{C49B967D-D7D6-4F99-8CAB-AD783AA71CE0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667303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0" name="Freeform 38">
                <a:extLst>
                  <a:ext uri="{FF2B5EF4-FFF2-40B4-BE49-F238E27FC236}">
                    <a16:creationId xmlns:a16="http://schemas.microsoft.com/office/drawing/2014/main" id="{BAF09359-0391-4868-B491-CA147202ED4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807294"/>
                <a:ext cx="449587" cy="75380"/>
              </a:xfrm>
              <a:custGeom>
                <a:avLst/>
                <a:gdLst>
                  <a:gd name="T0" fmla="*/ 25 w 287"/>
                  <a:gd name="T1" fmla="*/ 0 h 49"/>
                  <a:gd name="T2" fmla="*/ 0 w 287"/>
                  <a:gd name="T3" fmla="*/ 23 h 49"/>
                  <a:gd name="T4" fmla="*/ 0 w 287"/>
                  <a:gd name="T5" fmla="*/ 27 h 49"/>
                  <a:gd name="T6" fmla="*/ 25 w 287"/>
                  <a:gd name="T7" fmla="*/ 49 h 49"/>
                  <a:gd name="T8" fmla="*/ 262 w 287"/>
                  <a:gd name="T9" fmla="*/ 49 h 49"/>
                  <a:gd name="T10" fmla="*/ 287 w 287"/>
                  <a:gd name="T11" fmla="*/ 27 h 49"/>
                  <a:gd name="T12" fmla="*/ 287 w 287"/>
                  <a:gd name="T13" fmla="*/ 23 h 49"/>
                  <a:gd name="T14" fmla="*/ 262 w 287"/>
                  <a:gd name="T15" fmla="*/ 0 h 49"/>
                  <a:gd name="T16" fmla="*/ 153 w 287"/>
                  <a:gd name="T17" fmla="*/ 0 h 49"/>
                  <a:gd name="T18" fmla="*/ 25 w 287"/>
                  <a:gd name="T1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49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49"/>
                      <a:pt x="25" y="49"/>
                    </a:cubicBezTo>
                    <a:cubicBezTo>
                      <a:pt x="262" y="49"/>
                      <a:pt x="262" y="49"/>
                      <a:pt x="262" y="49"/>
                    </a:cubicBezTo>
                    <a:cubicBezTo>
                      <a:pt x="262" y="49"/>
                      <a:pt x="287" y="49"/>
                      <a:pt x="287" y="27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1" name="Freeform 39">
                <a:extLst>
                  <a:ext uri="{FF2B5EF4-FFF2-40B4-BE49-F238E27FC236}">
                    <a16:creationId xmlns:a16="http://schemas.microsoft.com/office/drawing/2014/main" id="{9EBE060D-1F48-4919-858E-522F0EB8591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941900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4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4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4"/>
                      <a:pt x="287" y="24"/>
                      <a:pt x="287" y="24"/>
                    </a:cubicBezTo>
                    <a:cubicBezTo>
                      <a:pt x="287" y="24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30212001-48AB-412F-A69A-2311910DC86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4991577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47B2300A-7161-45BF-8B03-6AF6138FFC9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131568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9A604208-317B-46F8-A2F5-AD51A46DD03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268867"/>
                <a:ext cx="45767" cy="45767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CA30A0A1-5452-4088-A74A-B2D82017524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406165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496C20AA-FFBE-4395-8993-5202118446E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546156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35A45C03-CE1F-4715-A8B3-4B5B17DAA5F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683456"/>
                <a:ext cx="45767" cy="45767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53403D01-7C3F-4465-90D2-F6D47FBE6E3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823447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66013DCD-3BEA-4AB8-8F62-D443F2FFFD6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960744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0" name="Freeform 48">
                <a:extLst>
                  <a:ext uri="{FF2B5EF4-FFF2-40B4-BE49-F238E27FC236}">
                    <a16:creationId xmlns:a16="http://schemas.microsoft.com/office/drawing/2014/main" id="{8C96AB53-9BED-4BDB-8C72-7FB0D63DE990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6081891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7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7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7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96B78A9D-1C23-40C1-8998-9B8E5C68F8A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6100735"/>
                <a:ext cx="45767" cy="43074"/>
              </a:xfrm>
              <a:prstGeom prst="ellipse">
                <a:avLst/>
              </a:prstGeom>
              <a:solidFill>
                <a:srgbClr val="FF8C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2" name="Freeform 50">
                <a:extLst>
                  <a:ext uri="{FF2B5EF4-FFF2-40B4-BE49-F238E27FC236}">
                    <a16:creationId xmlns:a16="http://schemas.microsoft.com/office/drawing/2014/main" id="{DA3CF29E-A06B-40AB-9479-A4B3B8A86F6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909595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3" name="Oval 132">
                <a:extLst>
                  <a:ext uri="{FF2B5EF4-FFF2-40B4-BE49-F238E27FC236}">
                    <a16:creationId xmlns:a16="http://schemas.microsoft.com/office/drawing/2014/main" id="{D8F83D1B-C252-4759-AFE7-2D083CB1F26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928439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0611DFC0-23F3-45EC-A637-FF237964324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643261" y="4245857"/>
                <a:ext cx="573425" cy="255753"/>
              </a:xfrm>
              <a:prstGeom prst="rect">
                <a:avLst/>
              </a:pr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5" name="Freeform 53">
                <a:extLst>
                  <a:ext uri="{FF2B5EF4-FFF2-40B4-BE49-F238E27FC236}">
                    <a16:creationId xmlns:a16="http://schemas.microsoft.com/office/drawing/2014/main" id="{A38393F3-73DB-4FC9-91D8-5981C0ADAEB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772739" y="5917670"/>
                <a:ext cx="1243765" cy="621882"/>
              </a:xfrm>
              <a:custGeom>
                <a:avLst/>
                <a:gdLst>
                  <a:gd name="T0" fmla="*/ 763 w 788"/>
                  <a:gd name="T1" fmla="*/ 392 h 392"/>
                  <a:gd name="T2" fmla="*/ 788 w 788"/>
                  <a:gd name="T3" fmla="*/ 304 h 392"/>
                  <a:gd name="T4" fmla="*/ 625 w 788"/>
                  <a:gd name="T5" fmla="*/ 142 h 392"/>
                  <a:gd name="T6" fmla="*/ 580 w 788"/>
                  <a:gd name="T7" fmla="*/ 149 h 392"/>
                  <a:gd name="T8" fmla="*/ 358 w 788"/>
                  <a:gd name="T9" fmla="*/ 0 h 392"/>
                  <a:gd name="T10" fmla="*/ 120 w 788"/>
                  <a:gd name="T11" fmla="*/ 224 h 392"/>
                  <a:gd name="T12" fmla="*/ 0 w 788"/>
                  <a:gd name="T13" fmla="*/ 347 h 392"/>
                  <a:gd name="T14" fmla="*/ 8 w 788"/>
                  <a:gd name="T15" fmla="*/ 392 h 392"/>
                  <a:gd name="T16" fmla="*/ 763 w 788"/>
                  <a:gd name="T17" fmla="*/ 392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88" h="392">
                    <a:moveTo>
                      <a:pt x="763" y="392"/>
                    </a:moveTo>
                    <a:cubicBezTo>
                      <a:pt x="779" y="366"/>
                      <a:pt x="788" y="337"/>
                      <a:pt x="788" y="304"/>
                    </a:cubicBezTo>
                    <a:cubicBezTo>
                      <a:pt x="788" y="214"/>
                      <a:pt x="715" y="142"/>
                      <a:pt x="625" y="142"/>
                    </a:cubicBezTo>
                    <a:cubicBezTo>
                      <a:pt x="609" y="142"/>
                      <a:pt x="594" y="144"/>
                      <a:pt x="580" y="149"/>
                    </a:cubicBezTo>
                    <a:cubicBezTo>
                      <a:pt x="544" y="61"/>
                      <a:pt x="458" y="0"/>
                      <a:pt x="358" y="0"/>
                    </a:cubicBezTo>
                    <a:cubicBezTo>
                      <a:pt x="231" y="0"/>
                      <a:pt x="127" y="99"/>
                      <a:pt x="120" y="224"/>
                    </a:cubicBezTo>
                    <a:cubicBezTo>
                      <a:pt x="53" y="226"/>
                      <a:pt x="0" y="280"/>
                      <a:pt x="0" y="347"/>
                    </a:cubicBezTo>
                    <a:cubicBezTo>
                      <a:pt x="0" y="363"/>
                      <a:pt x="2" y="378"/>
                      <a:pt x="8" y="392"/>
                    </a:cubicBezTo>
                    <a:lnTo>
                      <a:pt x="763" y="392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6" name="Freeform 55">
                <a:extLst>
                  <a:ext uri="{FF2B5EF4-FFF2-40B4-BE49-F238E27FC236}">
                    <a16:creationId xmlns:a16="http://schemas.microsoft.com/office/drawing/2014/main" id="{073AF9DF-BED0-4F69-8C6E-5A80ADDAC1D6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1198092" y="5990359"/>
                <a:ext cx="1449301" cy="697263"/>
              </a:xfrm>
              <a:custGeom>
                <a:avLst/>
                <a:gdLst>
                  <a:gd name="T0" fmla="*/ 790 w 790"/>
                  <a:gd name="T1" fmla="*/ 206 h 414"/>
                  <a:gd name="T2" fmla="*/ 661 w 790"/>
                  <a:gd name="T3" fmla="*/ 149 h 414"/>
                  <a:gd name="T4" fmla="*/ 613 w 790"/>
                  <a:gd name="T5" fmla="*/ 156 h 414"/>
                  <a:gd name="T6" fmla="*/ 379 w 790"/>
                  <a:gd name="T7" fmla="*/ 0 h 414"/>
                  <a:gd name="T8" fmla="*/ 127 w 790"/>
                  <a:gd name="T9" fmla="*/ 236 h 414"/>
                  <a:gd name="T10" fmla="*/ 0 w 790"/>
                  <a:gd name="T11" fmla="*/ 366 h 414"/>
                  <a:gd name="T12" fmla="*/ 9 w 790"/>
                  <a:gd name="T13" fmla="*/ 414 h 414"/>
                  <a:gd name="T14" fmla="*/ 790 w 790"/>
                  <a:gd name="T15" fmla="*/ 414 h 414"/>
                  <a:gd name="T16" fmla="*/ 790 w 790"/>
                  <a:gd name="T17" fmla="*/ 206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0" h="414">
                    <a:moveTo>
                      <a:pt x="790" y="206"/>
                    </a:moveTo>
                    <a:cubicBezTo>
                      <a:pt x="758" y="172"/>
                      <a:pt x="713" y="149"/>
                      <a:pt x="661" y="149"/>
                    </a:cubicBezTo>
                    <a:cubicBezTo>
                      <a:pt x="644" y="149"/>
                      <a:pt x="628" y="152"/>
                      <a:pt x="613" y="156"/>
                    </a:cubicBezTo>
                    <a:cubicBezTo>
                      <a:pt x="576" y="64"/>
                      <a:pt x="484" y="0"/>
                      <a:pt x="379" y="0"/>
                    </a:cubicBezTo>
                    <a:cubicBezTo>
                      <a:pt x="245" y="0"/>
                      <a:pt x="135" y="104"/>
                      <a:pt x="127" y="236"/>
                    </a:cubicBezTo>
                    <a:cubicBezTo>
                      <a:pt x="56" y="238"/>
                      <a:pt x="0" y="295"/>
                      <a:pt x="0" y="366"/>
                    </a:cubicBezTo>
                    <a:cubicBezTo>
                      <a:pt x="0" y="383"/>
                      <a:pt x="3" y="399"/>
                      <a:pt x="9" y="414"/>
                    </a:cubicBezTo>
                    <a:cubicBezTo>
                      <a:pt x="790" y="414"/>
                      <a:pt x="790" y="414"/>
                      <a:pt x="790" y="414"/>
                    </a:cubicBezTo>
                    <a:lnTo>
                      <a:pt x="790" y="206"/>
                    </a:lnTo>
                    <a:close/>
                  </a:path>
                </a:pathLst>
              </a:custGeom>
              <a:ln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7" name="Freeform 59">
                <a:extLst>
                  <a:ext uri="{FF2B5EF4-FFF2-40B4-BE49-F238E27FC236}">
                    <a16:creationId xmlns:a16="http://schemas.microsoft.com/office/drawing/2014/main" id="{4B178CEC-0EC8-46B6-9B4D-B9782C9722DE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1682678" y="5328094"/>
                <a:ext cx="309596" cy="441510"/>
              </a:xfrm>
              <a:custGeom>
                <a:avLst/>
                <a:gdLst>
                  <a:gd name="T0" fmla="*/ 198 w 198"/>
                  <a:gd name="T1" fmla="*/ 202 h 283"/>
                  <a:gd name="T2" fmla="*/ 198 w 198"/>
                  <a:gd name="T3" fmla="*/ 0 h 283"/>
                  <a:gd name="T4" fmla="*/ 177 w 198"/>
                  <a:gd name="T5" fmla="*/ 6 h 283"/>
                  <a:gd name="T6" fmla="*/ 177 w 198"/>
                  <a:gd name="T7" fmla="*/ 230 h 283"/>
                  <a:gd name="T8" fmla="*/ 0 w 198"/>
                  <a:gd name="T9" fmla="*/ 230 h 283"/>
                  <a:gd name="T10" fmla="*/ 26 w 198"/>
                  <a:gd name="T11" fmla="*/ 246 h 283"/>
                  <a:gd name="T12" fmla="*/ 26 w 198"/>
                  <a:gd name="T13" fmla="*/ 283 h 283"/>
                  <a:gd name="T14" fmla="*/ 171 w 198"/>
                  <a:gd name="T15" fmla="*/ 283 h 283"/>
                  <a:gd name="T16" fmla="*/ 171 w 198"/>
                  <a:gd name="T17" fmla="*/ 246 h 283"/>
                  <a:gd name="T18" fmla="*/ 198 w 198"/>
                  <a:gd name="T19" fmla="*/ 202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8" h="283">
                    <a:moveTo>
                      <a:pt x="198" y="202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0" y="0"/>
                      <a:pt x="183" y="3"/>
                      <a:pt x="177" y="6"/>
                    </a:cubicBezTo>
                    <a:cubicBezTo>
                      <a:pt x="177" y="230"/>
                      <a:pt x="177" y="230"/>
                      <a:pt x="177" y="230"/>
                    </a:cubicBezTo>
                    <a:cubicBezTo>
                      <a:pt x="0" y="230"/>
                      <a:pt x="0" y="230"/>
                      <a:pt x="0" y="230"/>
                    </a:cubicBezTo>
                    <a:cubicBezTo>
                      <a:pt x="6" y="239"/>
                      <a:pt x="15" y="244"/>
                      <a:pt x="26" y="246"/>
                    </a:cubicBezTo>
                    <a:cubicBezTo>
                      <a:pt x="26" y="283"/>
                      <a:pt x="26" y="283"/>
                      <a:pt x="26" y="283"/>
                    </a:cubicBezTo>
                    <a:cubicBezTo>
                      <a:pt x="171" y="283"/>
                      <a:pt x="171" y="283"/>
                      <a:pt x="171" y="283"/>
                    </a:cubicBezTo>
                    <a:cubicBezTo>
                      <a:pt x="171" y="246"/>
                      <a:pt x="171" y="246"/>
                      <a:pt x="171" y="246"/>
                    </a:cubicBezTo>
                    <a:lnTo>
                      <a:pt x="198" y="202"/>
                    </a:lnTo>
                    <a:close/>
                  </a:path>
                </a:pathLst>
              </a:custGeom>
              <a:solidFill>
                <a:srgbClr val="613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8" name="Freeform 60">
                <a:extLst>
                  <a:ext uri="{FF2B5EF4-FFF2-40B4-BE49-F238E27FC236}">
                    <a16:creationId xmlns:a16="http://schemas.microsoft.com/office/drawing/2014/main" id="{0E9650D3-4903-42D8-A167-A575745FBAAF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1704215" y="5815369"/>
                <a:ext cx="263829" cy="419973"/>
              </a:xfrm>
              <a:custGeom>
                <a:avLst/>
                <a:gdLst>
                  <a:gd name="T0" fmla="*/ 167 w 167"/>
                  <a:gd name="T1" fmla="*/ 270 h 270"/>
                  <a:gd name="T2" fmla="*/ 167 w 167"/>
                  <a:gd name="T3" fmla="*/ 0 h 270"/>
                  <a:gd name="T4" fmla="*/ 0 w 167"/>
                  <a:gd name="T5" fmla="*/ 0 h 270"/>
                  <a:gd name="T6" fmla="*/ 0 w 167"/>
                  <a:gd name="T7" fmla="*/ 203 h 270"/>
                  <a:gd name="T8" fmla="*/ 18 w 167"/>
                  <a:gd name="T9" fmla="*/ 202 h 270"/>
                  <a:gd name="T10" fmla="*/ 167 w 167"/>
                  <a:gd name="T11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7" h="270">
                    <a:moveTo>
                      <a:pt x="167" y="27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03"/>
                      <a:pt x="0" y="203"/>
                      <a:pt x="0" y="203"/>
                    </a:cubicBezTo>
                    <a:cubicBezTo>
                      <a:pt x="6" y="203"/>
                      <a:pt x="12" y="202"/>
                      <a:pt x="18" y="202"/>
                    </a:cubicBezTo>
                    <a:cubicBezTo>
                      <a:pt x="77" y="202"/>
                      <a:pt x="131" y="229"/>
                      <a:pt x="167" y="270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141BA46E-3AF8-4045-A2C4-7074F09447C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1712292" y="5769604"/>
                <a:ext cx="247676" cy="4576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0" name="Freeform 62">
                <a:extLst>
                  <a:ext uri="{FF2B5EF4-FFF2-40B4-BE49-F238E27FC236}">
                    <a16:creationId xmlns:a16="http://schemas.microsoft.com/office/drawing/2014/main" id="{F5B3DB0E-197B-47DF-AFB2-20B4323250A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698577" y="6491095"/>
                <a:ext cx="1017626" cy="503430"/>
              </a:xfrm>
              <a:custGeom>
                <a:avLst/>
                <a:gdLst>
                  <a:gd name="T0" fmla="*/ 628 w 650"/>
                  <a:gd name="T1" fmla="*/ 323 h 323"/>
                  <a:gd name="T2" fmla="*/ 650 w 650"/>
                  <a:gd name="T3" fmla="*/ 251 h 323"/>
                  <a:gd name="T4" fmla="*/ 515 w 650"/>
                  <a:gd name="T5" fmla="*/ 117 h 323"/>
                  <a:gd name="T6" fmla="*/ 477 w 650"/>
                  <a:gd name="T7" fmla="*/ 122 h 323"/>
                  <a:gd name="T8" fmla="*/ 295 w 650"/>
                  <a:gd name="T9" fmla="*/ 0 h 323"/>
                  <a:gd name="T10" fmla="*/ 99 w 650"/>
                  <a:gd name="T11" fmla="*/ 184 h 323"/>
                  <a:gd name="T12" fmla="*/ 0 w 650"/>
                  <a:gd name="T13" fmla="*/ 285 h 323"/>
                  <a:gd name="T14" fmla="*/ 7 w 650"/>
                  <a:gd name="T15" fmla="*/ 323 h 323"/>
                  <a:gd name="T16" fmla="*/ 628 w 650"/>
                  <a:gd name="T17" fmla="*/ 323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0" h="323">
                    <a:moveTo>
                      <a:pt x="628" y="323"/>
                    </a:moveTo>
                    <a:cubicBezTo>
                      <a:pt x="642" y="302"/>
                      <a:pt x="650" y="277"/>
                      <a:pt x="650" y="251"/>
                    </a:cubicBezTo>
                    <a:cubicBezTo>
                      <a:pt x="650" y="176"/>
                      <a:pt x="589" y="117"/>
                      <a:pt x="515" y="117"/>
                    </a:cubicBezTo>
                    <a:cubicBezTo>
                      <a:pt x="502" y="117"/>
                      <a:pt x="489" y="119"/>
                      <a:pt x="477" y="122"/>
                    </a:cubicBezTo>
                    <a:cubicBezTo>
                      <a:pt x="448" y="50"/>
                      <a:pt x="377" y="0"/>
                      <a:pt x="295" y="0"/>
                    </a:cubicBezTo>
                    <a:cubicBezTo>
                      <a:pt x="191" y="0"/>
                      <a:pt x="105" y="81"/>
                      <a:pt x="99" y="184"/>
                    </a:cubicBezTo>
                    <a:cubicBezTo>
                      <a:pt x="44" y="185"/>
                      <a:pt x="0" y="230"/>
                      <a:pt x="0" y="285"/>
                    </a:cubicBezTo>
                    <a:cubicBezTo>
                      <a:pt x="0" y="298"/>
                      <a:pt x="1" y="311"/>
                      <a:pt x="7" y="323"/>
                    </a:cubicBezTo>
                    <a:lnTo>
                      <a:pt x="628" y="323"/>
                    </a:lnTo>
                    <a:close/>
                  </a:path>
                </a:pathLst>
              </a:custGeom>
              <a:ln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id="{1E8DE708-D7E6-4E01-81A6-4733BF67677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0840041" y="5481545"/>
                <a:ext cx="43074" cy="91532"/>
              </a:xfrm>
              <a:prstGeom prst="rect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2" name="Freeform 64">
                <a:extLst>
                  <a:ext uri="{FF2B5EF4-FFF2-40B4-BE49-F238E27FC236}">
                    <a16:creationId xmlns:a16="http://schemas.microsoft.com/office/drawing/2014/main" id="{54CA206C-47B7-43C7-B432-44602290B4D7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852992" y="5328094"/>
                <a:ext cx="729569" cy="231523"/>
              </a:xfrm>
              <a:custGeom>
                <a:avLst/>
                <a:gdLst>
                  <a:gd name="T0" fmla="*/ 271 w 271"/>
                  <a:gd name="T1" fmla="*/ 0 h 86"/>
                  <a:gd name="T2" fmla="*/ 0 w 271"/>
                  <a:gd name="T3" fmla="*/ 0 h 86"/>
                  <a:gd name="T4" fmla="*/ 17 w 271"/>
                  <a:gd name="T5" fmla="*/ 11 h 86"/>
                  <a:gd name="T6" fmla="*/ 132 w 271"/>
                  <a:gd name="T7" fmla="*/ 48 h 86"/>
                  <a:gd name="T8" fmla="*/ 133 w 271"/>
                  <a:gd name="T9" fmla="*/ 86 h 86"/>
                  <a:gd name="T10" fmla="*/ 240 w 271"/>
                  <a:gd name="T11" fmla="*/ 86 h 86"/>
                  <a:gd name="T12" fmla="*/ 240 w 271"/>
                  <a:gd name="T13" fmla="*/ 21 h 86"/>
                  <a:gd name="T14" fmla="*/ 271 w 271"/>
                  <a:gd name="T15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1" h="86">
                    <a:moveTo>
                      <a:pt x="271" y="0"/>
                    </a:moveTo>
                    <a:lnTo>
                      <a:pt x="0" y="0"/>
                    </a:lnTo>
                    <a:lnTo>
                      <a:pt x="17" y="11"/>
                    </a:lnTo>
                    <a:lnTo>
                      <a:pt x="132" y="48"/>
                    </a:lnTo>
                    <a:lnTo>
                      <a:pt x="133" y="86"/>
                    </a:lnTo>
                    <a:lnTo>
                      <a:pt x="240" y="86"/>
                    </a:lnTo>
                    <a:lnTo>
                      <a:pt x="240" y="21"/>
                    </a:lnTo>
                    <a:lnTo>
                      <a:pt x="271" y="0"/>
                    </a:lnTo>
                    <a:close/>
                  </a:path>
                </a:pathLst>
              </a:custGeom>
              <a:solidFill>
                <a:srgbClr val="BB91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3" name="Freeform 65">
                <a:extLst>
                  <a:ext uri="{FF2B5EF4-FFF2-40B4-BE49-F238E27FC236}">
                    <a16:creationId xmlns:a16="http://schemas.microsoft.com/office/drawing/2014/main" id="{7A0A2DF5-D070-466D-81D2-FCF849A1EF7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7192201" y="5621536"/>
                <a:ext cx="328440" cy="508814"/>
              </a:xfrm>
              <a:custGeom>
                <a:avLst/>
                <a:gdLst>
                  <a:gd name="T0" fmla="*/ 209 w 209"/>
                  <a:gd name="T1" fmla="*/ 327 h 327"/>
                  <a:gd name="T2" fmla="*/ 209 w 209"/>
                  <a:gd name="T3" fmla="*/ 0 h 327"/>
                  <a:gd name="T4" fmla="*/ 0 w 209"/>
                  <a:gd name="T5" fmla="*/ 0 h 327"/>
                  <a:gd name="T6" fmla="*/ 0 w 209"/>
                  <a:gd name="T7" fmla="*/ 242 h 327"/>
                  <a:gd name="T8" fmla="*/ 209 w 209"/>
                  <a:gd name="T9" fmla="*/ 327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9" h="327">
                    <a:moveTo>
                      <a:pt x="209" y="327"/>
                    </a:moveTo>
                    <a:cubicBezTo>
                      <a:pt x="209" y="0"/>
                      <a:pt x="209" y="0"/>
                      <a:pt x="20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81" y="245"/>
                      <a:pt x="153" y="277"/>
                      <a:pt x="209" y="327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4" name="Rectangle 143">
                <a:extLst>
                  <a:ext uri="{FF2B5EF4-FFF2-40B4-BE49-F238E27FC236}">
                    <a16:creationId xmlns:a16="http://schemas.microsoft.com/office/drawing/2014/main" id="{BACB0CF3-A13D-4EDD-84AE-7653E4319EA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7202970" y="5559618"/>
                <a:ext cx="306903" cy="6192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5" name="Rectangle 144">
                <a:extLst>
                  <a:ext uri="{FF2B5EF4-FFF2-40B4-BE49-F238E27FC236}">
                    <a16:creationId xmlns:a16="http://schemas.microsoft.com/office/drawing/2014/main" id="{89A2A754-79A7-4A73-BE65-28DD4603790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7943307" y="5048112"/>
                <a:ext cx="43074" cy="91532"/>
              </a:xfrm>
              <a:prstGeom prst="rect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6" name="Freeform 68">
                <a:extLst>
                  <a:ext uri="{FF2B5EF4-FFF2-40B4-BE49-F238E27FC236}">
                    <a16:creationId xmlns:a16="http://schemas.microsoft.com/office/drawing/2014/main" id="{2FF6BF3B-67D8-4320-9CE3-07D4AB7F5787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7940614" y="5088494"/>
                <a:ext cx="1289532" cy="454971"/>
              </a:xfrm>
              <a:custGeom>
                <a:avLst/>
                <a:gdLst>
                  <a:gd name="T0" fmla="*/ 479 w 479"/>
                  <a:gd name="T1" fmla="*/ 169 h 169"/>
                  <a:gd name="T2" fmla="*/ 163 w 479"/>
                  <a:gd name="T3" fmla="*/ 169 h 169"/>
                  <a:gd name="T4" fmla="*/ 163 w 479"/>
                  <a:gd name="T5" fmla="*/ 5 h 169"/>
                  <a:gd name="T6" fmla="*/ 0 w 479"/>
                  <a:gd name="T7" fmla="*/ 5 h 169"/>
                  <a:gd name="T8" fmla="*/ 0 w 479"/>
                  <a:gd name="T9" fmla="*/ 0 h 169"/>
                  <a:gd name="T10" fmla="*/ 169 w 479"/>
                  <a:gd name="T11" fmla="*/ 0 h 169"/>
                  <a:gd name="T12" fmla="*/ 169 w 479"/>
                  <a:gd name="T13" fmla="*/ 165 h 169"/>
                  <a:gd name="T14" fmla="*/ 479 w 479"/>
                  <a:gd name="T15" fmla="*/ 165 h 169"/>
                  <a:gd name="T16" fmla="*/ 479 w 479"/>
                  <a:gd name="T17" fmla="*/ 169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9" h="169">
                    <a:moveTo>
                      <a:pt x="479" y="169"/>
                    </a:moveTo>
                    <a:lnTo>
                      <a:pt x="163" y="169"/>
                    </a:lnTo>
                    <a:lnTo>
                      <a:pt x="163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169" y="0"/>
                    </a:lnTo>
                    <a:lnTo>
                      <a:pt x="169" y="165"/>
                    </a:lnTo>
                    <a:lnTo>
                      <a:pt x="479" y="165"/>
                    </a:lnTo>
                    <a:lnTo>
                      <a:pt x="479" y="169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7" name="Freeform 69">
                <a:extLst>
                  <a:ext uri="{FF2B5EF4-FFF2-40B4-BE49-F238E27FC236}">
                    <a16:creationId xmlns:a16="http://schemas.microsoft.com/office/drawing/2014/main" id="{3C5E0098-8212-4F15-80B5-6A9398911C3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215467" y="6227266"/>
                <a:ext cx="134607" cy="188449"/>
              </a:xfrm>
              <a:custGeom>
                <a:avLst/>
                <a:gdLst>
                  <a:gd name="T0" fmla="*/ 85 w 85"/>
                  <a:gd name="T1" fmla="*/ 86 h 121"/>
                  <a:gd name="T2" fmla="*/ 85 w 85"/>
                  <a:gd name="T3" fmla="*/ 0 h 121"/>
                  <a:gd name="T4" fmla="*/ 77 w 85"/>
                  <a:gd name="T5" fmla="*/ 2 h 121"/>
                  <a:gd name="T6" fmla="*/ 77 w 85"/>
                  <a:gd name="T7" fmla="*/ 98 h 121"/>
                  <a:gd name="T8" fmla="*/ 0 w 85"/>
                  <a:gd name="T9" fmla="*/ 98 h 121"/>
                  <a:gd name="T10" fmla="*/ 11 w 85"/>
                  <a:gd name="T11" fmla="*/ 105 h 121"/>
                  <a:gd name="T12" fmla="*/ 11 w 85"/>
                  <a:gd name="T13" fmla="*/ 121 h 121"/>
                  <a:gd name="T14" fmla="*/ 73 w 85"/>
                  <a:gd name="T15" fmla="*/ 121 h 121"/>
                  <a:gd name="T16" fmla="*/ 73 w 85"/>
                  <a:gd name="T17" fmla="*/ 105 h 121"/>
                  <a:gd name="T18" fmla="*/ 85 w 85"/>
                  <a:gd name="T19" fmla="*/ 86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5" h="121">
                    <a:moveTo>
                      <a:pt x="85" y="86"/>
                    </a:moveTo>
                    <a:cubicBezTo>
                      <a:pt x="85" y="0"/>
                      <a:pt x="85" y="0"/>
                      <a:pt x="85" y="0"/>
                    </a:cubicBezTo>
                    <a:cubicBezTo>
                      <a:pt x="82" y="0"/>
                      <a:pt x="79" y="1"/>
                      <a:pt x="77" y="2"/>
                    </a:cubicBezTo>
                    <a:cubicBezTo>
                      <a:pt x="77" y="98"/>
                      <a:pt x="77" y="98"/>
                      <a:pt x="77" y="98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3" y="102"/>
                      <a:pt x="7" y="104"/>
                      <a:pt x="11" y="105"/>
                    </a:cubicBezTo>
                    <a:cubicBezTo>
                      <a:pt x="11" y="121"/>
                      <a:pt x="11" y="121"/>
                      <a:pt x="11" y="121"/>
                    </a:cubicBezTo>
                    <a:cubicBezTo>
                      <a:pt x="73" y="121"/>
                      <a:pt x="73" y="121"/>
                      <a:pt x="73" y="121"/>
                    </a:cubicBezTo>
                    <a:cubicBezTo>
                      <a:pt x="73" y="105"/>
                      <a:pt x="73" y="105"/>
                      <a:pt x="73" y="105"/>
                    </a:cubicBezTo>
                    <a:lnTo>
                      <a:pt x="85" y="86"/>
                    </a:lnTo>
                    <a:close/>
                  </a:path>
                </a:pathLst>
              </a:custGeom>
              <a:solidFill>
                <a:srgbClr val="CE9C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8" name="Freeform 70">
                <a:extLst>
                  <a:ext uri="{FF2B5EF4-FFF2-40B4-BE49-F238E27FC236}">
                    <a16:creationId xmlns:a16="http://schemas.microsoft.com/office/drawing/2014/main" id="{737E6FAC-C4F6-44CF-BEBA-6F5B7DE15AE7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228926" y="6437253"/>
                <a:ext cx="110378" cy="250369"/>
              </a:xfrm>
              <a:custGeom>
                <a:avLst/>
                <a:gdLst>
                  <a:gd name="T0" fmla="*/ 72 w 72"/>
                  <a:gd name="T1" fmla="*/ 160 h 160"/>
                  <a:gd name="T2" fmla="*/ 72 w 72"/>
                  <a:gd name="T3" fmla="*/ 0 h 160"/>
                  <a:gd name="T4" fmla="*/ 0 w 72"/>
                  <a:gd name="T5" fmla="*/ 0 h 160"/>
                  <a:gd name="T6" fmla="*/ 0 w 72"/>
                  <a:gd name="T7" fmla="*/ 119 h 160"/>
                  <a:gd name="T8" fmla="*/ 72 w 72"/>
                  <a:gd name="T9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60">
                    <a:moveTo>
                      <a:pt x="72" y="160"/>
                    </a:moveTo>
                    <a:cubicBezTo>
                      <a:pt x="72" y="0"/>
                      <a:pt x="72" y="0"/>
                      <a:pt x="7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27" y="126"/>
                      <a:pt x="52" y="140"/>
                      <a:pt x="72" y="160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9" name="Rectangle 148">
                <a:extLst>
                  <a:ext uri="{FF2B5EF4-FFF2-40B4-BE49-F238E27FC236}">
                    <a16:creationId xmlns:a16="http://schemas.microsoft.com/office/drawing/2014/main" id="{C326864B-F815-431E-B21A-CABF4DB7576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0231619" y="6415716"/>
                <a:ext cx="104994" cy="2153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0" name="Freeform 72">
                <a:extLst>
                  <a:ext uri="{FF2B5EF4-FFF2-40B4-BE49-F238E27FC236}">
                    <a16:creationId xmlns:a16="http://schemas.microsoft.com/office/drawing/2014/main" id="{8CDC0440-B469-4778-BAD8-D6C3DC1B4A6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916639" y="5287711"/>
                <a:ext cx="923402" cy="247676"/>
              </a:xfrm>
              <a:custGeom>
                <a:avLst/>
                <a:gdLst>
                  <a:gd name="T0" fmla="*/ 343 w 343"/>
                  <a:gd name="T1" fmla="*/ 92 h 92"/>
                  <a:gd name="T2" fmla="*/ 196 w 343"/>
                  <a:gd name="T3" fmla="*/ 92 h 92"/>
                  <a:gd name="T4" fmla="*/ 196 w 343"/>
                  <a:gd name="T5" fmla="*/ 5 h 92"/>
                  <a:gd name="T6" fmla="*/ 0 w 343"/>
                  <a:gd name="T7" fmla="*/ 5 h 92"/>
                  <a:gd name="T8" fmla="*/ 0 w 343"/>
                  <a:gd name="T9" fmla="*/ 0 h 92"/>
                  <a:gd name="T10" fmla="*/ 201 w 343"/>
                  <a:gd name="T11" fmla="*/ 0 h 92"/>
                  <a:gd name="T12" fmla="*/ 201 w 343"/>
                  <a:gd name="T13" fmla="*/ 87 h 92"/>
                  <a:gd name="T14" fmla="*/ 343 w 343"/>
                  <a:gd name="T15" fmla="*/ 87 h 92"/>
                  <a:gd name="T16" fmla="*/ 343 w 343"/>
                  <a:gd name="T17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3" h="92">
                    <a:moveTo>
                      <a:pt x="343" y="92"/>
                    </a:moveTo>
                    <a:lnTo>
                      <a:pt x="196" y="92"/>
                    </a:lnTo>
                    <a:lnTo>
                      <a:pt x="196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201" y="0"/>
                    </a:lnTo>
                    <a:lnTo>
                      <a:pt x="201" y="87"/>
                    </a:lnTo>
                    <a:lnTo>
                      <a:pt x="343" y="87"/>
                    </a:lnTo>
                    <a:lnTo>
                      <a:pt x="343" y="92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1" name="Freeform 73">
                <a:extLst>
                  <a:ext uri="{FF2B5EF4-FFF2-40B4-BE49-F238E27FC236}">
                    <a16:creationId xmlns:a16="http://schemas.microsoft.com/office/drawing/2014/main" id="{6CBCE1F9-6A58-4039-B08F-73031C87E74B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623198" y="5565002"/>
                <a:ext cx="282675" cy="743029"/>
              </a:xfrm>
              <a:custGeom>
                <a:avLst/>
                <a:gdLst>
                  <a:gd name="T0" fmla="*/ 93 w 105"/>
                  <a:gd name="T1" fmla="*/ 276 h 276"/>
                  <a:gd name="T2" fmla="*/ 0 w 105"/>
                  <a:gd name="T3" fmla="*/ 276 h 276"/>
                  <a:gd name="T4" fmla="*/ 0 w 105"/>
                  <a:gd name="T5" fmla="*/ 0 h 276"/>
                  <a:gd name="T6" fmla="*/ 105 w 105"/>
                  <a:gd name="T7" fmla="*/ 0 h 276"/>
                  <a:gd name="T8" fmla="*/ 105 w 105"/>
                  <a:gd name="T9" fmla="*/ 6 h 276"/>
                  <a:gd name="T10" fmla="*/ 6 w 105"/>
                  <a:gd name="T11" fmla="*/ 6 h 276"/>
                  <a:gd name="T12" fmla="*/ 6 w 105"/>
                  <a:gd name="T13" fmla="*/ 271 h 276"/>
                  <a:gd name="T14" fmla="*/ 93 w 105"/>
                  <a:gd name="T15" fmla="*/ 271 h 276"/>
                  <a:gd name="T16" fmla="*/ 93 w 105"/>
                  <a:gd name="T17" fmla="*/ 276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5" h="276">
                    <a:moveTo>
                      <a:pt x="93" y="276"/>
                    </a:moveTo>
                    <a:lnTo>
                      <a:pt x="0" y="276"/>
                    </a:lnTo>
                    <a:lnTo>
                      <a:pt x="0" y="0"/>
                    </a:lnTo>
                    <a:lnTo>
                      <a:pt x="105" y="0"/>
                    </a:lnTo>
                    <a:lnTo>
                      <a:pt x="105" y="6"/>
                    </a:lnTo>
                    <a:lnTo>
                      <a:pt x="6" y="6"/>
                    </a:lnTo>
                    <a:lnTo>
                      <a:pt x="6" y="271"/>
                    </a:lnTo>
                    <a:lnTo>
                      <a:pt x="93" y="271"/>
                    </a:lnTo>
                    <a:lnTo>
                      <a:pt x="93" y="276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2" name="Rectangle 151">
                <a:extLst>
                  <a:ext uri="{FF2B5EF4-FFF2-40B4-BE49-F238E27FC236}">
                    <a16:creationId xmlns:a16="http://schemas.microsoft.com/office/drawing/2014/main" id="{59564FD5-D7FB-4200-AED3-285CF82FDD6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46644" y="6273032"/>
                <a:ext cx="26921" cy="56536"/>
              </a:xfrm>
              <a:prstGeom prst="rect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3" name="Freeform 75">
                <a:extLst>
                  <a:ext uri="{FF2B5EF4-FFF2-40B4-BE49-F238E27FC236}">
                    <a16:creationId xmlns:a16="http://schemas.microsoft.com/office/drawing/2014/main" id="{5AECBEF0-CDD4-4C61-A0BB-B510CA375615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883115" y="4951196"/>
                <a:ext cx="1076853" cy="734953"/>
              </a:xfrm>
              <a:custGeom>
                <a:avLst/>
                <a:gdLst>
                  <a:gd name="T0" fmla="*/ 400 w 400"/>
                  <a:gd name="T1" fmla="*/ 273 h 273"/>
                  <a:gd name="T2" fmla="*/ 400 w 400"/>
                  <a:gd name="T3" fmla="*/ 0 h 273"/>
                  <a:gd name="T4" fmla="*/ 201 w 400"/>
                  <a:gd name="T5" fmla="*/ 0 h 273"/>
                  <a:gd name="T6" fmla="*/ 0 w 400"/>
                  <a:gd name="T7" fmla="*/ 0 h 273"/>
                  <a:gd name="T8" fmla="*/ 0 w 400"/>
                  <a:gd name="T9" fmla="*/ 273 h 273"/>
                  <a:gd name="T10" fmla="*/ 201 w 400"/>
                  <a:gd name="T11" fmla="*/ 273 h 273"/>
                  <a:gd name="T12" fmla="*/ 400 w 400"/>
                  <a:gd name="T13" fmla="*/ 273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0" h="273">
                    <a:moveTo>
                      <a:pt x="400" y="273"/>
                    </a:moveTo>
                    <a:lnTo>
                      <a:pt x="400" y="0"/>
                    </a:lnTo>
                    <a:lnTo>
                      <a:pt x="201" y="0"/>
                    </a:lnTo>
                    <a:lnTo>
                      <a:pt x="0" y="0"/>
                    </a:lnTo>
                    <a:lnTo>
                      <a:pt x="0" y="273"/>
                    </a:lnTo>
                    <a:lnTo>
                      <a:pt x="201" y="273"/>
                    </a:lnTo>
                    <a:lnTo>
                      <a:pt x="400" y="273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4" name="Rectangle 153">
                <a:extLst>
                  <a:ext uri="{FF2B5EF4-FFF2-40B4-BE49-F238E27FC236}">
                    <a16:creationId xmlns:a16="http://schemas.microsoft.com/office/drawing/2014/main" id="{ADEA1F47-9F18-448D-BCE1-1A054234E01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0939649" y="4991577"/>
                <a:ext cx="966476" cy="573425"/>
              </a:xfrm>
              <a:prstGeom prst="rect">
                <a:avLst/>
              </a:prstGeom>
              <a:solidFill>
                <a:srgbClr val="D048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155" name="Freeform 80">
                <a:extLst>
                  <a:ext uri="{FF2B5EF4-FFF2-40B4-BE49-F238E27FC236}">
                    <a16:creationId xmlns:a16="http://schemas.microsoft.com/office/drawing/2014/main" id="{850E36A0-7759-4486-B25B-C15D1BB99E4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873565" y="6065739"/>
                <a:ext cx="463047" cy="314980"/>
              </a:xfrm>
              <a:custGeom>
                <a:avLst/>
                <a:gdLst>
                  <a:gd name="T0" fmla="*/ 172 w 172"/>
                  <a:gd name="T1" fmla="*/ 117 h 117"/>
                  <a:gd name="T2" fmla="*/ 172 w 172"/>
                  <a:gd name="T3" fmla="*/ 0 h 117"/>
                  <a:gd name="T4" fmla="*/ 86 w 172"/>
                  <a:gd name="T5" fmla="*/ 0 h 117"/>
                  <a:gd name="T6" fmla="*/ 0 w 172"/>
                  <a:gd name="T7" fmla="*/ 0 h 117"/>
                  <a:gd name="T8" fmla="*/ 0 w 172"/>
                  <a:gd name="T9" fmla="*/ 117 h 117"/>
                  <a:gd name="T10" fmla="*/ 86 w 172"/>
                  <a:gd name="T11" fmla="*/ 117 h 117"/>
                  <a:gd name="T12" fmla="*/ 172 w 172"/>
                  <a:gd name="T13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2" h="117">
                    <a:moveTo>
                      <a:pt x="172" y="117"/>
                    </a:moveTo>
                    <a:lnTo>
                      <a:pt x="172" y="0"/>
                    </a:lnTo>
                    <a:lnTo>
                      <a:pt x="86" y="0"/>
                    </a:lnTo>
                    <a:lnTo>
                      <a:pt x="0" y="0"/>
                    </a:lnTo>
                    <a:lnTo>
                      <a:pt x="0" y="117"/>
                    </a:lnTo>
                    <a:lnTo>
                      <a:pt x="86" y="117"/>
                    </a:lnTo>
                    <a:lnTo>
                      <a:pt x="172" y="117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6" name="Rectangle 155">
                <a:extLst>
                  <a:ext uri="{FF2B5EF4-FFF2-40B4-BE49-F238E27FC236}">
                    <a16:creationId xmlns:a16="http://schemas.microsoft.com/office/drawing/2014/main" id="{0CBF7C1B-E083-4B6C-AB09-D5C3E96AC27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97795" y="6079198"/>
                <a:ext cx="414588" cy="250369"/>
              </a:xfrm>
              <a:prstGeom prst="rect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7" name="Freeform 83">
                <a:extLst>
                  <a:ext uri="{FF2B5EF4-FFF2-40B4-BE49-F238E27FC236}">
                    <a16:creationId xmlns:a16="http://schemas.microsoft.com/office/drawing/2014/main" id="{868716F6-EFCD-4D42-A48D-6697FB1B0E0A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624162" y="5271559"/>
                <a:ext cx="1523747" cy="56536"/>
              </a:xfrm>
              <a:custGeom>
                <a:avLst/>
                <a:gdLst>
                  <a:gd name="T0" fmla="*/ 0 w 973"/>
                  <a:gd name="T1" fmla="*/ 0 h 35"/>
                  <a:gd name="T2" fmla="*/ 75 w 973"/>
                  <a:gd name="T3" fmla="*/ 35 h 35"/>
                  <a:gd name="T4" fmla="*/ 897 w 973"/>
                  <a:gd name="T5" fmla="*/ 35 h 35"/>
                  <a:gd name="T6" fmla="*/ 973 w 973"/>
                  <a:gd name="T7" fmla="*/ 0 h 35"/>
                  <a:gd name="T8" fmla="*/ 0 w 973"/>
                  <a:gd name="T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3" h="35">
                    <a:moveTo>
                      <a:pt x="0" y="0"/>
                    </a:moveTo>
                    <a:cubicBezTo>
                      <a:pt x="0" y="3"/>
                      <a:pt x="2" y="35"/>
                      <a:pt x="75" y="35"/>
                    </a:cubicBezTo>
                    <a:cubicBezTo>
                      <a:pt x="897" y="35"/>
                      <a:pt x="897" y="35"/>
                      <a:pt x="897" y="35"/>
                    </a:cubicBezTo>
                    <a:cubicBezTo>
                      <a:pt x="897" y="35"/>
                      <a:pt x="973" y="35"/>
                      <a:pt x="97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8" name="Freeform 84">
                <a:extLst>
                  <a:ext uri="{FF2B5EF4-FFF2-40B4-BE49-F238E27FC236}">
                    <a16:creationId xmlns:a16="http://schemas.microsoft.com/office/drawing/2014/main" id="{21A0B47B-12E6-4639-BB54-D4F3D686273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931065" y="4480072"/>
                <a:ext cx="1012242" cy="756489"/>
              </a:xfrm>
              <a:custGeom>
                <a:avLst/>
                <a:gdLst>
                  <a:gd name="T0" fmla="*/ 60 w 710"/>
                  <a:gd name="T1" fmla="*/ 0 h 515"/>
                  <a:gd name="T2" fmla="*/ 0 w 710"/>
                  <a:gd name="T3" fmla="*/ 60 h 515"/>
                  <a:gd name="T4" fmla="*/ 0 w 710"/>
                  <a:gd name="T5" fmla="*/ 515 h 515"/>
                  <a:gd name="T6" fmla="*/ 60 w 710"/>
                  <a:gd name="T7" fmla="*/ 513 h 515"/>
                  <a:gd name="T8" fmla="*/ 648 w 710"/>
                  <a:gd name="T9" fmla="*/ 513 h 515"/>
                  <a:gd name="T10" fmla="*/ 710 w 710"/>
                  <a:gd name="T11" fmla="*/ 515 h 515"/>
                  <a:gd name="T12" fmla="*/ 710 w 710"/>
                  <a:gd name="T13" fmla="*/ 60 h 515"/>
                  <a:gd name="T14" fmla="*/ 648 w 710"/>
                  <a:gd name="T15" fmla="*/ 0 h 515"/>
                  <a:gd name="T16" fmla="*/ 92 w 710"/>
                  <a:gd name="T17" fmla="*/ 0 h 515"/>
                  <a:gd name="T18" fmla="*/ 60 w 710"/>
                  <a:gd name="T19" fmla="*/ 0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10" h="515">
                    <a:moveTo>
                      <a:pt x="60" y="0"/>
                    </a:moveTo>
                    <a:cubicBezTo>
                      <a:pt x="60" y="0"/>
                      <a:pt x="0" y="0"/>
                      <a:pt x="0" y="60"/>
                    </a:cubicBezTo>
                    <a:cubicBezTo>
                      <a:pt x="0" y="515"/>
                      <a:pt x="0" y="515"/>
                      <a:pt x="0" y="515"/>
                    </a:cubicBezTo>
                    <a:cubicBezTo>
                      <a:pt x="60" y="513"/>
                      <a:pt x="60" y="513"/>
                      <a:pt x="60" y="513"/>
                    </a:cubicBezTo>
                    <a:cubicBezTo>
                      <a:pt x="648" y="513"/>
                      <a:pt x="648" y="513"/>
                      <a:pt x="648" y="513"/>
                    </a:cubicBezTo>
                    <a:cubicBezTo>
                      <a:pt x="710" y="515"/>
                      <a:pt x="710" y="515"/>
                      <a:pt x="710" y="515"/>
                    </a:cubicBezTo>
                    <a:cubicBezTo>
                      <a:pt x="710" y="60"/>
                      <a:pt x="710" y="60"/>
                      <a:pt x="710" y="60"/>
                    </a:cubicBezTo>
                    <a:cubicBezTo>
                      <a:pt x="710" y="60"/>
                      <a:pt x="710" y="0"/>
                      <a:pt x="648" y="0"/>
                    </a:cubicBezTo>
                    <a:cubicBezTo>
                      <a:pt x="92" y="0"/>
                      <a:pt x="92" y="0"/>
                      <a:pt x="92" y="0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159" name="Freeform 85">
                <a:extLst>
                  <a:ext uri="{FF2B5EF4-FFF2-40B4-BE49-F238E27FC236}">
                    <a16:creationId xmlns:a16="http://schemas.microsoft.com/office/drawing/2014/main" id="{D5AF0F13-D186-4983-98BB-A8BE0427225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7016288" y="4545006"/>
                <a:ext cx="854330" cy="670017"/>
              </a:xfrm>
              <a:custGeom>
                <a:avLst/>
                <a:gdLst>
                  <a:gd name="T0" fmla="*/ 55 w 646"/>
                  <a:gd name="T1" fmla="*/ 0 h 466"/>
                  <a:gd name="T2" fmla="*/ 0 w 646"/>
                  <a:gd name="T3" fmla="*/ 55 h 466"/>
                  <a:gd name="T4" fmla="*/ 0 w 646"/>
                  <a:gd name="T5" fmla="*/ 411 h 466"/>
                  <a:gd name="T6" fmla="*/ 55 w 646"/>
                  <a:gd name="T7" fmla="*/ 466 h 466"/>
                  <a:gd name="T8" fmla="*/ 590 w 646"/>
                  <a:gd name="T9" fmla="*/ 466 h 466"/>
                  <a:gd name="T10" fmla="*/ 646 w 646"/>
                  <a:gd name="T11" fmla="*/ 411 h 466"/>
                  <a:gd name="T12" fmla="*/ 646 w 646"/>
                  <a:gd name="T13" fmla="*/ 55 h 466"/>
                  <a:gd name="T14" fmla="*/ 590 w 646"/>
                  <a:gd name="T15" fmla="*/ 0 h 466"/>
                  <a:gd name="T16" fmla="*/ 220 w 646"/>
                  <a:gd name="T17" fmla="*/ 0 h 466"/>
                  <a:gd name="T18" fmla="*/ 55 w 646"/>
                  <a:gd name="T19" fmla="*/ 0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6" h="466">
                    <a:moveTo>
                      <a:pt x="55" y="0"/>
                    </a:moveTo>
                    <a:cubicBezTo>
                      <a:pt x="55" y="0"/>
                      <a:pt x="0" y="0"/>
                      <a:pt x="0" y="55"/>
                    </a:cubicBezTo>
                    <a:cubicBezTo>
                      <a:pt x="0" y="411"/>
                      <a:pt x="0" y="411"/>
                      <a:pt x="0" y="411"/>
                    </a:cubicBezTo>
                    <a:cubicBezTo>
                      <a:pt x="0" y="411"/>
                      <a:pt x="0" y="466"/>
                      <a:pt x="55" y="466"/>
                    </a:cubicBezTo>
                    <a:cubicBezTo>
                      <a:pt x="590" y="466"/>
                      <a:pt x="590" y="466"/>
                      <a:pt x="590" y="466"/>
                    </a:cubicBezTo>
                    <a:cubicBezTo>
                      <a:pt x="590" y="466"/>
                      <a:pt x="646" y="466"/>
                      <a:pt x="646" y="411"/>
                    </a:cubicBezTo>
                    <a:cubicBezTo>
                      <a:pt x="646" y="55"/>
                      <a:pt x="646" y="55"/>
                      <a:pt x="646" y="55"/>
                    </a:cubicBezTo>
                    <a:cubicBezTo>
                      <a:pt x="646" y="55"/>
                      <a:pt x="646" y="0"/>
                      <a:pt x="590" y="0"/>
                    </a:cubicBezTo>
                    <a:cubicBezTo>
                      <a:pt x="220" y="0"/>
                      <a:pt x="220" y="0"/>
                      <a:pt x="220" y="0"/>
                    </a:cubicBezTo>
                    <a:lnTo>
                      <a:pt x="55" y="0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160" name="Freeform 86">
                <a:extLst>
                  <a:ext uri="{FF2B5EF4-FFF2-40B4-BE49-F238E27FC236}">
                    <a16:creationId xmlns:a16="http://schemas.microsoft.com/office/drawing/2014/main" id="{02027BB4-DFF4-4C2F-9B48-BE1D15BEAEE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624162" y="5233869"/>
                <a:ext cx="1523747" cy="37690"/>
              </a:xfrm>
              <a:custGeom>
                <a:avLst/>
                <a:gdLst>
                  <a:gd name="T0" fmla="*/ 76 w 566"/>
                  <a:gd name="T1" fmla="*/ 0 h 14"/>
                  <a:gd name="T2" fmla="*/ 0 w 566"/>
                  <a:gd name="T3" fmla="*/ 14 h 14"/>
                  <a:gd name="T4" fmla="*/ 566 w 566"/>
                  <a:gd name="T5" fmla="*/ 14 h 14"/>
                  <a:gd name="T6" fmla="*/ 490 w 566"/>
                  <a:gd name="T7" fmla="*/ 0 h 14"/>
                  <a:gd name="T8" fmla="*/ 76 w 566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6" h="14">
                    <a:moveTo>
                      <a:pt x="76" y="0"/>
                    </a:moveTo>
                    <a:lnTo>
                      <a:pt x="0" y="14"/>
                    </a:lnTo>
                    <a:lnTo>
                      <a:pt x="566" y="14"/>
                    </a:lnTo>
                    <a:lnTo>
                      <a:pt x="490" y="0"/>
                    </a:lnTo>
                    <a:lnTo>
                      <a:pt x="76" y="0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</p:grpSp>
        <p:pic>
          <p:nvPicPr>
            <p:cNvPr id="84" name="Picture 83">
              <a:extLst>
                <a:ext uri="{FF2B5EF4-FFF2-40B4-BE49-F238E27FC236}">
                  <a16:creationId xmlns:a16="http://schemas.microsoft.com/office/drawing/2014/main" id="{10D8DF18-1227-4F2E-A3FA-A2B1C16209E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6220" y="4568432"/>
              <a:ext cx="736358" cy="613092"/>
            </a:xfrm>
            <a:prstGeom prst="rect">
              <a:avLst/>
            </a:prstGeom>
          </p:spPr>
        </p:pic>
        <p:pic>
          <p:nvPicPr>
            <p:cNvPr id="85" name="Picture 84">
              <a:extLst>
                <a:ext uri="{FF2B5EF4-FFF2-40B4-BE49-F238E27FC236}">
                  <a16:creationId xmlns:a16="http://schemas.microsoft.com/office/drawing/2014/main" id="{3DBD4002-8742-42D1-9A0C-9A369C19E27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36377" y="5038107"/>
              <a:ext cx="604035" cy="502920"/>
            </a:xfrm>
            <a:prstGeom prst="rect">
              <a:avLst/>
            </a:prstGeom>
          </p:spPr>
        </p:pic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1A00F977-BA3B-4835-A326-66DAEBD1DF2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0500" y="6106350"/>
              <a:ext cx="252597" cy="2103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198729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E17ECB1-060F-43F0-9654-A66550FD91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6570">
            <a:off x="7102309" y="3707357"/>
            <a:ext cx="1934004" cy="1286705"/>
          </a:xfrm>
          <a:prstGeom prst="rect">
            <a:avLst/>
          </a:prstGeom>
          <a:scene3d>
            <a:camera prst="perspectiveHeroicExtremeRightFacing" fov="5100000">
              <a:rot lat="20633815" lon="19850160" rev="1082791"/>
            </a:camera>
            <a:lightRig rig="threePt" dir="t"/>
          </a:scene3d>
          <a:sp3d/>
        </p:spPr>
      </p:pic>
    </p:spTree>
    <p:extLst>
      <p:ext uri="{BB962C8B-B14F-4D97-AF65-F5344CB8AC3E}">
        <p14:creationId xmlns:p14="http://schemas.microsoft.com/office/powerpoint/2010/main" val="23893828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" name="Group 80">
            <a:extLst>
              <a:ext uri="{FF2B5EF4-FFF2-40B4-BE49-F238E27FC236}">
                <a16:creationId xmlns:a16="http://schemas.microsoft.com/office/drawing/2014/main" id="{DC352D84-8CD7-48EA-B827-9AC031C743F1}"/>
              </a:ext>
            </a:extLst>
          </p:cNvPr>
          <p:cNvGrpSpPr/>
          <p:nvPr userDrawn="1"/>
        </p:nvGrpSpPr>
        <p:grpSpPr>
          <a:xfrm>
            <a:off x="5468357" y="4139517"/>
            <a:ext cx="6723644" cy="2716134"/>
            <a:chOff x="5789470" y="4224320"/>
            <a:chExt cx="6858467" cy="2770205"/>
          </a:xfrm>
        </p:grpSpPr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FC419209-17EB-4DEA-B74A-CD4441E28F25}"/>
                </a:ext>
              </a:extLst>
            </p:cNvPr>
            <p:cNvGrpSpPr>
              <a:grpSpLocks noChangeAspect="1"/>
            </p:cNvGrpSpPr>
            <p:nvPr userDrawn="1"/>
          </p:nvGrpSpPr>
          <p:grpSpPr bwMode="gray">
            <a:xfrm>
              <a:off x="5789470" y="4224320"/>
              <a:ext cx="6858467" cy="2770205"/>
              <a:chOff x="5788926" y="4224320"/>
              <a:chExt cx="6858467" cy="2770205"/>
            </a:xfrm>
          </p:grpSpPr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77E44E5D-0297-4B27-A57E-1E1448766601}"/>
                  </a:ext>
                </a:extLst>
              </p:cNvPr>
              <p:cNvSpPr/>
              <p:nvPr userDrawn="1"/>
            </p:nvSpPr>
            <p:spPr bwMode="gray">
              <a:xfrm>
                <a:off x="5788926" y="5758835"/>
                <a:ext cx="2577047" cy="1235690"/>
              </a:xfrm>
              <a:custGeom>
                <a:avLst/>
                <a:gdLst>
                  <a:gd name="connsiteX0" fmla="*/ 1214715 w 2577047"/>
                  <a:gd name="connsiteY0" fmla="*/ 0 h 1235690"/>
                  <a:gd name="connsiteX1" fmla="*/ 1914672 w 2577047"/>
                  <a:gd name="connsiteY1" fmla="*/ 468064 h 1235690"/>
                  <a:gd name="connsiteX2" fmla="*/ 2060300 w 2577047"/>
                  <a:gd name="connsiteY2" fmla="*/ 446221 h 1235690"/>
                  <a:gd name="connsiteX3" fmla="*/ 2577047 w 2577047"/>
                  <a:gd name="connsiteY3" fmla="*/ 957972 h 1235690"/>
                  <a:gd name="connsiteX4" fmla="*/ 2495620 w 2577047"/>
                  <a:gd name="connsiteY4" fmla="*/ 1235690 h 1235690"/>
                  <a:gd name="connsiteX5" fmla="*/ 1889591 w 2577047"/>
                  <a:gd name="connsiteY5" fmla="*/ 1235690 h 1235690"/>
                  <a:gd name="connsiteX6" fmla="*/ 1799319 w 2577047"/>
                  <a:gd name="connsiteY6" fmla="*/ 1235690 h 1235690"/>
                  <a:gd name="connsiteX7" fmla="*/ 31390 w 2577047"/>
                  <a:gd name="connsiteY7" fmla="*/ 1235690 h 1235690"/>
                  <a:gd name="connsiteX8" fmla="*/ 9264 w 2577047"/>
                  <a:gd name="connsiteY8" fmla="*/ 1164413 h 1235690"/>
                  <a:gd name="connsiteX9" fmla="*/ 0 w 2577047"/>
                  <a:gd name="connsiteY9" fmla="*/ 1072517 h 1235690"/>
                  <a:gd name="connsiteX10" fmla="*/ 455981 w 2577047"/>
                  <a:gd name="connsiteY10" fmla="*/ 616536 h 1235690"/>
                  <a:gd name="connsiteX11" fmla="*/ 459500 w 2577047"/>
                  <a:gd name="connsiteY11" fmla="*/ 616891 h 1235690"/>
                  <a:gd name="connsiteX12" fmla="*/ 459640 w 2577047"/>
                  <a:gd name="connsiteY12" fmla="*/ 615506 h 1235690"/>
                  <a:gd name="connsiteX13" fmla="*/ 720719 w 2577047"/>
                  <a:gd name="connsiteY13" fmla="*/ 182302 h 1235690"/>
                  <a:gd name="connsiteX14" fmla="*/ 739060 w 2577047"/>
                  <a:gd name="connsiteY14" fmla="*/ 169592 h 1235690"/>
                  <a:gd name="connsiteX15" fmla="*/ 747661 w 2577047"/>
                  <a:gd name="connsiteY15" fmla="*/ 161263 h 1235690"/>
                  <a:gd name="connsiteX16" fmla="*/ 1214715 w 2577047"/>
                  <a:gd name="connsiteY16" fmla="*/ 0 h 123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577047" h="1235690">
                    <a:moveTo>
                      <a:pt x="1214715" y="0"/>
                    </a:moveTo>
                    <a:cubicBezTo>
                      <a:pt x="1532592" y="0"/>
                      <a:pt x="1803493" y="191906"/>
                      <a:pt x="1914672" y="468064"/>
                    </a:cubicBezTo>
                    <a:cubicBezTo>
                      <a:pt x="1961649" y="454022"/>
                      <a:pt x="2010192" y="446221"/>
                      <a:pt x="2060300" y="446221"/>
                    </a:cubicBezTo>
                    <a:cubicBezTo>
                      <a:pt x="2346860" y="446221"/>
                      <a:pt x="2577047" y="675573"/>
                      <a:pt x="2577047" y="957972"/>
                    </a:cubicBezTo>
                    <a:cubicBezTo>
                      <a:pt x="2577047" y="1060946"/>
                      <a:pt x="2547295" y="1156119"/>
                      <a:pt x="2495620" y="1235690"/>
                    </a:cubicBezTo>
                    <a:cubicBezTo>
                      <a:pt x="2495620" y="1235690"/>
                      <a:pt x="2495620" y="1235690"/>
                      <a:pt x="1889591" y="1235690"/>
                    </a:cubicBezTo>
                    <a:lnTo>
                      <a:pt x="1799319" y="1235690"/>
                    </a:lnTo>
                    <a:lnTo>
                      <a:pt x="31390" y="1235690"/>
                    </a:lnTo>
                    <a:lnTo>
                      <a:pt x="9264" y="1164413"/>
                    </a:lnTo>
                    <a:cubicBezTo>
                      <a:pt x="3190" y="1134730"/>
                      <a:pt x="0" y="1103996"/>
                      <a:pt x="0" y="1072517"/>
                    </a:cubicBezTo>
                    <a:cubicBezTo>
                      <a:pt x="0" y="820686"/>
                      <a:pt x="204150" y="616536"/>
                      <a:pt x="455981" y="616536"/>
                    </a:cubicBezTo>
                    <a:lnTo>
                      <a:pt x="459500" y="616891"/>
                    </a:lnTo>
                    <a:lnTo>
                      <a:pt x="459640" y="615506"/>
                    </a:lnTo>
                    <a:cubicBezTo>
                      <a:pt x="495067" y="442379"/>
                      <a:pt x="589371" y="290700"/>
                      <a:pt x="720719" y="182302"/>
                    </a:cubicBezTo>
                    <a:lnTo>
                      <a:pt x="739060" y="169592"/>
                    </a:lnTo>
                    <a:lnTo>
                      <a:pt x="747661" y="161263"/>
                    </a:lnTo>
                    <a:cubicBezTo>
                      <a:pt x="876480" y="60556"/>
                      <a:pt x="1038551" y="0"/>
                      <a:pt x="1214715" y="0"/>
                    </a:cubicBezTo>
                    <a:close/>
                  </a:path>
                </a:pathLst>
              </a:cu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7" name="Freeform 6">
                <a:extLst>
                  <a:ext uri="{FF2B5EF4-FFF2-40B4-BE49-F238E27FC236}">
                    <a16:creationId xmlns:a16="http://schemas.microsoft.com/office/drawing/2014/main" id="{51512E05-962C-42A0-901D-95E142D87A3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422506" y="4305084"/>
                <a:ext cx="2008331" cy="1846803"/>
              </a:xfrm>
              <a:custGeom>
                <a:avLst/>
                <a:gdLst>
                  <a:gd name="T0" fmla="*/ 948 w 1281"/>
                  <a:gd name="T1" fmla="*/ 6 h 1185"/>
                  <a:gd name="T2" fmla="*/ 641 w 1281"/>
                  <a:gd name="T3" fmla="*/ 168 h 1185"/>
                  <a:gd name="T4" fmla="*/ 333 w 1281"/>
                  <a:gd name="T5" fmla="*/ 6 h 1185"/>
                  <a:gd name="T6" fmla="*/ 10 w 1281"/>
                  <a:gd name="T7" fmla="*/ 362 h 1185"/>
                  <a:gd name="T8" fmla="*/ 641 w 1281"/>
                  <a:gd name="T9" fmla="*/ 1185 h 1185"/>
                  <a:gd name="T10" fmla="*/ 641 w 1281"/>
                  <a:gd name="T11" fmla="*/ 1184 h 1185"/>
                  <a:gd name="T12" fmla="*/ 641 w 1281"/>
                  <a:gd name="T13" fmla="*/ 1185 h 1185"/>
                  <a:gd name="T14" fmla="*/ 1272 w 1281"/>
                  <a:gd name="T15" fmla="*/ 361 h 1185"/>
                  <a:gd name="T16" fmla="*/ 948 w 1281"/>
                  <a:gd name="T17" fmla="*/ 6 h 1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81" h="1185">
                    <a:moveTo>
                      <a:pt x="948" y="6"/>
                    </a:moveTo>
                    <a:cubicBezTo>
                      <a:pt x="820" y="0"/>
                      <a:pt x="703" y="65"/>
                      <a:pt x="641" y="168"/>
                    </a:cubicBezTo>
                    <a:cubicBezTo>
                      <a:pt x="578" y="65"/>
                      <a:pt x="461" y="0"/>
                      <a:pt x="333" y="6"/>
                    </a:cubicBezTo>
                    <a:cubicBezTo>
                      <a:pt x="144" y="15"/>
                      <a:pt x="0" y="175"/>
                      <a:pt x="10" y="362"/>
                    </a:cubicBezTo>
                    <a:cubicBezTo>
                      <a:pt x="19" y="548"/>
                      <a:pt x="641" y="1185"/>
                      <a:pt x="641" y="1185"/>
                    </a:cubicBezTo>
                    <a:cubicBezTo>
                      <a:pt x="641" y="1185"/>
                      <a:pt x="641" y="1185"/>
                      <a:pt x="641" y="1184"/>
                    </a:cubicBezTo>
                    <a:cubicBezTo>
                      <a:pt x="641" y="1185"/>
                      <a:pt x="641" y="1185"/>
                      <a:pt x="641" y="1185"/>
                    </a:cubicBezTo>
                    <a:cubicBezTo>
                      <a:pt x="641" y="1185"/>
                      <a:pt x="1263" y="548"/>
                      <a:pt x="1272" y="361"/>
                    </a:cubicBezTo>
                    <a:cubicBezTo>
                      <a:pt x="1281" y="174"/>
                      <a:pt x="1137" y="15"/>
                      <a:pt x="948" y="6"/>
                    </a:cubicBezTo>
                    <a:close/>
                  </a:path>
                </a:pathLst>
              </a:custGeom>
              <a:solidFill>
                <a:srgbClr val="3393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F2562EA-CEF2-4732-830D-610C09CD2DA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601660" y="4515070"/>
                <a:ext cx="573425" cy="1445676"/>
              </a:xfrm>
              <a:prstGeom prst="rect">
                <a:avLst/>
              </a:pr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4A63D61E-8DA2-4729-B640-1794A57491F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640568" y="4224320"/>
                <a:ext cx="576116" cy="1445676"/>
              </a:xfrm>
              <a:prstGeom prst="rect">
                <a:avLst/>
              </a:pr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FCD83D69-47EC-4E75-8BAF-BE394EFC786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771264" y="4698135"/>
                <a:ext cx="573425" cy="1445676"/>
              </a:xfrm>
              <a:prstGeom prst="rect">
                <a:avLst/>
              </a:pr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D903A8FB-D0D0-4ADE-B1D6-4CADEC5D7D8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351291" y="4843510"/>
                <a:ext cx="320365" cy="1397218"/>
              </a:xfrm>
              <a:prstGeom prst="rect">
                <a:avLst/>
              </a:pr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AA8FAD4B-51B6-44EB-BC0B-D5D35F90E8B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505962" y="4708904"/>
                <a:ext cx="309596" cy="1292224"/>
              </a:xfrm>
              <a:prstGeom prst="rect">
                <a:avLst/>
              </a:pr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78432CD-E177-4818-85CE-A0B24D43C1F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780559" y="4576988"/>
                <a:ext cx="570732" cy="1518363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4" name="Freeform 13">
                <a:extLst>
                  <a:ext uri="{FF2B5EF4-FFF2-40B4-BE49-F238E27FC236}">
                    <a16:creationId xmlns:a16="http://schemas.microsoft.com/office/drawing/2014/main" id="{774CBD0A-32A7-4F80-8727-4DDC9B3BD96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4665830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2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2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2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2"/>
                      <a:pt x="286" y="22"/>
                      <a:pt x="286" y="22"/>
                    </a:cubicBezTo>
                    <a:cubicBezTo>
                      <a:pt x="286" y="22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5" name="Freeform 14">
                <a:extLst>
                  <a:ext uri="{FF2B5EF4-FFF2-40B4-BE49-F238E27FC236}">
                    <a16:creationId xmlns:a16="http://schemas.microsoft.com/office/drawing/2014/main" id="{3F2752C7-0E47-424B-9082-BA626C4867E5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4805821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6" name="Freeform 15">
                <a:extLst>
                  <a:ext uri="{FF2B5EF4-FFF2-40B4-BE49-F238E27FC236}">
                    <a16:creationId xmlns:a16="http://schemas.microsoft.com/office/drawing/2014/main" id="{7B0B83B5-C72C-474F-8569-D8A6410516F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4943118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4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4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4"/>
                      <a:pt x="286" y="24"/>
                      <a:pt x="286" y="24"/>
                    </a:cubicBezTo>
                    <a:cubicBezTo>
                      <a:pt x="286" y="24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7" name="Freeform 16">
                <a:extLst>
                  <a:ext uri="{FF2B5EF4-FFF2-40B4-BE49-F238E27FC236}">
                    <a16:creationId xmlns:a16="http://schemas.microsoft.com/office/drawing/2014/main" id="{A68F4AB2-8B3E-4A11-94CC-4A321E8D1EE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080418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8" name="Freeform 17">
                <a:extLst>
                  <a:ext uri="{FF2B5EF4-FFF2-40B4-BE49-F238E27FC236}">
                    <a16:creationId xmlns:a16="http://schemas.microsoft.com/office/drawing/2014/main" id="{7430BBCB-2E72-4DA3-9D75-C28DCC5ADCA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220409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99" name="Freeform 18">
                <a:extLst>
                  <a:ext uri="{FF2B5EF4-FFF2-40B4-BE49-F238E27FC236}">
                    <a16:creationId xmlns:a16="http://schemas.microsoft.com/office/drawing/2014/main" id="{C3AC30AA-3406-4754-B69E-7560A5525A2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357707"/>
                <a:ext cx="446894" cy="78073"/>
              </a:xfrm>
              <a:custGeom>
                <a:avLst/>
                <a:gdLst>
                  <a:gd name="T0" fmla="*/ 24 w 286"/>
                  <a:gd name="T1" fmla="*/ 0 h 51"/>
                  <a:gd name="T2" fmla="*/ 0 w 286"/>
                  <a:gd name="T3" fmla="*/ 24 h 51"/>
                  <a:gd name="T4" fmla="*/ 0 w 286"/>
                  <a:gd name="T5" fmla="*/ 28 h 51"/>
                  <a:gd name="T6" fmla="*/ 24 w 286"/>
                  <a:gd name="T7" fmla="*/ 51 h 51"/>
                  <a:gd name="T8" fmla="*/ 262 w 286"/>
                  <a:gd name="T9" fmla="*/ 51 h 51"/>
                  <a:gd name="T10" fmla="*/ 286 w 286"/>
                  <a:gd name="T11" fmla="*/ 28 h 51"/>
                  <a:gd name="T12" fmla="*/ 286 w 286"/>
                  <a:gd name="T13" fmla="*/ 24 h 51"/>
                  <a:gd name="T14" fmla="*/ 262 w 286"/>
                  <a:gd name="T15" fmla="*/ 0 h 51"/>
                  <a:gd name="T16" fmla="*/ 152 w 286"/>
                  <a:gd name="T17" fmla="*/ 0 h 51"/>
                  <a:gd name="T18" fmla="*/ 24 w 286"/>
                  <a:gd name="T1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1">
                    <a:moveTo>
                      <a:pt x="24" y="0"/>
                    </a:moveTo>
                    <a:cubicBezTo>
                      <a:pt x="24" y="0"/>
                      <a:pt x="0" y="0"/>
                      <a:pt x="0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1"/>
                      <a:pt x="24" y="51"/>
                    </a:cubicBezTo>
                    <a:cubicBezTo>
                      <a:pt x="262" y="51"/>
                      <a:pt x="262" y="51"/>
                      <a:pt x="262" y="51"/>
                    </a:cubicBezTo>
                    <a:cubicBezTo>
                      <a:pt x="262" y="51"/>
                      <a:pt x="286" y="51"/>
                      <a:pt x="286" y="28"/>
                    </a:cubicBezTo>
                    <a:cubicBezTo>
                      <a:pt x="286" y="24"/>
                      <a:pt x="286" y="24"/>
                      <a:pt x="286" y="24"/>
                    </a:cubicBezTo>
                    <a:cubicBezTo>
                      <a:pt x="286" y="24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0" name="Freeform 19">
                <a:extLst>
                  <a:ext uri="{FF2B5EF4-FFF2-40B4-BE49-F238E27FC236}">
                    <a16:creationId xmlns:a16="http://schemas.microsoft.com/office/drawing/2014/main" id="{7DDEEC5C-39B5-4FCB-B56C-AC78A81AC5B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495006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8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8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8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1" name="Freeform 20">
                <a:extLst>
                  <a:ext uri="{FF2B5EF4-FFF2-40B4-BE49-F238E27FC236}">
                    <a16:creationId xmlns:a16="http://schemas.microsoft.com/office/drawing/2014/main" id="{ABB83F7E-7160-49A4-890A-674FD9DD94B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634997"/>
                <a:ext cx="446894" cy="78073"/>
              </a:xfrm>
              <a:custGeom>
                <a:avLst/>
                <a:gdLst>
                  <a:gd name="T0" fmla="*/ 24 w 286"/>
                  <a:gd name="T1" fmla="*/ 0 h 51"/>
                  <a:gd name="T2" fmla="*/ 0 w 286"/>
                  <a:gd name="T3" fmla="*/ 23 h 51"/>
                  <a:gd name="T4" fmla="*/ 0 w 286"/>
                  <a:gd name="T5" fmla="*/ 27 h 51"/>
                  <a:gd name="T6" fmla="*/ 24 w 286"/>
                  <a:gd name="T7" fmla="*/ 51 h 51"/>
                  <a:gd name="T8" fmla="*/ 262 w 286"/>
                  <a:gd name="T9" fmla="*/ 51 h 51"/>
                  <a:gd name="T10" fmla="*/ 286 w 286"/>
                  <a:gd name="T11" fmla="*/ 27 h 51"/>
                  <a:gd name="T12" fmla="*/ 286 w 286"/>
                  <a:gd name="T13" fmla="*/ 23 h 51"/>
                  <a:gd name="T14" fmla="*/ 262 w 286"/>
                  <a:gd name="T15" fmla="*/ 0 h 51"/>
                  <a:gd name="T16" fmla="*/ 152 w 286"/>
                  <a:gd name="T17" fmla="*/ 0 h 51"/>
                  <a:gd name="T18" fmla="*/ 24 w 286"/>
                  <a:gd name="T1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1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1"/>
                      <a:pt x="24" y="51"/>
                    </a:cubicBezTo>
                    <a:cubicBezTo>
                      <a:pt x="262" y="51"/>
                      <a:pt x="262" y="51"/>
                      <a:pt x="262" y="51"/>
                    </a:cubicBezTo>
                    <a:cubicBezTo>
                      <a:pt x="262" y="51"/>
                      <a:pt x="286" y="51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136C9D0E-6010-41BA-91F7-839F437ABAB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4681982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52D67662-75C3-47A1-8909-4C548466198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4821973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7A4D4250-EDA7-4A72-A559-EE2D5C854DA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4959271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8ACC78AF-D0C0-4AE1-8EAA-674CF9B5754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099262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6" name="Freeform 25">
                <a:extLst>
                  <a:ext uri="{FF2B5EF4-FFF2-40B4-BE49-F238E27FC236}">
                    <a16:creationId xmlns:a16="http://schemas.microsoft.com/office/drawing/2014/main" id="{E3757448-C02D-4E65-B17A-CD28BCEB7DC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203225" y="5236562"/>
                <a:ext cx="45767" cy="43074"/>
              </a:xfrm>
              <a:custGeom>
                <a:avLst/>
                <a:gdLst>
                  <a:gd name="T0" fmla="*/ 14 w 28"/>
                  <a:gd name="T1" fmla="*/ 28 h 28"/>
                  <a:gd name="T2" fmla="*/ 28 w 28"/>
                  <a:gd name="T3" fmla="*/ 13 h 28"/>
                  <a:gd name="T4" fmla="*/ 14 w 28"/>
                  <a:gd name="T5" fmla="*/ 0 h 28"/>
                  <a:gd name="T6" fmla="*/ 0 w 28"/>
                  <a:gd name="T7" fmla="*/ 13 h 28"/>
                  <a:gd name="T8" fmla="*/ 14 w 28"/>
                  <a:gd name="T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22" y="28"/>
                      <a:pt x="28" y="21"/>
                      <a:pt x="28" y="13"/>
                    </a:cubicBezTo>
                    <a:cubicBezTo>
                      <a:pt x="28" y="7"/>
                      <a:pt x="22" y="0"/>
                      <a:pt x="14" y="0"/>
                    </a:cubicBezTo>
                    <a:cubicBezTo>
                      <a:pt x="7" y="0"/>
                      <a:pt x="0" y="7"/>
                      <a:pt x="0" y="13"/>
                    </a:cubicBezTo>
                    <a:cubicBezTo>
                      <a:pt x="0" y="21"/>
                      <a:pt x="7" y="28"/>
                      <a:pt x="14" y="28"/>
                    </a:cubicBez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73532E96-C6CE-4B42-9BB3-13B1FD6206E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376553"/>
                <a:ext cx="45767" cy="40383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F4388A6B-570C-42CD-AAFB-6AB27D7F58A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513851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802E4807-C059-4852-9AFF-8E687C28740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653841"/>
                <a:ext cx="45767" cy="40383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0" name="Freeform 29">
                <a:extLst>
                  <a:ext uri="{FF2B5EF4-FFF2-40B4-BE49-F238E27FC236}">
                    <a16:creationId xmlns:a16="http://schemas.microsoft.com/office/drawing/2014/main" id="{6A1CF96C-6C43-4B2A-B6B0-A53C5625198D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772295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2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2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2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2"/>
                      <a:pt x="286" y="22"/>
                      <a:pt x="286" y="22"/>
                    </a:cubicBezTo>
                    <a:cubicBezTo>
                      <a:pt x="286" y="22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A20CB881-23BD-4C69-B83E-41A6B6367A6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791141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5E7E4793-8657-4374-920C-617E3603B66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467054" y="4883892"/>
                <a:ext cx="570732" cy="1337991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3" name="Freeform 32">
                <a:extLst>
                  <a:ext uri="{FF2B5EF4-FFF2-40B4-BE49-F238E27FC236}">
                    <a16:creationId xmlns:a16="http://schemas.microsoft.com/office/drawing/2014/main" id="{63397122-5D8E-4B0B-9B0F-299AF5765F4E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4975424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2 h 50"/>
                  <a:gd name="T4" fmla="*/ 0 w 287"/>
                  <a:gd name="T5" fmla="*/ 27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7 h 50"/>
                  <a:gd name="T12" fmla="*/ 287 w 287"/>
                  <a:gd name="T13" fmla="*/ 22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2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7"/>
                    </a:cubicBezTo>
                    <a:cubicBezTo>
                      <a:pt x="287" y="22"/>
                      <a:pt x="287" y="22"/>
                      <a:pt x="287" y="22"/>
                    </a:cubicBezTo>
                    <a:cubicBezTo>
                      <a:pt x="287" y="22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4" name="Freeform 33">
                <a:extLst>
                  <a:ext uri="{FF2B5EF4-FFF2-40B4-BE49-F238E27FC236}">
                    <a16:creationId xmlns:a16="http://schemas.microsoft.com/office/drawing/2014/main" id="{E8A4EC8D-DDF8-478E-ACB7-6598A575AB29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112724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5" name="Freeform 34">
                <a:extLst>
                  <a:ext uri="{FF2B5EF4-FFF2-40B4-BE49-F238E27FC236}">
                    <a16:creationId xmlns:a16="http://schemas.microsoft.com/office/drawing/2014/main" id="{46882F79-F2A4-4BD5-8657-8CBB5834A9B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252715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2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2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2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2"/>
                      <a:pt x="287" y="22"/>
                      <a:pt x="287" y="22"/>
                    </a:cubicBezTo>
                    <a:cubicBezTo>
                      <a:pt x="287" y="22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6" name="Freeform 35">
                <a:extLst>
                  <a:ext uri="{FF2B5EF4-FFF2-40B4-BE49-F238E27FC236}">
                    <a16:creationId xmlns:a16="http://schemas.microsoft.com/office/drawing/2014/main" id="{1794560F-C1B5-409B-AB00-C0FF121F6DF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390012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2 h 50"/>
                  <a:gd name="T4" fmla="*/ 0 w 287"/>
                  <a:gd name="T5" fmla="*/ 27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7 h 50"/>
                  <a:gd name="T12" fmla="*/ 287 w 287"/>
                  <a:gd name="T13" fmla="*/ 22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2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7"/>
                    </a:cubicBezTo>
                    <a:cubicBezTo>
                      <a:pt x="287" y="22"/>
                      <a:pt x="287" y="22"/>
                      <a:pt x="287" y="22"/>
                    </a:cubicBezTo>
                    <a:cubicBezTo>
                      <a:pt x="287" y="22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7" name="Freeform 36">
                <a:extLst>
                  <a:ext uri="{FF2B5EF4-FFF2-40B4-BE49-F238E27FC236}">
                    <a16:creationId xmlns:a16="http://schemas.microsoft.com/office/drawing/2014/main" id="{61FEC112-C04A-4F59-B583-68F545A2A94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527312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8" name="Freeform 37">
                <a:extLst>
                  <a:ext uri="{FF2B5EF4-FFF2-40B4-BE49-F238E27FC236}">
                    <a16:creationId xmlns:a16="http://schemas.microsoft.com/office/drawing/2014/main" id="{6C6B047B-E455-4653-8FEA-B57D72BE9E0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667303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19" name="Freeform 38">
                <a:extLst>
                  <a:ext uri="{FF2B5EF4-FFF2-40B4-BE49-F238E27FC236}">
                    <a16:creationId xmlns:a16="http://schemas.microsoft.com/office/drawing/2014/main" id="{0871CCB6-0E69-4051-82AF-D408F8E4B84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807294"/>
                <a:ext cx="449587" cy="75380"/>
              </a:xfrm>
              <a:custGeom>
                <a:avLst/>
                <a:gdLst>
                  <a:gd name="T0" fmla="*/ 25 w 287"/>
                  <a:gd name="T1" fmla="*/ 0 h 49"/>
                  <a:gd name="T2" fmla="*/ 0 w 287"/>
                  <a:gd name="T3" fmla="*/ 23 h 49"/>
                  <a:gd name="T4" fmla="*/ 0 w 287"/>
                  <a:gd name="T5" fmla="*/ 27 h 49"/>
                  <a:gd name="T6" fmla="*/ 25 w 287"/>
                  <a:gd name="T7" fmla="*/ 49 h 49"/>
                  <a:gd name="T8" fmla="*/ 262 w 287"/>
                  <a:gd name="T9" fmla="*/ 49 h 49"/>
                  <a:gd name="T10" fmla="*/ 287 w 287"/>
                  <a:gd name="T11" fmla="*/ 27 h 49"/>
                  <a:gd name="T12" fmla="*/ 287 w 287"/>
                  <a:gd name="T13" fmla="*/ 23 h 49"/>
                  <a:gd name="T14" fmla="*/ 262 w 287"/>
                  <a:gd name="T15" fmla="*/ 0 h 49"/>
                  <a:gd name="T16" fmla="*/ 153 w 287"/>
                  <a:gd name="T17" fmla="*/ 0 h 49"/>
                  <a:gd name="T18" fmla="*/ 25 w 287"/>
                  <a:gd name="T1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49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49"/>
                      <a:pt x="25" y="49"/>
                    </a:cubicBezTo>
                    <a:cubicBezTo>
                      <a:pt x="262" y="49"/>
                      <a:pt x="262" y="49"/>
                      <a:pt x="262" y="49"/>
                    </a:cubicBezTo>
                    <a:cubicBezTo>
                      <a:pt x="262" y="49"/>
                      <a:pt x="287" y="49"/>
                      <a:pt x="287" y="27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0" name="Freeform 39">
                <a:extLst>
                  <a:ext uri="{FF2B5EF4-FFF2-40B4-BE49-F238E27FC236}">
                    <a16:creationId xmlns:a16="http://schemas.microsoft.com/office/drawing/2014/main" id="{F8B661D5-7AEF-4DBE-A3C8-83117B648AAA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5941900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4 h 50"/>
                  <a:gd name="T4" fmla="*/ 0 w 287"/>
                  <a:gd name="T5" fmla="*/ 28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8 h 50"/>
                  <a:gd name="T12" fmla="*/ 287 w 287"/>
                  <a:gd name="T13" fmla="*/ 24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8"/>
                    </a:cubicBezTo>
                    <a:cubicBezTo>
                      <a:pt x="287" y="24"/>
                      <a:pt x="287" y="24"/>
                      <a:pt x="287" y="24"/>
                    </a:cubicBezTo>
                    <a:cubicBezTo>
                      <a:pt x="287" y="24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61B2E2CF-9F48-46BE-B4A5-55E082CF025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4991577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8787C3FF-D14C-4BFB-BD4B-441756BB801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131568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BF018551-F9E9-40B1-A008-1BC4E3F44C2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268867"/>
                <a:ext cx="45767" cy="45767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13EE294D-D728-49C1-BAC5-9FB7F002358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406165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24257021-F968-431B-AB01-34B77FB5325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546156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0A1EB780-1805-47D9-8CAA-9EBFAF1D842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683456"/>
                <a:ext cx="45767" cy="45767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1310C791-3B72-4F76-B2CC-18CB0FF3082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823447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9B728B92-55DA-405F-8A4F-685597F3262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5960744"/>
                <a:ext cx="45767" cy="43074"/>
              </a:xfrm>
              <a:prstGeom prst="ellipse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29" name="Freeform 48">
                <a:extLst>
                  <a:ext uri="{FF2B5EF4-FFF2-40B4-BE49-F238E27FC236}">
                    <a16:creationId xmlns:a16="http://schemas.microsoft.com/office/drawing/2014/main" id="{8E0239F7-C910-44D0-B9E3-7A0F96F2DAD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526281" y="6081891"/>
                <a:ext cx="449587" cy="78073"/>
              </a:xfrm>
              <a:custGeom>
                <a:avLst/>
                <a:gdLst>
                  <a:gd name="T0" fmla="*/ 25 w 287"/>
                  <a:gd name="T1" fmla="*/ 0 h 50"/>
                  <a:gd name="T2" fmla="*/ 0 w 287"/>
                  <a:gd name="T3" fmla="*/ 23 h 50"/>
                  <a:gd name="T4" fmla="*/ 0 w 287"/>
                  <a:gd name="T5" fmla="*/ 27 h 50"/>
                  <a:gd name="T6" fmla="*/ 25 w 287"/>
                  <a:gd name="T7" fmla="*/ 50 h 50"/>
                  <a:gd name="T8" fmla="*/ 262 w 287"/>
                  <a:gd name="T9" fmla="*/ 50 h 50"/>
                  <a:gd name="T10" fmla="*/ 287 w 287"/>
                  <a:gd name="T11" fmla="*/ 27 h 50"/>
                  <a:gd name="T12" fmla="*/ 287 w 287"/>
                  <a:gd name="T13" fmla="*/ 23 h 50"/>
                  <a:gd name="T14" fmla="*/ 262 w 287"/>
                  <a:gd name="T15" fmla="*/ 0 h 50"/>
                  <a:gd name="T16" fmla="*/ 153 w 287"/>
                  <a:gd name="T17" fmla="*/ 0 h 50"/>
                  <a:gd name="T18" fmla="*/ 25 w 287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7" h="50">
                    <a:moveTo>
                      <a:pt x="25" y="0"/>
                    </a:moveTo>
                    <a:cubicBezTo>
                      <a:pt x="25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5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7" y="50"/>
                      <a:pt x="287" y="27"/>
                    </a:cubicBezTo>
                    <a:cubicBezTo>
                      <a:pt x="287" y="23"/>
                      <a:pt x="287" y="23"/>
                      <a:pt x="287" y="23"/>
                    </a:cubicBezTo>
                    <a:cubicBezTo>
                      <a:pt x="287" y="23"/>
                      <a:pt x="287" y="0"/>
                      <a:pt x="262" y="0"/>
                    </a:cubicBezTo>
                    <a:cubicBezTo>
                      <a:pt x="153" y="0"/>
                      <a:pt x="153" y="0"/>
                      <a:pt x="153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66AB3FDD-4050-49FF-8E09-41D08BA036D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89718" y="6100735"/>
                <a:ext cx="45767" cy="43074"/>
              </a:xfrm>
              <a:prstGeom prst="ellipse">
                <a:avLst/>
              </a:prstGeom>
              <a:solidFill>
                <a:srgbClr val="FF8C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1" name="Freeform 50">
                <a:extLst>
                  <a:ext uri="{FF2B5EF4-FFF2-40B4-BE49-F238E27FC236}">
                    <a16:creationId xmlns:a16="http://schemas.microsoft.com/office/drawing/2014/main" id="{097A098E-8DE5-4925-8281-BB9E6D5119E0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8842479" y="5909595"/>
                <a:ext cx="446894" cy="78073"/>
              </a:xfrm>
              <a:custGeom>
                <a:avLst/>
                <a:gdLst>
                  <a:gd name="T0" fmla="*/ 24 w 286"/>
                  <a:gd name="T1" fmla="*/ 0 h 50"/>
                  <a:gd name="T2" fmla="*/ 0 w 286"/>
                  <a:gd name="T3" fmla="*/ 23 h 50"/>
                  <a:gd name="T4" fmla="*/ 0 w 286"/>
                  <a:gd name="T5" fmla="*/ 27 h 50"/>
                  <a:gd name="T6" fmla="*/ 24 w 286"/>
                  <a:gd name="T7" fmla="*/ 50 h 50"/>
                  <a:gd name="T8" fmla="*/ 262 w 286"/>
                  <a:gd name="T9" fmla="*/ 50 h 50"/>
                  <a:gd name="T10" fmla="*/ 286 w 286"/>
                  <a:gd name="T11" fmla="*/ 27 h 50"/>
                  <a:gd name="T12" fmla="*/ 286 w 286"/>
                  <a:gd name="T13" fmla="*/ 23 h 50"/>
                  <a:gd name="T14" fmla="*/ 262 w 286"/>
                  <a:gd name="T15" fmla="*/ 0 h 50"/>
                  <a:gd name="T16" fmla="*/ 152 w 286"/>
                  <a:gd name="T17" fmla="*/ 0 h 50"/>
                  <a:gd name="T18" fmla="*/ 24 w 286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6" h="50">
                    <a:moveTo>
                      <a:pt x="24" y="0"/>
                    </a:moveTo>
                    <a:cubicBezTo>
                      <a:pt x="24" y="0"/>
                      <a:pt x="0" y="0"/>
                      <a:pt x="0" y="2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50"/>
                      <a:pt x="24" y="50"/>
                    </a:cubicBezTo>
                    <a:cubicBezTo>
                      <a:pt x="262" y="50"/>
                      <a:pt x="262" y="50"/>
                      <a:pt x="262" y="50"/>
                    </a:cubicBezTo>
                    <a:cubicBezTo>
                      <a:pt x="262" y="50"/>
                      <a:pt x="286" y="50"/>
                      <a:pt x="286" y="27"/>
                    </a:cubicBezTo>
                    <a:cubicBezTo>
                      <a:pt x="286" y="23"/>
                      <a:pt x="286" y="23"/>
                      <a:pt x="286" y="23"/>
                    </a:cubicBezTo>
                    <a:cubicBezTo>
                      <a:pt x="286" y="23"/>
                      <a:pt x="286" y="0"/>
                      <a:pt x="262" y="0"/>
                    </a:cubicBezTo>
                    <a:cubicBezTo>
                      <a:pt x="152" y="0"/>
                      <a:pt x="152" y="0"/>
                      <a:pt x="152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29C881AF-8A73-4B6F-BF45-11A0AEB5EB0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3225" y="5928439"/>
                <a:ext cx="45767" cy="43074"/>
              </a:xfrm>
              <a:prstGeom prst="ellipse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1A9C3FD9-9393-4E51-975A-207F3EE83E4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643261" y="4245857"/>
                <a:ext cx="573425" cy="255753"/>
              </a:xfrm>
              <a:prstGeom prst="rect">
                <a:avLst/>
              </a:pr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4" name="Freeform 53">
                <a:extLst>
                  <a:ext uri="{FF2B5EF4-FFF2-40B4-BE49-F238E27FC236}">
                    <a16:creationId xmlns:a16="http://schemas.microsoft.com/office/drawing/2014/main" id="{392AEE0E-8316-4751-A800-01085D95B95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772739" y="5917670"/>
                <a:ext cx="1243765" cy="621882"/>
              </a:xfrm>
              <a:custGeom>
                <a:avLst/>
                <a:gdLst>
                  <a:gd name="T0" fmla="*/ 763 w 788"/>
                  <a:gd name="T1" fmla="*/ 392 h 392"/>
                  <a:gd name="T2" fmla="*/ 788 w 788"/>
                  <a:gd name="T3" fmla="*/ 304 h 392"/>
                  <a:gd name="T4" fmla="*/ 625 w 788"/>
                  <a:gd name="T5" fmla="*/ 142 h 392"/>
                  <a:gd name="T6" fmla="*/ 580 w 788"/>
                  <a:gd name="T7" fmla="*/ 149 h 392"/>
                  <a:gd name="T8" fmla="*/ 358 w 788"/>
                  <a:gd name="T9" fmla="*/ 0 h 392"/>
                  <a:gd name="T10" fmla="*/ 120 w 788"/>
                  <a:gd name="T11" fmla="*/ 224 h 392"/>
                  <a:gd name="T12" fmla="*/ 0 w 788"/>
                  <a:gd name="T13" fmla="*/ 347 h 392"/>
                  <a:gd name="T14" fmla="*/ 8 w 788"/>
                  <a:gd name="T15" fmla="*/ 392 h 392"/>
                  <a:gd name="T16" fmla="*/ 763 w 788"/>
                  <a:gd name="T17" fmla="*/ 392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88" h="392">
                    <a:moveTo>
                      <a:pt x="763" y="392"/>
                    </a:moveTo>
                    <a:cubicBezTo>
                      <a:pt x="779" y="366"/>
                      <a:pt x="788" y="337"/>
                      <a:pt x="788" y="304"/>
                    </a:cubicBezTo>
                    <a:cubicBezTo>
                      <a:pt x="788" y="214"/>
                      <a:pt x="715" y="142"/>
                      <a:pt x="625" y="142"/>
                    </a:cubicBezTo>
                    <a:cubicBezTo>
                      <a:pt x="609" y="142"/>
                      <a:pt x="594" y="144"/>
                      <a:pt x="580" y="149"/>
                    </a:cubicBezTo>
                    <a:cubicBezTo>
                      <a:pt x="544" y="61"/>
                      <a:pt x="458" y="0"/>
                      <a:pt x="358" y="0"/>
                    </a:cubicBezTo>
                    <a:cubicBezTo>
                      <a:pt x="231" y="0"/>
                      <a:pt x="127" y="99"/>
                      <a:pt x="120" y="224"/>
                    </a:cubicBezTo>
                    <a:cubicBezTo>
                      <a:pt x="53" y="226"/>
                      <a:pt x="0" y="280"/>
                      <a:pt x="0" y="347"/>
                    </a:cubicBezTo>
                    <a:cubicBezTo>
                      <a:pt x="0" y="363"/>
                      <a:pt x="2" y="378"/>
                      <a:pt x="8" y="392"/>
                    </a:cubicBezTo>
                    <a:lnTo>
                      <a:pt x="763" y="392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5" name="Freeform 55">
                <a:extLst>
                  <a:ext uri="{FF2B5EF4-FFF2-40B4-BE49-F238E27FC236}">
                    <a16:creationId xmlns:a16="http://schemas.microsoft.com/office/drawing/2014/main" id="{C6223D5E-7C88-4F18-9CCA-8627949C059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1198092" y="5990359"/>
                <a:ext cx="1449301" cy="697263"/>
              </a:xfrm>
              <a:custGeom>
                <a:avLst/>
                <a:gdLst>
                  <a:gd name="T0" fmla="*/ 790 w 790"/>
                  <a:gd name="T1" fmla="*/ 206 h 414"/>
                  <a:gd name="T2" fmla="*/ 661 w 790"/>
                  <a:gd name="T3" fmla="*/ 149 h 414"/>
                  <a:gd name="T4" fmla="*/ 613 w 790"/>
                  <a:gd name="T5" fmla="*/ 156 h 414"/>
                  <a:gd name="T6" fmla="*/ 379 w 790"/>
                  <a:gd name="T7" fmla="*/ 0 h 414"/>
                  <a:gd name="T8" fmla="*/ 127 w 790"/>
                  <a:gd name="T9" fmla="*/ 236 h 414"/>
                  <a:gd name="T10" fmla="*/ 0 w 790"/>
                  <a:gd name="T11" fmla="*/ 366 h 414"/>
                  <a:gd name="T12" fmla="*/ 9 w 790"/>
                  <a:gd name="T13" fmla="*/ 414 h 414"/>
                  <a:gd name="T14" fmla="*/ 790 w 790"/>
                  <a:gd name="T15" fmla="*/ 414 h 414"/>
                  <a:gd name="T16" fmla="*/ 790 w 790"/>
                  <a:gd name="T17" fmla="*/ 206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0" h="414">
                    <a:moveTo>
                      <a:pt x="790" y="206"/>
                    </a:moveTo>
                    <a:cubicBezTo>
                      <a:pt x="758" y="172"/>
                      <a:pt x="713" y="149"/>
                      <a:pt x="661" y="149"/>
                    </a:cubicBezTo>
                    <a:cubicBezTo>
                      <a:pt x="644" y="149"/>
                      <a:pt x="628" y="152"/>
                      <a:pt x="613" y="156"/>
                    </a:cubicBezTo>
                    <a:cubicBezTo>
                      <a:pt x="576" y="64"/>
                      <a:pt x="484" y="0"/>
                      <a:pt x="379" y="0"/>
                    </a:cubicBezTo>
                    <a:cubicBezTo>
                      <a:pt x="245" y="0"/>
                      <a:pt x="135" y="104"/>
                      <a:pt x="127" y="236"/>
                    </a:cubicBezTo>
                    <a:cubicBezTo>
                      <a:pt x="56" y="238"/>
                      <a:pt x="0" y="295"/>
                      <a:pt x="0" y="366"/>
                    </a:cubicBezTo>
                    <a:cubicBezTo>
                      <a:pt x="0" y="383"/>
                      <a:pt x="3" y="399"/>
                      <a:pt x="9" y="414"/>
                    </a:cubicBezTo>
                    <a:cubicBezTo>
                      <a:pt x="790" y="414"/>
                      <a:pt x="790" y="414"/>
                      <a:pt x="790" y="414"/>
                    </a:cubicBezTo>
                    <a:lnTo>
                      <a:pt x="790" y="206"/>
                    </a:lnTo>
                    <a:close/>
                  </a:path>
                </a:pathLst>
              </a:custGeom>
              <a:ln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6" name="Freeform 59">
                <a:extLst>
                  <a:ext uri="{FF2B5EF4-FFF2-40B4-BE49-F238E27FC236}">
                    <a16:creationId xmlns:a16="http://schemas.microsoft.com/office/drawing/2014/main" id="{F860C23C-A04A-445F-83E8-F78400408E5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1682678" y="5328094"/>
                <a:ext cx="309596" cy="441510"/>
              </a:xfrm>
              <a:custGeom>
                <a:avLst/>
                <a:gdLst>
                  <a:gd name="T0" fmla="*/ 198 w 198"/>
                  <a:gd name="T1" fmla="*/ 202 h 283"/>
                  <a:gd name="T2" fmla="*/ 198 w 198"/>
                  <a:gd name="T3" fmla="*/ 0 h 283"/>
                  <a:gd name="T4" fmla="*/ 177 w 198"/>
                  <a:gd name="T5" fmla="*/ 6 h 283"/>
                  <a:gd name="T6" fmla="*/ 177 w 198"/>
                  <a:gd name="T7" fmla="*/ 230 h 283"/>
                  <a:gd name="T8" fmla="*/ 0 w 198"/>
                  <a:gd name="T9" fmla="*/ 230 h 283"/>
                  <a:gd name="T10" fmla="*/ 26 w 198"/>
                  <a:gd name="T11" fmla="*/ 246 h 283"/>
                  <a:gd name="T12" fmla="*/ 26 w 198"/>
                  <a:gd name="T13" fmla="*/ 283 h 283"/>
                  <a:gd name="T14" fmla="*/ 171 w 198"/>
                  <a:gd name="T15" fmla="*/ 283 h 283"/>
                  <a:gd name="T16" fmla="*/ 171 w 198"/>
                  <a:gd name="T17" fmla="*/ 246 h 283"/>
                  <a:gd name="T18" fmla="*/ 198 w 198"/>
                  <a:gd name="T19" fmla="*/ 202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8" h="283">
                    <a:moveTo>
                      <a:pt x="198" y="202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0" y="0"/>
                      <a:pt x="183" y="3"/>
                      <a:pt x="177" y="6"/>
                    </a:cubicBezTo>
                    <a:cubicBezTo>
                      <a:pt x="177" y="230"/>
                      <a:pt x="177" y="230"/>
                      <a:pt x="177" y="230"/>
                    </a:cubicBezTo>
                    <a:cubicBezTo>
                      <a:pt x="0" y="230"/>
                      <a:pt x="0" y="230"/>
                      <a:pt x="0" y="230"/>
                    </a:cubicBezTo>
                    <a:cubicBezTo>
                      <a:pt x="6" y="239"/>
                      <a:pt x="15" y="244"/>
                      <a:pt x="26" y="246"/>
                    </a:cubicBezTo>
                    <a:cubicBezTo>
                      <a:pt x="26" y="283"/>
                      <a:pt x="26" y="283"/>
                      <a:pt x="26" y="283"/>
                    </a:cubicBezTo>
                    <a:cubicBezTo>
                      <a:pt x="171" y="283"/>
                      <a:pt x="171" y="283"/>
                      <a:pt x="171" y="283"/>
                    </a:cubicBezTo>
                    <a:cubicBezTo>
                      <a:pt x="171" y="246"/>
                      <a:pt x="171" y="246"/>
                      <a:pt x="171" y="246"/>
                    </a:cubicBezTo>
                    <a:lnTo>
                      <a:pt x="198" y="202"/>
                    </a:lnTo>
                    <a:close/>
                  </a:path>
                </a:pathLst>
              </a:custGeom>
              <a:solidFill>
                <a:srgbClr val="613D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7" name="Freeform 60">
                <a:extLst>
                  <a:ext uri="{FF2B5EF4-FFF2-40B4-BE49-F238E27FC236}">
                    <a16:creationId xmlns:a16="http://schemas.microsoft.com/office/drawing/2014/main" id="{B7454937-F226-4127-86E9-B8289E7CEE1E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1704215" y="5815369"/>
                <a:ext cx="263829" cy="419973"/>
              </a:xfrm>
              <a:custGeom>
                <a:avLst/>
                <a:gdLst>
                  <a:gd name="T0" fmla="*/ 167 w 167"/>
                  <a:gd name="T1" fmla="*/ 270 h 270"/>
                  <a:gd name="T2" fmla="*/ 167 w 167"/>
                  <a:gd name="T3" fmla="*/ 0 h 270"/>
                  <a:gd name="T4" fmla="*/ 0 w 167"/>
                  <a:gd name="T5" fmla="*/ 0 h 270"/>
                  <a:gd name="T6" fmla="*/ 0 w 167"/>
                  <a:gd name="T7" fmla="*/ 203 h 270"/>
                  <a:gd name="T8" fmla="*/ 18 w 167"/>
                  <a:gd name="T9" fmla="*/ 202 h 270"/>
                  <a:gd name="T10" fmla="*/ 167 w 167"/>
                  <a:gd name="T11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7" h="270">
                    <a:moveTo>
                      <a:pt x="167" y="27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03"/>
                      <a:pt x="0" y="203"/>
                      <a:pt x="0" y="203"/>
                    </a:cubicBezTo>
                    <a:cubicBezTo>
                      <a:pt x="6" y="203"/>
                      <a:pt x="12" y="202"/>
                      <a:pt x="18" y="202"/>
                    </a:cubicBezTo>
                    <a:cubicBezTo>
                      <a:pt x="77" y="202"/>
                      <a:pt x="131" y="229"/>
                      <a:pt x="167" y="270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2B04A57B-C1AD-4866-A091-F41D5C5D53D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1712292" y="5769604"/>
                <a:ext cx="247676" cy="4576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39" name="Freeform 62">
                <a:extLst>
                  <a:ext uri="{FF2B5EF4-FFF2-40B4-BE49-F238E27FC236}">
                    <a16:creationId xmlns:a16="http://schemas.microsoft.com/office/drawing/2014/main" id="{66CA1506-2828-498B-BDCF-5EECF74F6B0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698577" y="6491095"/>
                <a:ext cx="1017626" cy="503430"/>
              </a:xfrm>
              <a:custGeom>
                <a:avLst/>
                <a:gdLst>
                  <a:gd name="T0" fmla="*/ 628 w 650"/>
                  <a:gd name="T1" fmla="*/ 323 h 323"/>
                  <a:gd name="T2" fmla="*/ 650 w 650"/>
                  <a:gd name="T3" fmla="*/ 251 h 323"/>
                  <a:gd name="T4" fmla="*/ 515 w 650"/>
                  <a:gd name="T5" fmla="*/ 117 h 323"/>
                  <a:gd name="T6" fmla="*/ 477 w 650"/>
                  <a:gd name="T7" fmla="*/ 122 h 323"/>
                  <a:gd name="T8" fmla="*/ 295 w 650"/>
                  <a:gd name="T9" fmla="*/ 0 h 323"/>
                  <a:gd name="T10" fmla="*/ 99 w 650"/>
                  <a:gd name="T11" fmla="*/ 184 h 323"/>
                  <a:gd name="T12" fmla="*/ 0 w 650"/>
                  <a:gd name="T13" fmla="*/ 285 h 323"/>
                  <a:gd name="T14" fmla="*/ 7 w 650"/>
                  <a:gd name="T15" fmla="*/ 323 h 323"/>
                  <a:gd name="T16" fmla="*/ 628 w 650"/>
                  <a:gd name="T17" fmla="*/ 323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0" h="323">
                    <a:moveTo>
                      <a:pt x="628" y="323"/>
                    </a:moveTo>
                    <a:cubicBezTo>
                      <a:pt x="642" y="302"/>
                      <a:pt x="650" y="277"/>
                      <a:pt x="650" y="251"/>
                    </a:cubicBezTo>
                    <a:cubicBezTo>
                      <a:pt x="650" y="176"/>
                      <a:pt x="589" y="117"/>
                      <a:pt x="515" y="117"/>
                    </a:cubicBezTo>
                    <a:cubicBezTo>
                      <a:pt x="502" y="117"/>
                      <a:pt x="489" y="119"/>
                      <a:pt x="477" y="122"/>
                    </a:cubicBezTo>
                    <a:cubicBezTo>
                      <a:pt x="448" y="50"/>
                      <a:pt x="377" y="0"/>
                      <a:pt x="295" y="0"/>
                    </a:cubicBezTo>
                    <a:cubicBezTo>
                      <a:pt x="191" y="0"/>
                      <a:pt x="105" y="81"/>
                      <a:pt x="99" y="184"/>
                    </a:cubicBezTo>
                    <a:cubicBezTo>
                      <a:pt x="44" y="185"/>
                      <a:pt x="0" y="230"/>
                      <a:pt x="0" y="285"/>
                    </a:cubicBezTo>
                    <a:cubicBezTo>
                      <a:pt x="0" y="298"/>
                      <a:pt x="1" y="311"/>
                      <a:pt x="7" y="323"/>
                    </a:cubicBezTo>
                    <a:lnTo>
                      <a:pt x="628" y="323"/>
                    </a:lnTo>
                    <a:close/>
                  </a:path>
                </a:pathLst>
              </a:custGeom>
              <a:ln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0" name="Rectangle 139">
                <a:extLst>
                  <a:ext uri="{FF2B5EF4-FFF2-40B4-BE49-F238E27FC236}">
                    <a16:creationId xmlns:a16="http://schemas.microsoft.com/office/drawing/2014/main" id="{F3CD89B5-1060-427B-8A4A-62EB7E0FD07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0840041" y="5481545"/>
                <a:ext cx="43074" cy="91532"/>
              </a:xfrm>
              <a:prstGeom prst="rect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1" name="Freeform 64">
                <a:extLst>
                  <a:ext uri="{FF2B5EF4-FFF2-40B4-BE49-F238E27FC236}">
                    <a16:creationId xmlns:a16="http://schemas.microsoft.com/office/drawing/2014/main" id="{7AEE98D0-B305-47FA-9C23-85459E3402A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852992" y="5328094"/>
                <a:ext cx="729569" cy="231523"/>
              </a:xfrm>
              <a:custGeom>
                <a:avLst/>
                <a:gdLst>
                  <a:gd name="T0" fmla="*/ 271 w 271"/>
                  <a:gd name="T1" fmla="*/ 0 h 86"/>
                  <a:gd name="T2" fmla="*/ 0 w 271"/>
                  <a:gd name="T3" fmla="*/ 0 h 86"/>
                  <a:gd name="T4" fmla="*/ 17 w 271"/>
                  <a:gd name="T5" fmla="*/ 11 h 86"/>
                  <a:gd name="T6" fmla="*/ 132 w 271"/>
                  <a:gd name="T7" fmla="*/ 48 h 86"/>
                  <a:gd name="T8" fmla="*/ 133 w 271"/>
                  <a:gd name="T9" fmla="*/ 86 h 86"/>
                  <a:gd name="T10" fmla="*/ 240 w 271"/>
                  <a:gd name="T11" fmla="*/ 86 h 86"/>
                  <a:gd name="T12" fmla="*/ 240 w 271"/>
                  <a:gd name="T13" fmla="*/ 21 h 86"/>
                  <a:gd name="T14" fmla="*/ 271 w 271"/>
                  <a:gd name="T15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1" h="86">
                    <a:moveTo>
                      <a:pt x="271" y="0"/>
                    </a:moveTo>
                    <a:lnTo>
                      <a:pt x="0" y="0"/>
                    </a:lnTo>
                    <a:lnTo>
                      <a:pt x="17" y="11"/>
                    </a:lnTo>
                    <a:lnTo>
                      <a:pt x="132" y="48"/>
                    </a:lnTo>
                    <a:lnTo>
                      <a:pt x="133" y="86"/>
                    </a:lnTo>
                    <a:lnTo>
                      <a:pt x="240" y="86"/>
                    </a:lnTo>
                    <a:lnTo>
                      <a:pt x="240" y="21"/>
                    </a:lnTo>
                    <a:lnTo>
                      <a:pt x="271" y="0"/>
                    </a:lnTo>
                    <a:close/>
                  </a:path>
                </a:pathLst>
              </a:custGeom>
              <a:solidFill>
                <a:srgbClr val="BB91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2" name="Freeform 65">
                <a:extLst>
                  <a:ext uri="{FF2B5EF4-FFF2-40B4-BE49-F238E27FC236}">
                    <a16:creationId xmlns:a16="http://schemas.microsoft.com/office/drawing/2014/main" id="{13BFA771-D7F1-4FE5-9FEE-D1FF9CA2114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7192201" y="5621536"/>
                <a:ext cx="328440" cy="508814"/>
              </a:xfrm>
              <a:custGeom>
                <a:avLst/>
                <a:gdLst>
                  <a:gd name="T0" fmla="*/ 209 w 209"/>
                  <a:gd name="T1" fmla="*/ 327 h 327"/>
                  <a:gd name="T2" fmla="*/ 209 w 209"/>
                  <a:gd name="T3" fmla="*/ 0 h 327"/>
                  <a:gd name="T4" fmla="*/ 0 w 209"/>
                  <a:gd name="T5" fmla="*/ 0 h 327"/>
                  <a:gd name="T6" fmla="*/ 0 w 209"/>
                  <a:gd name="T7" fmla="*/ 242 h 327"/>
                  <a:gd name="T8" fmla="*/ 209 w 209"/>
                  <a:gd name="T9" fmla="*/ 327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9" h="327">
                    <a:moveTo>
                      <a:pt x="209" y="327"/>
                    </a:moveTo>
                    <a:cubicBezTo>
                      <a:pt x="209" y="0"/>
                      <a:pt x="209" y="0"/>
                      <a:pt x="20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81" y="245"/>
                      <a:pt x="153" y="277"/>
                      <a:pt x="209" y="327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3" name="Rectangle 142">
                <a:extLst>
                  <a:ext uri="{FF2B5EF4-FFF2-40B4-BE49-F238E27FC236}">
                    <a16:creationId xmlns:a16="http://schemas.microsoft.com/office/drawing/2014/main" id="{FE61A8F6-C4FC-4175-BE3E-B7E5DB20229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7202970" y="5559618"/>
                <a:ext cx="306903" cy="6192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4" name="Rectangle 143">
                <a:extLst>
                  <a:ext uri="{FF2B5EF4-FFF2-40B4-BE49-F238E27FC236}">
                    <a16:creationId xmlns:a16="http://schemas.microsoft.com/office/drawing/2014/main" id="{0090C396-50A8-4958-8A95-4BD87042FF7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7943307" y="5048112"/>
                <a:ext cx="43074" cy="91532"/>
              </a:xfrm>
              <a:prstGeom prst="rect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5" name="Freeform 68">
                <a:extLst>
                  <a:ext uri="{FF2B5EF4-FFF2-40B4-BE49-F238E27FC236}">
                    <a16:creationId xmlns:a16="http://schemas.microsoft.com/office/drawing/2014/main" id="{EF081CBD-51F1-42B6-8CC8-B79B29EE3A90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7940614" y="5088494"/>
                <a:ext cx="1289532" cy="454971"/>
              </a:xfrm>
              <a:custGeom>
                <a:avLst/>
                <a:gdLst>
                  <a:gd name="T0" fmla="*/ 479 w 479"/>
                  <a:gd name="T1" fmla="*/ 169 h 169"/>
                  <a:gd name="T2" fmla="*/ 163 w 479"/>
                  <a:gd name="T3" fmla="*/ 169 h 169"/>
                  <a:gd name="T4" fmla="*/ 163 w 479"/>
                  <a:gd name="T5" fmla="*/ 5 h 169"/>
                  <a:gd name="T6" fmla="*/ 0 w 479"/>
                  <a:gd name="T7" fmla="*/ 5 h 169"/>
                  <a:gd name="T8" fmla="*/ 0 w 479"/>
                  <a:gd name="T9" fmla="*/ 0 h 169"/>
                  <a:gd name="T10" fmla="*/ 169 w 479"/>
                  <a:gd name="T11" fmla="*/ 0 h 169"/>
                  <a:gd name="T12" fmla="*/ 169 w 479"/>
                  <a:gd name="T13" fmla="*/ 165 h 169"/>
                  <a:gd name="T14" fmla="*/ 479 w 479"/>
                  <a:gd name="T15" fmla="*/ 165 h 169"/>
                  <a:gd name="T16" fmla="*/ 479 w 479"/>
                  <a:gd name="T17" fmla="*/ 169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9" h="169">
                    <a:moveTo>
                      <a:pt x="479" y="169"/>
                    </a:moveTo>
                    <a:lnTo>
                      <a:pt x="163" y="169"/>
                    </a:lnTo>
                    <a:lnTo>
                      <a:pt x="163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169" y="0"/>
                    </a:lnTo>
                    <a:lnTo>
                      <a:pt x="169" y="165"/>
                    </a:lnTo>
                    <a:lnTo>
                      <a:pt x="479" y="165"/>
                    </a:lnTo>
                    <a:lnTo>
                      <a:pt x="479" y="169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6" name="Freeform 69">
                <a:extLst>
                  <a:ext uri="{FF2B5EF4-FFF2-40B4-BE49-F238E27FC236}">
                    <a16:creationId xmlns:a16="http://schemas.microsoft.com/office/drawing/2014/main" id="{9D93D0F1-147A-4C24-86BF-7E39EE2B409F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215467" y="6227266"/>
                <a:ext cx="134607" cy="188449"/>
              </a:xfrm>
              <a:custGeom>
                <a:avLst/>
                <a:gdLst>
                  <a:gd name="T0" fmla="*/ 85 w 85"/>
                  <a:gd name="T1" fmla="*/ 86 h 121"/>
                  <a:gd name="T2" fmla="*/ 85 w 85"/>
                  <a:gd name="T3" fmla="*/ 0 h 121"/>
                  <a:gd name="T4" fmla="*/ 77 w 85"/>
                  <a:gd name="T5" fmla="*/ 2 h 121"/>
                  <a:gd name="T6" fmla="*/ 77 w 85"/>
                  <a:gd name="T7" fmla="*/ 98 h 121"/>
                  <a:gd name="T8" fmla="*/ 0 w 85"/>
                  <a:gd name="T9" fmla="*/ 98 h 121"/>
                  <a:gd name="T10" fmla="*/ 11 w 85"/>
                  <a:gd name="T11" fmla="*/ 105 h 121"/>
                  <a:gd name="T12" fmla="*/ 11 w 85"/>
                  <a:gd name="T13" fmla="*/ 121 h 121"/>
                  <a:gd name="T14" fmla="*/ 73 w 85"/>
                  <a:gd name="T15" fmla="*/ 121 h 121"/>
                  <a:gd name="T16" fmla="*/ 73 w 85"/>
                  <a:gd name="T17" fmla="*/ 105 h 121"/>
                  <a:gd name="T18" fmla="*/ 85 w 85"/>
                  <a:gd name="T19" fmla="*/ 86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5" h="121">
                    <a:moveTo>
                      <a:pt x="85" y="86"/>
                    </a:moveTo>
                    <a:cubicBezTo>
                      <a:pt x="85" y="0"/>
                      <a:pt x="85" y="0"/>
                      <a:pt x="85" y="0"/>
                    </a:cubicBezTo>
                    <a:cubicBezTo>
                      <a:pt x="82" y="0"/>
                      <a:pt x="79" y="1"/>
                      <a:pt x="77" y="2"/>
                    </a:cubicBezTo>
                    <a:cubicBezTo>
                      <a:pt x="77" y="98"/>
                      <a:pt x="77" y="98"/>
                      <a:pt x="77" y="98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3" y="102"/>
                      <a:pt x="7" y="104"/>
                      <a:pt x="11" y="105"/>
                    </a:cubicBezTo>
                    <a:cubicBezTo>
                      <a:pt x="11" y="121"/>
                      <a:pt x="11" y="121"/>
                      <a:pt x="11" y="121"/>
                    </a:cubicBezTo>
                    <a:cubicBezTo>
                      <a:pt x="73" y="121"/>
                      <a:pt x="73" y="121"/>
                      <a:pt x="73" y="121"/>
                    </a:cubicBezTo>
                    <a:cubicBezTo>
                      <a:pt x="73" y="105"/>
                      <a:pt x="73" y="105"/>
                      <a:pt x="73" y="105"/>
                    </a:cubicBezTo>
                    <a:lnTo>
                      <a:pt x="85" y="86"/>
                    </a:lnTo>
                    <a:close/>
                  </a:path>
                </a:pathLst>
              </a:custGeom>
              <a:solidFill>
                <a:srgbClr val="CE9C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7" name="Freeform 70">
                <a:extLst>
                  <a:ext uri="{FF2B5EF4-FFF2-40B4-BE49-F238E27FC236}">
                    <a16:creationId xmlns:a16="http://schemas.microsoft.com/office/drawing/2014/main" id="{A46F88DD-DC58-4980-B110-0F31DFDA749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228926" y="6437253"/>
                <a:ext cx="110378" cy="250369"/>
              </a:xfrm>
              <a:custGeom>
                <a:avLst/>
                <a:gdLst>
                  <a:gd name="T0" fmla="*/ 72 w 72"/>
                  <a:gd name="T1" fmla="*/ 160 h 160"/>
                  <a:gd name="T2" fmla="*/ 72 w 72"/>
                  <a:gd name="T3" fmla="*/ 0 h 160"/>
                  <a:gd name="T4" fmla="*/ 0 w 72"/>
                  <a:gd name="T5" fmla="*/ 0 h 160"/>
                  <a:gd name="T6" fmla="*/ 0 w 72"/>
                  <a:gd name="T7" fmla="*/ 119 h 160"/>
                  <a:gd name="T8" fmla="*/ 72 w 72"/>
                  <a:gd name="T9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60">
                    <a:moveTo>
                      <a:pt x="72" y="160"/>
                    </a:moveTo>
                    <a:cubicBezTo>
                      <a:pt x="72" y="0"/>
                      <a:pt x="72" y="0"/>
                      <a:pt x="7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27" y="126"/>
                      <a:pt x="52" y="140"/>
                      <a:pt x="72" y="160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8" name="Rectangle 147">
                <a:extLst>
                  <a:ext uri="{FF2B5EF4-FFF2-40B4-BE49-F238E27FC236}">
                    <a16:creationId xmlns:a16="http://schemas.microsoft.com/office/drawing/2014/main" id="{57791E67-03D9-4553-BC26-3015B6C7405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0231619" y="6415716"/>
                <a:ext cx="104994" cy="2153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49" name="Freeform 72">
                <a:extLst>
                  <a:ext uri="{FF2B5EF4-FFF2-40B4-BE49-F238E27FC236}">
                    <a16:creationId xmlns:a16="http://schemas.microsoft.com/office/drawing/2014/main" id="{58274EBA-DE25-4623-B657-78E6E62FE0B7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916639" y="5287711"/>
                <a:ext cx="923402" cy="247676"/>
              </a:xfrm>
              <a:custGeom>
                <a:avLst/>
                <a:gdLst>
                  <a:gd name="T0" fmla="*/ 343 w 343"/>
                  <a:gd name="T1" fmla="*/ 92 h 92"/>
                  <a:gd name="T2" fmla="*/ 196 w 343"/>
                  <a:gd name="T3" fmla="*/ 92 h 92"/>
                  <a:gd name="T4" fmla="*/ 196 w 343"/>
                  <a:gd name="T5" fmla="*/ 5 h 92"/>
                  <a:gd name="T6" fmla="*/ 0 w 343"/>
                  <a:gd name="T7" fmla="*/ 5 h 92"/>
                  <a:gd name="T8" fmla="*/ 0 w 343"/>
                  <a:gd name="T9" fmla="*/ 0 h 92"/>
                  <a:gd name="T10" fmla="*/ 201 w 343"/>
                  <a:gd name="T11" fmla="*/ 0 h 92"/>
                  <a:gd name="T12" fmla="*/ 201 w 343"/>
                  <a:gd name="T13" fmla="*/ 87 h 92"/>
                  <a:gd name="T14" fmla="*/ 343 w 343"/>
                  <a:gd name="T15" fmla="*/ 87 h 92"/>
                  <a:gd name="T16" fmla="*/ 343 w 343"/>
                  <a:gd name="T17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3" h="92">
                    <a:moveTo>
                      <a:pt x="343" y="92"/>
                    </a:moveTo>
                    <a:lnTo>
                      <a:pt x="196" y="92"/>
                    </a:lnTo>
                    <a:lnTo>
                      <a:pt x="196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201" y="0"/>
                    </a:lnTo>
                    <a:lnTo>
                      <a:pt x="201" y="87"/>
                    </a:lnTo>
                    <a:lnTo>
                      <a:pt x="343" y="87"/>
                    </a:lnTo>
                    <a:lnTo>
                      <a:pt x="343" y="92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0" name="Freeform 73">
                <a:extLst>
                  <a:ext uri="{FF2B5EF4-FFF2-40B4-BE49-F238E27FC236}">
                    <a16:creationId xmlns:a16="http://schemas.microsoft.com/office/drawing/2014/main" id="{DEB9FE36-FA08-4FB3-A49D-6F7B57AEC15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623198" y="5565002"/>
                <a:ext cx="282675" cy="743029"/>
              </a:xfrm>
              <a:custGeom>
                <a:avLst/>
                <a:gdLst>
                  <a:gd name="T0" fmla="*/ 93 w 105"/>
                  <a:gd name="T1" fmla="*/ 276 h 276"/>
                  <a:gd name="T2" fmla="*/ 0 w 105"/>
                  <a:gd name="T3" fmla="*/ 276 h 276"/>
                  <a:gd name="T4" fmla="*/ 0 w 105"/>
                  <a:gd name="T5" fmla="*/ 0 h 276"/>
                  <a:gd name="T6" fmla="*/ 105 w 105"/>
                  <a:gd name="T7" fmla="*/ 0 h 276"/>
                  <a:gd name="T8" fmla="*/ 105 w 105"/>
                  <a:gd name="T9" fmla="*/ 6 h 276"/>
                  <a:gd name="T10" fmla="*/ 6 w 105"/>
                  <a:gd name="T11" fmla="*/ 6 h 276"/>
                  <a:gd name="T12" fmla="*/ 6 w 105"/>
                  <a:gd name="T13" fmla="*/ 271 h 276"/>
                  <a:gd name="T14" fmla="*/ 93 w 105"/>
                  <a:gd name="T15" fmla="*/ 271 h 276"/>
                  <a:gd name="T16" fmla="*/ 93 w 105"/>
                  <a:gd name="T17" fmla="*/ 276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5" h="276">
                    <a:moveTo>
                      <a:pt x="93" y="276"/>
                    </a:moveTo>
                    <a:lnTo>
                      <a:pt x="0" y="276"/>
                    </a:lnTo>
                    <a:lnTo>
                      <a:pt x="0" y="0"/>
                    </a:lnTo>
                    <a:lnTo>
                      <a:pt x="105" y="0"/>
                    </a:lnTo>
                    <a:lnTo>
                      <a:pt x="105" y="6"/>
                    </a:lnTo>
                    <a:lnTo>
                      <a:pt x="6" y="6"/>
                    </a:lnTo>
                    <a:lnTo>
                      <a:pt x="6" y="271"/>
                    </a:lnTo>
                    <a:lnTo>
                      <a:pt x="93" y="271"/>
                    </a:lnTo>
                    <a:lnTo>
                      <a:pt x="93" y="276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1" name="Rectangle 150">
                <a:extLst>
                  <a:ext uri="{FF2B5EF4-FFF2-40B4-BE49-F238E27FC236}">
                    <a16:creationId xmlns:a16="http://schemas.microsoft.com/office/drawing/2014/main" id="{3F3B70EC-4488-476B-8434-424F19C9FAA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46644" y="6273032"/>
                <a:ext cx="26921" cy="56536"/>
              </a:xfrm>
              <a:prstGeom prst="rect">
                <a:avLst/>
              </a:prstGeom>
              <a:solidFill>
                <a:srgbClr val="FF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2" name="Freeform 75">
                <a:extLst>
                  <a:ext uri="{FF2B5EF4-FFF2-40B4-BE49-F238E27FC236}">
                    <a16:creationId xmlns:a16="http://schemas.microsoft.com/office/drawing/2014/main" id="{893CB9C3-89D7-4418-A207-E997283CC2B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883115" y="4951196"/>
                <a:ext cx="1076853" cy="734953"/>
              </a:xfrm>
              <a:custGeom>
                <a:avLst/>
                <a:gdLst>
                  <a:gd name="T0" fmla="*/ 400 w 400"/>
                  <a:gd name="T1" fmla="*/ 273 h 273"/>
                  <a:gd name="T2" fmla="*/ 400 w 400"/>
                  <a:gd name="T3" fmla="*/ 0 h 273"/>
                  <a:gd name="T4" fmla="*/ 201 w 400"/>
                  <a:gd name="T5" fmla="*/ 0 h 273"/>
                  <a:gd name="T6" fmla="*/ 0 w 400"/>
                  <a:gd name="T7" fmla="*/ 0 h 273"/>
                  <a:gd name="T8" fmla="*/ 0 w 400"/>
                  <a:gd name="T9" fmla="*/ 273 h 273"/>
                  <a:gd name="T10" fmla="*/ 201 w 400"/>
                  <a:gd name="T11" fmla="*/ 273 h 273"/>
                  <a:gd name="T12" fmla="*/ 400 w 400"/>
                  <a:gd name="T13" fmla="*/ 273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0" h="273">
                    <a:moveTo>
                      <a:pt x="400" y="273"/>
                    </a:moveTo>
                    <a:lnTo>
                      <a:pt x="400" y="0"/>
                    </a:lnTo>
                    <a:lnTo>
                      <a:pt x="201" y="0"/>
                    </a:lnTo>
                    <a:lnTo>
                      <a:pt x="0" y="0"/>
                    </a:lnTo>
                    <a:lnTo>
                      <a:pt x="0" y="273"/>
                    </a:lnTo>
                    <a:lnTo>
                      <a:pt x="201" y="273"/>
                    </a:lnTo>
                    <a:lnTo>
                      <a:pt x="400" y="273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3" name="Rectangle 152">
                <a:extLst>
                  <a:ext uri="{FF2B5EF4-FFF2-40B4-BE49-F238E27FC236}">
                    <a16:creationId xmlns:a16="http://schemas.microsoft.com/office/drawing/2014/main" id="{3C55455F-91F7-4E24-B3C6-029AAEE5D94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10939649" y="4991577"/>
                <a:ext cx="966476" cy="573425"/>
              </a:xfrm>
              <a:prstGeom prst="rect">
                <a:avLst/>
              </a:prstGeom>
              <a:solidFill>
                <a:srgbClr val="D048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154" name="Freeform 80">
                <a:extLst>
                  <a:ext uri="{FF2B5EF4-FFF2-40B4-BE49-F238E27FC236}">
                    <a16:creationId xmlns:a16="http://schemas.microsoft.com/office/drawing/2014/main" id="{732AC7AA-4EB4-4F49-9711-DDCC31051BEE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9873565" y="6065739"/>
                <a:ext cx="463047" cy="314980"/>
              </a:xfrm>
              <a:custGeom>
                <a:avLst/>
                <a:gdLst>
                  <a:gd name="T0" fmla="*/ 172 w 172"/>
                  <a:gd name="T1" fmla="*/ 117 h 117"/>
                  <a:gd name="T2" fmla="*/ 172 w 172"/>
                  <a:gd name="T3" fmla="*/ 0 h 117"/>
                  <a:gd name="T4" fmla="*/ 86 w 172"/>
                  <a:gd name="T5" fmla="*/ 0 h 117"/>
                  <a:gd name="T6" fmla="*/ 0 w 172"/>
                  <a:gd name="T7" fmla="*/ 0 h 117"/>
                  <a:gd name="T8" fmla="*/ 0 w 172"/>
                  <a:gd name="T9" fmla="*/ 117 h 117"/>
                  <a:gd name="T10" fmla="*/ 86 w 172"/>
                  <a:gd name="T11" fmla="*/ 117 h 117"/>
                  <a:gd name="T12" fmla="*/ 172 w 172"/>
                  <a:gd name="T13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2" h="117">
                    <a:moveTo>
                      <a:pt x="172" y="117"/>
                    </a:moveTo>
                    <a:lnTo>
                      <a:pt x="172" y="0"/>
                    </a:lnTo>
                    <a:lnTo>
                      <a:pt x="86" y="0"/>
                    </a:lnTo>
                    <a:lnTo>
                      <a:pt x="0" y="0"/>
                    </a:lnTo>
                    <a:lnTo>
                      <a:pt x="0" y="117"/>
                    </a:lnTo>
                    <a:lnTo>
                      <a:pt x="86" y="117"/>
                    </a:lnTo>
                    <a:lnTo>
                      <a:pt x="172" y="117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5" name="Rectangle 154">
                <a:extLst>
                  <a:ext uri="{FF2B5EF4-FFF2-40B4-BE49-F238E27FC236}">
                    <a16:creationId xmlns:a16="http://schemas.microsoft.com/office/drawing/2014/main" id="{9890C29C-7F11-4A63-8F78-4BA22098F61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897795" y="6079198"/>
                <a:ext cx="414588" cy="250369"/>
              </a:xfrm>
              <a:prstGeom prst="rect">
                <a:avLst/>
              </a:prstGeom>
              <a:solidFill>
                <a:srgbClr val="D0482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6" name="Freeform 83">
                <a:extLst>
                  <a:ext uri="{FF2B5EF4-FFF2-40B4-BE49-F238E27FC236}">
                    <a16:creationId xmlns:a16="http://schemas.microsoft.com/office/drawing/2014/main" id="{43577BF1-C08E-4F40-8BD2-3C06BAB57E85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624162" y="5271559"/>
                <a:ext cx="1523747" cy="56536"/>
              </a:xfrm>
              <a:custGeom>
                <a:avLst/>
                <a:gdLst>
                  <a:gd name="T0" fmla="*/ 0 w 973"/>
                  <a:gd name="T1" fmla="*/ 0 h 35"/>
                  <a:gd name="T2" fmla="*/ 75 w 973"/>
                  <a:gd name="T3" fmla="*/ 35 h 35"/>
                  <a:gd name="T4" fmla="*/ 897 w 973"/>
                  <a:gd name="T5" fmla="*/ 35 h 35"/>
                  <a:gd name="T6" fmla="*/ 973 w 973"/>
                  <a:gd name="T7" fmla="*/ 0 h 35"/>
                  <a:gd name="T8" fmla="*/ 0 w 973"/>
                  <a:gd name="T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3" h="35">
                    <a:moveTo>
                      <a:pt x="0" y="0"/>
                    </a:moveTo>
                    <a:cubicBezTo>
                      <a:pt x="0" y="3"/>
                      <a:pt x="2" y="35"/>
                      <a:pt x="75" y="35"/>
                    </a:cubicBezTo>
                    <a:cubicBezTo>
                      <a:pt x="897" y="35"/>
                      <a:pt x="897" y="35"/>
                      <a:pt x="897" y="35"/>
                    </a:cubicBezTo>
                    <a:cubicBezTo>
                      <a:pt x="897" y="35"/>
                      <a:pt x="973" y="35"/>
                      <a:pt x="97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  <p:sp>
            <p:nvSpPr>
              <p:cNvPr id="157" name="Freeform 84">
                <a:extLst>
                  <a:ext uri="{FF2B5EF4-FFF2-40B4-BE49-F238E27FC236}">
                    <a16:creationId xmlns:a16="http://schemas.microsoft.com/office/drawing/2014/main" id="{4AD73CBF-2CCF-4AE6-9D14-D97F441DE67F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931065" y="4480072"/>
                <a:ext cx="1012242" cy="756489"/>
              </a:xfrm>
              <a:custGeom>
                <a:avLst/>
                <a:gdLst>
                  <a:gd name="T0" fmla="*/ 60 w 710"/>
                  <a:gd name="T1" fmla="*/ 0 h 515"/>
                  <a:gd name="T2" fmla="*/ 0 w 710"/>
                  <a:gd name="T3" fmla="*/ 60 h 515"/>
                  <a:gd name="T4" fmla="*/ 0 w 710"/>
                  <a:gd name="T5" fmla="*/ 515 h 515"/>
                  <a:gd name="T6" fmla="*/ 60 w 710"/>
                  <a:gd name="T7" fmla="*/ 513 h 515"/>
                  <a:gd name="T8" fmla="*/ 648 w 710"/>
                  <a:gd name="T9" fmla="*/ 513 h 515"/>
                  <a:gd name="T10" fmla="*/ 710 w 710"/>
                  <a:gd name="T11" fmla="*/ 515 h 515"/>
                  <a:gd name="T12" fmla="*/ 710 w 710"/>
                  <a:gd name="T13" fmla="*/ 60 h 515"/>
                  <a:gd name="T14" fmla="*/ 648 w 710"/>
                  <a:gd name="T15" fmla="*/ 0 h 515"/>
                  <a:gd name="T16" fmla="*/ 92 w 710"/>
                  <a:gd name="T17" fmla="*/ 0 h 515"/>
                  <a:gd name="T18" fmla="*/ 60 w 710"/>
                  <a:gd name="T19" fmla="*/ 0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10" h="515">
                    <a:moveTo>
                      <a:pt x="60" y="0"/>
                    </a:moveTo>
                    <a:cubicBezTo>
                      <a:pt x="60" y="0"/>
                      <a:pt x="0" y="0"/>
                      <a:pt x="0" y="60"/>
                    </a:cubicBezTo>
                    <a:cubicBezTo>
                      <a:pt x="0" y="515"/>
                      <a:pt x="0" y="515"/>
                      <a:pt x="0" y="515"/>
                    </a:cubicBezTo>
                    <a:cubicBezTo>
                      <a:pt x="60" y="513"/>
                      <a:pt x="60" y="513"/>
                      <a:pt x="60" y="513"/>
                    </a:cubicBezTo>
                    <a:cubicBezTo>
                      <a:pt x="648" y="513"/>
                      <a:pt x="648" y="513"/>
                      <a:pt x="648" y="513"/>
                    </a:cubicBezTo>
                    <a:cubicBezTo>
                      <a:pt x="710" y="515"/>
                      <a:pt x="710" y="515"/>
                      <a:pt x="710" y="515"/>
                    </a:cubicBezTo>
                    <a:cubicBezTo>
                      <a:pt x="710" y="60"/>
                      <a:pt x="710" y="60"/>
                      <a:pt x="710" y="60"/>
                    </a:cubicBezTo>
                    <a:cubicBezTo>
                      <a:pt x="710" y="60"/>
                      <a:pt x="710" y="0"/>
                      <a:pt x="648" y="0"/>
                    </a:cubicBezTo>
                    <a:cubicBezTo>
                      <a:pt x="92" y="0"/>
                      <a:pt x="92" y="0"/>
                      <a:pt x="92" y="0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158" name="Freeform 85">
                <a:extLst>
                  <a:ext uri="{FF2B5EF4-FFF2-40B4-BE49-F238E27FC236}">
                    <a16:creationId xmlns:a16="http://schemas.microsoft.com/office/drawing/2014/main" id="{215816CE-1A21-435E-A546-CC1F2CB024D0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7016288" y="4545006"/>
                <a:ext cx="854330" cy="670017"/>
              </a:xfrm>
              <a:custGeom>
                <a:avLst/>
                <a:gdLst>
                  <a:gd name="T0" fmla="*/ 55 w 646"/>
                  <a:gd name="T1" fmla="*/ 0 h 466"/>
                  <a:gd name="T2" fmla="*/ 0 w 646"/>
                  <a:gd name="T3" fmla="*/ 55 h 466"/>
                  <a:gd name="T4" fmla="*/ 0 w 646"/>
                  <a:gd name="T5" fmla="*/ 411 h 466"/>
                  <a:gd name="T6" fmla="*/ 55 w 646"/>
                  <a:gd name="T7" fmla="*/ 466 h 466"/>
                  <a:gd name="T8" fmla="*/ 590 w 646"/>
                  <a:gd name="T9" fmla="*/ 466 h 466"/>
                  <a:gd name="T10" fmla="*/ 646 w 646"/>
                  <a:gd name="T11" fmla="*/ 411 h 466"/>
                  <a:gd name="T12" fmla="*/ 646 w 646"/>
                  <a:gd name="T13" fmla="*/ 55 h 466"/>
                  <a:gd name="T14" fmla="*/ 590 w 646"/>
                  <a:gd name="T15" fmla="*/ 0 h 466"/>
                  <a:gd name="T16" fmla="*/ 220 w 646"/>
                  <a:gd name="T17" fmla="*/ 0 h 466"/>
                  <a:gd name="T18" fmla="*/ 55 w 646"/>
                  <a:gd name="T19" fmla="*/ 0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6" h="466">
                    <a:moveTo>
                      <a:pt x="55" y="0"/>
                    </a:moveTo>
                    <a:cubicBezTo>
                      <a:pt x="55" y="0"/>
                      <a:pt x="0" y="0"/>
                      <a:pt x="0" y="55"/>
                    </a:cubicBezTo>
                    <a:cubicBezTo>
                      <a:pt x="0" y="411"/>
                      <a:pt x="0" y="411"/>
                      <a:pt x="0" y="411"/>
                    </a:cubicBezTo>
                    <a:cubicBezTo>
                      <a:pt x="0" y="411"/>
                      <a:pt x="0" y="466"/>
                      <a:pt x="55" y="466"/>
                    </a:cubicBezTo>
                    <a:cubicBezTo>
                      <a:pt x="590" y="466"/>
                      <a:pt x="590" y="466"/>
                      <a:pt x="590" y="466"/>
                    </a:cubicBezTo>
                    <a:cubicBezTo>
                      <a:pt x="590" y="466"/>
                      <a:pt x="646" y="466"/>
                      <a:pt x="646" y="411"/>
                    </a:cubicBezTo>
                    <a:cubicBezTo>
                      <a:pt x="646" y="55"/>
                      <a:pt x="646" y="55"/>
                      <a:pt x="646" y="55"/>
                    </a:cubicBezTo>
                    <a:cubicBezTo>
                      <a:pt x="646" y="55"/>
                      <a:pt x="646" y="0"/>
                      <a:pt x="590" y="0"/>
                    </a:cubicBezTo>
                    <a:cubicBezTo>
                      <a:pt x="220" y="0"/>
                      <a:pt x="220" y="0"/>
                      <a:pt x="220" y="0"/>
                    </a:cubicBezTo>
                    <a:lnTo>
                      <a:pt x="55" y="0"/>
                    </a:lnTo>
                    <a:close/>
                  </a:path>
                </a:pathLst>
              </a:custGeom>
              <a:solidFill>
                <a:srgbClr val="D048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 dirty="0"/>
              </a:p>
            </p:txBody>
          </p:sp>
          <p:sp>
            <p:nvSpPr>
              <p:cNvPr id="159" name="Freeform 86">
                <a:extLst>
                  <a:ext uri="{FF2B5EF4-FFF2-40B4-BE49-F238E27FC236}">
                    <a16:creationId xmlns:a16="http://schemas.microsoft.com/office/drawing/2014/main" id="{86EDEA47-6848-44D0-84A6-311F2F911132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6624162" y="5233869"/>
                <a:ext cx="1523747" cy="37690"/>
              </a:xfrm>
              <a:custGeom>
                <a:avLst/>
                <a:gdLst>
                  <a:gd name="T0" fmla="*/ 76 w 566"/>
                  <a:gd name="T1" fmla="*/ 0 h 14"/>
                  <a:gd name="T2" fmla="*/ 0 w 566"/>
                  <a:gd name="T3" fmla="*/ 14 h 14"/>
                  <a:gd name="T4" fmla="*/ 566 w 566"/>
                  <a:gd name="T5" fmla="*/ 14 h 14"/>
                  <a:gd name="T6" fmla="*/ 490 w 566"/>
                  <a:gd name="T7" fmla="*/ 0 h 14"/>
                  <a:gd name="T8" fmla="*/ 76 w 566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6" h="14">
                    <a:moveTo>
                      <a:pt x="76" y="0"/>
                    </a:moveTo>
                    <a:lnTo>
                      <a:pt x="0" y="14"/>
                    </a:lnTo>
                    <a:lnTo>
                      <a:pt x="566" y="14"/>
                    </a:lnTo>
                    <a:lnTo>
                      <a:pt x="490" y="0"/>
                    </a:lnTo>
                    <a:lnTo>
                      <a:pt x="76" y="0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/>
              </a:p>
            </p:txBody>
          </p:sp>
        </p:grpSp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1D7D1709-8019-48B3-B6FF-2C939B5ECB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6220" y="4568432"/>
              <a:ext cx="736358" cy="613092"/>
            </a:xfrm>
            <a:prstGeom prst="rect">
              <a:avLst/>
            </a:prstGeom>
          </p:spPr>
        </p:pic>
        <p:pic>
          <p:nvPicPr>
            <p:cNvPr id="84" name="Picture 83">
              <a:extLst>
                <a:ext uri="{FF2B5EF4-FFF2-40B4-BE49-F238E27FC236}">
                  <a16:creationId xmlns:a16="http://schemas.microsoft.com/office/drawing/2014/main" id="{B71E3DA3-7334-4AF0-A322-0DC724A1FFB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36377" y="5038107"/>
              <a:ext cx="604035" cy="502920"/>
            </a:xfrm>
            <a:prstGeom prst="rect">
              <a:avLst/>
            </a:prstGeom>
          </p:spPr>
        </p:pic>
        <p:pic>
          <p:nvPicPr>
            <p:cNvPr id="85" name="Picture 84">
              <a:extLst>
                <a:ext uri="{FF2B5EF4-FFF2-40B4-BE49-F238E27FC236}">
                  <a16:creationId xmlns:a16="http://schemas.microsoft.com/office/drawing/2014/main" id="{E2053168-8CE5-415B-8EBA-776EA0D51AF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0500" y="6106350"/>
              <a:ext cx="252597" cy="2103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7319849"/>
      </p:ext>
    </p:extLst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3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057332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solidFill>
                  <a:schemeClr val="bg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48212" y="471692"/>
            <a:ext cx="1454257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7714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99705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chemeClr val="bg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solidFill>
                  <a:schemeClr val="bg1"/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3822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209611" y="2"/>
            <a:ext cx="5982390" cy="6858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87B2D435-6763-4273-8B58-EEB8756175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7" y="440495"/>
            <a:ext cx="5555966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 1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145844"/>
            <a:ext cx="5555965" cy="2573509"/>
          </a:xfrm>
        </p:spPr>
        <p:txBody>
          <a:bodyPr wrap="square" lIns="0" tIns="0" rIns="0" bIns="0">
            <a:noAutofit/>
          </a:bodyPr>
          <a:lstStyle>
            <a:lvl1pPr marL="0" marR="0" indent="0" algn="l" defTabSz="91419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54" marR="0" indent="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</p:txBody>
      </p:sp>
    </p:spTree>
    <p:extLst>
      <p:ext uri="{BB962C8B-B14F-4D97-AF65-F5344CB8AC3E}">
        <p14:creationId xmlns:p14="http://schemas.microsoft.com/office/powerpoint/2010/main" val="18523621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2139704"/>
            <a:ext cx="11339774" cy="122317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73"/>
              </a:spcAft>
              <a:buNone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54" indent="0">
              <a:lnSpc>
                <a:spcPct val="90000"/>
              </a:lnSpc>
              <a:spcBef>
                <a:spcPts val="0"/>
              </a:spcBef>
              <a:spcAft>
                <a:spcPts val="1273"/>
              </a:spcAft>
              <a:buNone/>
              <a:defRPr sz="1961">
                <a:solidFill>
                  <a:srgbClr val="000000"/>
                </a:solidFill>
              </a:defRPr>
            </a:lvl2pPr>
            <a:lvl3pPr marL="448107" indent="0">
              <a:spcBef>
                <a:spcPts val="0"/>
              </a:spcBef>
              <a:spcAft>
                <a:spcPts val="1273"/>
              </a:spcAft>
              <a:buNone/>
              <a:defRPr sz="1961">
                <a:solidFill>
                  <a:srgbClr val="000000"/>
                </a:solidFill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First level Segoe UI 26pt</a:t>
            </a:r>
          </a:p>
          <a:p>
            <a:pPr lvl="1"/>
            <a:r>
              <a:rPr lang="en-US"/>
              <a:t>Second level Segoe UI 20pt</a:t>
            </a:r>
          </a:p>
          <a:p>
            <a:pPr lvl="2"/>
            <a:r>
              <a:rPr lang="en-US"/>
              <a:t>Third level Segoe UI 20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8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pt</a:t>
            </a:r>
          </a:p>
        </p:txBody>
      </p:sp>
    </p:spTree>
    <p:extLst>
      <p:ext uri="{BB962C8B-B14F-4D97-AF65-F5344CB8AC3E}">
        <p14:creationId xmlns:p14="http://schemas.microsoft.com/office/powerpoint/2010/main" val="101493191"/>
      </p:ext>
    </p:extLst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51639" y="6061766"/>
            <a:ext cx="1517768" cy="326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212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 advClick="0">
        <p14:reveal/>
      </p:transition>
    </mc:Choice>
    <mc:Fallback xmlns="">
      <p:transition spd="slow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49322" y="6061766"/>
            <a:ext cx="1522404" cy="326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5201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 advClick="0">
        <p14:reveal/>
      </p:transition>
    </mc:Choice>
    <mc:Fallback xmlns="">
      <p:transition spd="slow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solidFill>
                  <a:srgbClr val="92D050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269302" y="1187644"/>
            <a:ext cx="9860610" cy="268963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b" anchorCtr="0"/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</p:spTree>
    <p:extLst>
      <p:ext uri="{BB962C8B-B14F-4D97-AF65-F5344CB8AC3E}">
        <p14:creationId xmlns:p14="http://schemas.microsoft.com/office/powerpoint/2010/main" val="34956939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 advClick="0">
        <p14:reveal/>
      </p:transition>
    </mc:Choice>
    <mc:Fallback xmlns="">
      <p:transition spd="slow" advClick="0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69302" y="1187644"/>
            <a:ext cx="9860610" cy="268963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94161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109374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 advClick="0">
        <p14:reveal/>
      </p:transition>
    </mc:Choice>
    <mc:Fallback xmlns="">
      <p:transition spd="slow" advClick="0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574139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advClick="0"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8627" b="0" kern="1200" cap="none" spc="-98" baseline="0" dirty="0">
                <a:ln w="3175">
                  <a:noFill/>
                </a:ln>
                <a:gradFill>
                  <a:gsLst>
                    <a:gs pos="9562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31875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advClick="0"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8627" b="0" kern="1200" cap="none" spc="-98" baseline="0" dirty="0">
                <a:ln w="3175">
                  <a:noFill/>
                </a:ln>
                <a:gradFill>
                  <a:gsLst>
                    <a:gs pos="83448">
                      <a:schemeClr val="tx1"/>
                    </a:gs>
                    <a:gs pos="53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655654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advClick="0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28174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Layout_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1684" y="2084173"/>
            <a:ext cx="8058229" cy="1793104"/>
          </a:xfrm>
        </p:spPr>
        <p:txBody>
          <a:bodyPr/>
          <a:lstStyle>
            <a:lvl1pPr>
              <a:defRPr sz="5882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8707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advClick="0"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65664" y="1178349"/>
            <a:ext cx="9860672" cy="899665"/>
          </a:xfrm>
        </p:spPr>
        <p:txBody>
          <a:bodyPr/>
          <a:lstStyle>
            <a:lvl1pPr marL="228766" indent="-228766">
              <a:defRPr sz="5882" baseline="0"/>
            </a:lvl1pPr>
          </a:lstStyle>
          <a:p>
            <a:r>
              <a:rPr lang="en-US"/>
              <a:t>“Sample quote goes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5025984"/>
            <a:ext cx="5378549" cy="105015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137" baseline="0">
                <a:latin typeface="+mj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979106073"/>
      </p:ext>
    </p:extLst>
  </p:cSld>
  <p:clrMapOvr>
    <a:masterClrMapping/>
  </p:clrMapOvr>
  <p:transition advClick="0"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_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65664" y="2084173"/>
            <a:ext cx="9860672" cy="899665"/>
          </a:xfrm>
        </p:spPr>
        <p:txBody>
          <a:bodyPr/>
          <a:lstStyle>
            <a:lvl1pPr marL="277008" indent="-277008">
              <a:tabLst>
                <a:tab pos="277008" algn="l"/>
              </a:tabLst>
              <a:defRPr sz="5882" baseline="0"/>
            </a:lvl1pPr>
          </a:lstStyle>
          <a:p>
            <a:r>
              <a:rPr lang="en-US"/>
              <a:t>“	Add a quote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4773813"/>
            <a:ext cx="5378549" cy="105015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137" baseline="0">
                <a:latin typeface="+mj-lt"/>
              </a:defRPr>
            </a:lvl1pPr>
          </a:lstStyle>
          <a:p>
            <a:pPr lvl="0"/>
            <a:r>
              <a:rPr lang="en-US"/>
              <a:t>Author’s Name</a:t>
            </a:r>
          </a:p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0180071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advClick="0"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dea &amp;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7021" y="2383023"/>
            <a:ext cx="11653523" cy="914360"/>
          </a:xfrm>
        </p:spPr>
        <p:txBody>
          <a:bodyPr/>
          <a:lstStyle>
            <a:lvl1pPr marL="0" indent="0">
              <a:buNone/>
              <a:defRPr sz="5294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77021" y="1187621"/>
            <a:ext cx="11655840" cy="899665"/>
          </a:xfrm>
        </p:spPr>
        <p:txBody>
          <a:bodyPr/>
          <a:lstStyle>
            <a:lvl1pPr>
              <a:defRPr sz="7058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7164482"/>
      </p:ext>
    </p:extLst>
  </p:cSld>
  <p:clrMapOvr>
    <a:masterClrMapping/>
  </p:clrMapOvr>
  <p:transition advClick="0"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9315417"/>
      </p:ext>
    </p:extLst>
  </p:cSld>
  <p:clrMapOvr>
    <a:masterClrMapping/>
  </p:clrMapOvr>
  <p:transition advClick="0"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9874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advClick="0"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76409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advClick="0"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06563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advClick="0"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2415"/>
            <a:ext cx="11653522" cy="2089751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3965849"/>
      </p:ext>
    </p:extLst>
  </p:cSld>
  <p:clrMapOvr>
    <a:masterClrMapping/>
  </p:clrMapOvr>
  <p:transition advClick="0"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C9E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2386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advClick="0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84792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Layout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 flip="none" rotWithShape="1">
                  <a:gsLst>
                    <a:gs pos="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519248" y="1447800"/>
            <a:ext cx="11151917" cy="2187971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1659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advClick="0"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48217" y="6437242"/>
            <a:ext cx="3859605" cy="134485"/>
          </a:xfrm>
          <a:prstGeom prst="rect">
            <a:avLst/>
          </a:prstGeom>
        </p:spPr>
        <p:txBody>
          <a:bodyPr/>
          <a:lstStyle/>
          <a:p>
            <a:r>
              <a:rPr>
                <a:solidFill>
                  <a:srgbClr val="505050"/>
                </a:solidFill>
              </a:rPr>
              <a:t>Microsoft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11367168" y="6437242"/>
            <a:ext cx="555595" cy="134485"/>
          </a:xfrm>
          <a:prstGeom prst="rect">
            <a:avLst/>
          </a:prstGeom>
        </p:spPr>
        <p:txBody>
          <a:bodyPr/>
          <a:lstStyle/>
          <a:p>
            <a:pPr defTabSz="914523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914523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8163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794265" y="1596841"/>
            <a:ext cx="9248036" cy="664798"/>
          </a:xfrm>
          <a:prstGeom prst="rect">
            <a:avLst/>
          </a:prstGeom>
        </p:spPr>
        <p:txBody>
          <a:bodyPr lIns="0" tIns="71428" rIns="142857" bIns="71428" anchor="ctr" anchorCtr="0">
            <a:noAutofit/>
          </a:bodyPr>
          <a:lstStyle>
            <a:lvl1pPr algn="l">
              <a:lnSpc>
                <a:spcPct val="90000"/>
              </a:lnSpc>
              <a:defRPr sz="2699">
                <a:solidFill>
                  <a:schemeClr val="accent3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766902" y="642260"/>
            <a:ext cx="9289080" cy="1378644"/>
          </a:xfrm>
          <a:prstGeom prst="rect">
            <a:avLst/>
          </a:prstGeom>
        </p:spPr>
        <p:txBody>
          <a:bodyPr lIns="0" tIns="71428" rIns="142857" bIns="71428" anchor="t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6696" b="0" i="0" u="none" strike="noStrike" kern="1200" cap="none" spc="-74" normalizeH="0" baseline="0" noProof="0" dirty="0" smtClean="0">
                <a:ln w="11430"/>
                <a:solidFill>
                  <a:schemeClr val="accent3"/>
                </a:solidFill>
                <a:effectLst/>
                <a:uLnTx/>
                <a:uFillTx/>
                <a:latin typeface="Segoe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794267" y="2401295"/>
            <a:ext cx="5471362" cy="1203772"/>
          </a:xfrm>
          <a:prstGeom prst="rect">
            <a:avLst/>
          </a:prstGeom>
        </p:spPr>
        <p:txBody>
          <a:bodyPr lIns="0" tIns="71428" rIns="142857" bIns="71428"/>
          <a:lstStyle>
            <a:lvl1pPr marL="321269" indent="-321269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en-US" sz="1899" kern="1200" dirty="0" smtClean="0">
                <a:solidFill>
                  <a:schemeClr val="accent4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  <a:latin typeface="Segoe Light" pitchFamily="34" charset="0"/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  <a:latin typeface="Segoe Light" pitchFamily="34" charset="0"/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  <a:latin typeface="Segoe Light" pitchFamily="34" charset="0"/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  <a:latin typeface="Segoe Light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99" y="6393359"/>
            <a:ext cx="1543575" cy="511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316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ac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1684" y="2084173"/>
            <a:ext cx="8058229" cy="1793104"/>
          </a:xfrm>
        </p:spPr>
        <p:txBody>
          <a:bodyPr/>
          <a:lstStyle>
            <a:lvl1pPr>
              <a:defRPr sz="5882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9119505"/>
      </p:ext>
    </p:extLst>
  </p:cSld>
  <p:clrMapOvr>
    <a:masterClrMapping/>
  </p:clrMapOvr>
  <p:transition advClick="0"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6379416"/>
      </p:ext>
    </p:extLst>
  </p:cSld>
  <p:clrMapOvr>
    <a:masterClrMapping/>
  </p:clrMapOvr>
  <p:transition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pt Title/24p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73713" y="2100815"/>
            <a:ext cx="11007660" cy="1686801"/>
          </a:xfrm>
        </p:spPr>
        <p:txBody>
          <a:bodyPr/>
          <a:lstStyle>
            <a:lvl1pPr>
              <a:defRPr sz="5882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1640" y="3877277"/>
            <a:ext cx="10989732" cy="48340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bg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167388159"/>
      </p:ext>
    </p:extLst>
  </p:cSld>
  <p:clrMapOvr>
    <a:masterClrMapping/>
  </p:clrMapOvr>
  <p:transition advClick="0"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pt Title/16pt Tex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73713" y="2100815"/>
            <a:ext cx="11007660" cy="1686801"/>
          </a:xfrm>
        </p:spPr>
        <p:txBody>
          <a:bodyPr/>
          <a:lstStyle>
            <a:lvl1pPr>
              <a:defRPr sz="5882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1640" y="3877277"/>
            <a:ext cx="10989732" cy="48340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bg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568925565"/>
      </p:ext>
    </p:extLst>
  </p:cSld>
  <p:clrMapOvr>
    <a:masterClrMapping/>
  </p:clrMapOvr>
  <p:transition advClick="0"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pt Title/16pt Tex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73713" y="2100815"/>
            <a:ext cx="11007660" cy="1686801"/>
          </a:xfrm>
        </p:spPr>
        <p:txBody>
          <a:bodyPr/>
          <a:lstStyle>
            <a:lvl1pPr>
              <a:defRPr sz="5882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1640" y="3877277"/>
            <a:ext cx="10989732" cy="48340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bg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633582196"/>
      </p:ext>
    </p:extLst>
  </p:cSld>
  <p:clrMapOvr>
    <a:masterClrMapping/>
  </p:clrMapOvr>
  <p:transition advClick="0"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pt Title/24pt Text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73713" y="2100815"/>
            <a:ext cx="11007660" cy="1686801"/>
          </a:xfrm>
        </p:spPr>
        <p:txBody>
          <a:bodyPr/>
          <a:lstStyle>
            <a:lvl1pPr>
              <a:defRPr sz="5882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1640" y="3877277"/>
            <a:ext cx="10989732" cy="48340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bg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546045009"/>
      </p:ext>
    </p:extLst>
  </p:cSld>
  <p:clrMapOvr>
    <a:masterClrMapping/>
  </p:clrMapOvr>
  <p:transition advClick="0"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pt Title/24pt Tex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73713" y="2100815"/>
            <a:ext cx="11007660" cy="1686801"/>
          </a:xfrm>
        </p:spPr>
        <p:txBody>
          <a:bodyPr/>
          <a:lstStyle>
            <a:lvl1pPr>
              <a:defRPr sz="5882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1640" y="3877277"/>
            <a:ext cx="10989732" cy="48340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bg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865418054"/>
      </p:ext>
    </p:extLst>
  </p:cSld>
  <p:clrMapOvr>
    <a:masterClrMapping/>
  </p:clrMapOvr>
  <p:transition advClick="0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8252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8pt Title/24p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73713" y="2100815"/>
            <a:ext cx="8086519" cy="1686801"/>
          </a:xfrm>
        </p:spPr>
        <p:txBody>
          <a:bodyPr/>
          <a:lstStyle>
            <a:lvl1pPr>
              <a:defRPr sz="5882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1640" y="3877277"/>
            <a:ext cx="8073349" cy="48340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bg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8750521" y="1315052"/>
            <a:ext cx="3441479" cy="5429745"/>
            <a:chOff x="8925987" y="1341231"/>
            <a:chExt cx="3510488" cy="5537837"/>
          </a:xfrm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9080596" y="2696006"/>
              <a:ext cx="3246304" cy="4001502"/>
            </a:xfrm>
            <a:custGeom>
              <a:avLst/>
              <a:gdLst>
                <a:gd name="T0" fmla="*/ 0 w 2476"/>
                <a:gd name="T1" fmla="*/ 2588 h 3052"/>
                <a:gd name="T2" fmla="*/ 1237 w 2476"/>
                <a:gd name="T3" fmla="*/ 0 h 3052"/>
                <a:gd name="T4" fmla="*/ 2476 w 2476"/>
                <a:gd name="T5" fmla="*/ 976 h 3052"/>
                <a:gd name="T6" fmla="*/ 495 w 2476"/>
                <a:gd name="T7" fmla="*/ 3052 h 3052"/>
                <a:gd name="T8" fmla="*/ 0 w 2476"/>
                <a:gd name="T9" fmla="*/ 2588 h 3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6" h="3052">
                  <a:moveTo>
                    <a:pt x="0" y="2588"/>
                  </a:moveTo>
                  <a:lnTo>
                    <a:pt x="1237" y="0"/>
                  </a:lnTo>
                  <a:lnTo>
                    <a:pt x="2476" y="976"/>
                  </a:lnTo>
                  <a:lnTo>
                    <a:pt x="495" y="3052"/>
                  </a:lnTo>
                  <a:lnTo>
                    <a:pt x="0" y="2588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14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11185247" y="1341231"/>
              <a:ext cx="1239838" cy="813644"/>
            </a:xfrm>
            <a:custGeom>
              <a:avLst/>
              <a:gdLst>
                <a:gd name="T0" fmla="*/ 168 w 1054"/>
                <a:gd name="T1" fmla="*/ 303 h 690"/>
                <a:gd name="T2" fmla="*/ 168 w 1054"/>
                <a:gd name="T3" fmla="*/ 289 h 690"/>
                <a:gd name="T4" fmla="*/ 459 w 1054"/>
                <a:gd name="T5" fmla="*/ 0 h 690"/>
                <a:gd name="T6" fmla="*/ 701 w 1054"/>
                <a:gd name="T7" fmla="*/ 129 h 690"/>
                <a:gd name="T8" fmla="*/ 781 w 1054"/>
                <a:gd name="T9" fmla="*/ 108 h 690"/>
                <a:gd name="T10" fmla="*/ 875 w 1054"/>
                <a:gd name="T11" fmla="*/ 136 h 690"/>
                <a:gd name="T12" fmla="*/ 950 w 1054"/>
                <a:gd name="T13" fmla="*/ 272 h 690"/>
                <a:gd name="T14" fmla="*/ 1054 w 1054"/>
                <a:gd name="T15" fmla="*/ 463 h 690"/>
                <a:gd name="T16" fmla="*/ 851 w 1054"/>
                <a:gd name="T17" fmla="*/ 690 h 690"/>
                <a:gd name="T18" fmla="*/ 825 w 1054"/>
                <a:gd name="T19" fmla="*/ 690 h 690"/>
                <a:gd name="T20" fmla="*/ 802 w 1054"/>
                <a:gd name="T21" fmla="*/ 690 h 690"/>
                <a:gd name="T22" fmla="*/ 327 w 1054"/>
                <a:gd name="T23" fmla="*/ 690 h 690"/>
                <a:gd name="T24" fmla="*/ 318 w 1054"/>
                <a:gd name="T25" fmla="*/ 690 h 690"/>
                <a:gd name="T26" fmla="*/ 306 w 1054"/>
                <a:gd name="T27" fmla="*/ 690 h 690"/>
                <a:gd name="T28" fmla="*/ 271 w 1054"/>
                <a:gd name="T29" fmla="*/ 690 h 690"/>
                <a:gd name="T30" fmla="*/ 195 w 1054"/>
                <a:gd name="T31" fmla="*/ 690 h 690"/>
                <a:gd name="T32" fmla="*/ 0 w 1054"/>
                <a:gd name="T33" fmla="*/ 495 h 690"/>
                <a:gd name="T34" fmla="*/ 168 w 1054"/>
                <a:gd name="T35" fmla="*/ 303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4" h="690">
                  <a:moveTo>
                    <a:pt x="168" y="303"/>
                  </a:moveTo>
                  <a:cubicBezTo>
                    <a:pt x="168" y="299"/>
                    <a:pt x="168" y="293"/>
                    <a:pt x="168" y="289"/>
                  </a:cubicBezTo>
                  <a:cubicBezTo>
                    <a:pt x="168" y="129"/>
                    <a:pt x="298" y="0"/>
                    <a:pt x="459" y="0"/>
                  </a:cubicBezTo>
                  <a:cubicBezTo>
                    <a:pt x="560" y="0"/>
                    <a:pt x="649" y="52"/>
                    <a:pt x="701" y="129"/>
                  </a:cubicBezTo>
                  <a:cubicBezTo>
                    <a:pt x="725" y="116"/>
                    <a:pt x="752" y="108"/>
                    <a:pt x="781" y="108"/>
                  </a:cubicBezTo>
                  <a:cubicBezTo>
                    <a:pt x="816" y="108"/>
                    <a:pt x="848" y="118"/>
                    <a:pt x="875" y="136"/>
                  </a:cubicBezTo>
                  <a:cubicBezTo>
                    <a:pt x="919" y="166"/>
                    <a:pt x="948" y="215"/>
                    <a:pt x="950" y="272"/>
                  </a:cubicBezTo>
                  <a:cubicBezTo>
                    <a:pt x="1012" y="312"/>
                    <a:pt x="1054" y="384"/>
                    <a:pt x="1054" y="463"/>
                  </a:cubicBezTo>
                  <a:cubicBezTo>
                    <a:pt x="1054" y="580"/>
                    <a:pt x="965" y="676"/>
                    <a:pt x="851" y="690"/>
                  </a:cubicBezTo>
                  <a:cubicBezTo>
                    <a:pt x="843" y="690"/>
                    <a:pt x="833" y="690"/>
                    <a:pt x="825" y="690"/>
                  </a:cubicBezTo>
                  <a:cubicBezTo>
                    <a:pt x="818" y="690"/>
                    <a:pt x="810" y="690"/>
                    <a:pt x="802" y="690"/>
                  </a:cubicBezTo>
                  <a:cubicBezTo>
                    <a:pt x="696" y="690"/>
                    <a:pt x="446" y="690"/>
                    <a:pt x="327" y="690"/>
                  </a:cubicBezTo>
                  <a:cubicBezTo>
                    <a:pt x="324" y="690"/>
                    <a:pt x="320" y="690"/>
                    <a:pt x="318" y="690"/>
                  </a:cubicBezTo>
                  <a:cubicBezTo>
                    <a:pt x="306" y="690"/>
                    <a:pt x="306" y="690"/>
                    <a:pt x="306" y="690"/>
                  </a:cubicBezTo>
                  <a:cubicBezTo>
                    <a:pt x="300" y="690"/>
                    <a:pt x="283" y="690"/>
                    <a:pt x="271" y="690"/>
                  </a:cubicBezTo>
                  <a:cubicBezTo>
                    <a:pt x="195" y="690"/>
                    <a:pt x="195" y="690"/>
                    <a:pt x="195" y="690"/>
                  </a:cubicBezTo>
                  <a:cubicBezTo>
                    <a:pt x="87" y="688"/>
                    <a:pt x="0" y="601"/>
                    <a:pt x="0" y="495"/>
                  </a:cubicBezTo>
                  <a:cubicBezTo>
                    <a:pt x="0" y="397"/>
                    <a:pt x="73" y="316"/>
                    <a:pt x="168" y="30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10332390" y="1583889"/>
              <a:ext cx="1239838" cy="813644"/>
            </a:xfrm>
            <a:custGeom>
              <a:avLst/>
              <a:gdLst>
                <a:gd name="T0" fmla="*/ 168 w 1054"/>
                <a:gd name="T1" fmla="*/ 303 h 690"/>
                <a:gd name="T2" fmla="*/ 168 w 1054"/>
                <a:gd name="T3" fmla="*/ 289 h 690"/>
                <a:gd name="T4" fmla="*/ 459 w 1054"/>
                <a:gd name="T5" fmla="*/ 0 h 690"/>
                <a:gd name="T6" fmla="*/ 701 w 1054"/>
                <a:gd name="T7" fmla="*/ 129 h 690"/>
                <a:gd name="T8" fmla="*/ 781 w 1054"/>
                <a:gd name="T9" fmla="*/ 108 h 690"/>
                <a:gd name="T10" fmla="*/ 875 w 1054"/>
                <a:gd name="T11" fmla="*/ 136 h 690"/>
                <a:gd name="T12" fmla="*/ 950 w 1054"/>
                <a:gd name="T13" fmla="*/ 272 h 690"/>
                <a:gd name="T14" fmla="*/ 1054 w 1054"/>
                <a:gd name="T15" fmla="*/ 463 h 690"/>
                <a:gd name="T16" fmla="*/ 851 w 1054"/>
                <a:gd name="T17" fmla="*/ 690 h 690"/>
                <a:gd name="T18" fmla="*/ 825 w 1054"/>
                <a:gd name="T19" fmla="*/ 690 h 690"/>
                <a:gd name="T20" fmla="*/ 802 w 1054"/>
                <a:gd name="T21" fmla="*/ 690 h 690"/>
                <a:gd name="T22" fmla="*/ 327 w 1054"/>
                <a:gd name="T23" fmla="*/ 690 h 690"/>
                <a:gd name="T24" fmla="*/ 318 w 1054"/>
                <a:gd name="T25" fmla="*/ 690 h 690"/>
                <a:gd name="T26" fmla="*/ 306 w 1054"/>
                <a:gd name="T27" fmla="*/ 690 h 690"/>
                <a:gd name="T28" fmla="*/ 271 w 1054"/>
                <a:gd name="T29" fmla="*/ 690 h 690"/>
                <a:gd name="T30" fmla="*/ 195 w 1054"/>
                <a:gd name="T31" fmla="*/ 690 h 690"/>
                <a:gd name="T32" fmla="*/ 0 w 1054"/>
                <a:gd name="T33" fmla="*/ 495 h 690"/>
                <a:gd name="T34" fmla="*/ 168 w 1054"/>
                <a:gd name="T35" fmla="*/ 303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4" h="690">
                  <a:moveTo>
                    <a:pt x="168" y="303"/>
                  </a:moveTo>
                  <a:cubicBezTo>
                    <a:pt x="168" y="299"/>
                    <a:pt x="168" y="293"/>
                    <a:pt x="168" y="289"/>
                  </a:cubicBezTo>
                  <a:cubicBezTo>
                    <a:pt x="168" y="129"/>
                    <a:pt x="298" y="0"/>
                    <a:pt x="459" y="0"/>
                  </a:cubicBezTo>
                  <a:cubicBezTo>
                    <a:pt x="560" y="0"/>
                    <a:pt x="649" y="52"/>
                    <a:pt x="701" y="129"/>
                  </a:cubicBezTo>
                  <a:cubicBezTo>
                    <a:pt x="725" y="116"/>
                    <a:pt x="752" y="108"/>
                    <a:pt x="781" y="108"/>
                  </a:cubicBezTo>
                  <a:cubicBezTo>
                    <a:pt x="816" y="108"/>
                    <a:pt x="848" y="118"/>
                    <a:pt x="875" y="136"/>
                  </a:cubicBezTo>
                  <a:cubicBezTo>
                    <a:pt x="919" y="166"/>
                    <a:pt x="948" y="215"/>
                    <a:pt x="950" y="272"/>
                  </a:cubicBezTo>
                  <a:cubicBezTo>
                    <a:pt x="1012" y="312"/>
                    <a:pt x="1054" y="384"/>
                    <a:pt x="1054" y="463"/>
                  </a:cubicBezTo>
                  <a:cubicBezTo>
                    <a:pt x="1054" y="580"/>
                    <a:pt x="965" y="676"/>
                    <a:pt x="851" y="690"/>
                  </a:cubicBezTo>
                  <a:cubicBezTo>
                    <a:pt x="843" y="690"/>
                    <a:pt x="833" y="690"/>
                    <a:pt x="825" y="690"/>
                  </a:cubicBezTo>
                  <a:cubicBezTo>
                    <a:pt x="818" y="690"/>
                    <a:pt x="810" y="690"/>
                    <a:pt x="802" y="690"/>
                  </a:cubicBezTo>
                  <a:cubicBezTo>
                    <a:pt x="696" y="690"/>
                    <a:pt x="446" y="690"/>
                    <a:pt x="327" y="690"/>
                  </a:cubicBezTo>
                  <a:cubicBezTo>
                    <a:pt x="324" y="690"/>
                    <a:pt x="320" y="690"/>
                    <a:pt x="318" y="690"/>
                  </a:cubicBezTo>
                  <a:cubicBezTo>
                    <a:pt x="306" y="690"/>
                    <a:pt x="306" y="690"/>
                    <a:pt x="306" y="690"/>
                  </a:cubicBezTo>
                  <a:cubicBezTo>
                    <a:pt x="300" y="690"/>
                    <a:pt x="283" y="690"/>
                    <a:pt x="271" y="690"/>
                  </a:cubicBezTo>
                  <a:cubicBezTo>
                    <a:pt x="195" y="690"/>
                    <a:pt x="195" y="690"/>
                    <a:pt x="195" y="690"/>
                  </a:cubicBezTo>
                  <a:cubicBezTo>
                    <a:pt x="87" y="688"/>
                    <a:pt x="0" y="601"/>
                    <a:pt x="0" y="495"/>
                  </a:cubicBezTo>
                  <a:cubicBezTo>
                    <a:pt x="0" y="397"/>
                    <a:pt x="73" y="316"/>
                    <a:pt x="168" y="30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9405174" y="1369064"/>
              <a:ext cx="895827" cy="587887"/>
            </a:xfrm>
            <a:custGeom>
              <a:avLst/>
              <a:gdLst>
                <a:gd name="T0" fmla="*/ 168 w 1054"/>
                <a:gd name="T1" fmla="*/ 303 h 690"/>
                <a:gd name="T2" fmla="*/ 168 w 1054"/>
                <a:gd name="T3" fmla="*/ 289 h 690"/>
                <a:gd name="T4" fmla="*/ 459 w 1054"/>
                <a:gd name="T5" fmla="*/ 0 h 690"/>
                <a:gd name="T6" fmla="*/ 701 w 1054"/>
                <a:gd name="T7" fmla="*/ 129 h 690"/>
                <a:gd name="T8" fmla="*/ 781 w 1054"/>
                <a:gd name="T9" fmla="*/ 108 h 690"/>
                <a:gd name="T10" fmla="*/ 875 w 1054"/>
                <a:gd name="T11" fmla="*/ 136 h 690"/>
                <a:gd name="T12" fmla="*/ 950 w 1054"/>
                <a:gd name="T13" fmla="*/ 272 h 690"/>
                <a:gd name="T14" fmla="*/ 1054 w 1054"/>
                <a:gd name="T15" fmla="*/ 463 h 690"/>
                <a:gd name="T16" fmla="*/ 851 w 1054"/>
                <a:gd name="T17" fmla="*/ 690 h 690"/>
                <a:gd name="T18" fmla="*/ 825 w 1054"/>
                <a:gd name="T19" fmla="*/ 690 h 690"/>
                <a:gd name="T20" fmla="*/ 802 w 1054"/>
                <a:gd name="T21" fmla="*/ 690 h 690"/>
                <a:gd name="T22" fmla="*/ 327 w 1054"/>
                <a:gd name="T23" fmla="*/ 690 h 690"/>
                <a:gd name="T24" fmla="*/ 318 w 1054"/>
                <a:gd name="T25" fmla="*/ 690 h 690"/>
                <a:gd name="T26" fmla="*/ 306 w 1054"/>
                <a:gd name="T27" fmla="*/ 690 h 690"/>
                <a:gd name="T28" fmla="*/ 271 w 1054"/>
                <a:gd name="T29" fmla="*/ 690 h 690"/>
                <a:gd name="T30" fmla="*/ 195 w 1054"/>
                <a:gd name="T31" fmla="*/ 690 h 690"/>
                <a:gd name="T32" fmla="*/ 0 w 1054"/>
                <a:gd name="T33" fmla="*/ 495 h 690"/>
                <a:gd name="T34" fmla="*/ 168 w 1054"/>
                <a:gd name="T35" fmla="*/ 303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4" h="690">
                  <a:moveTo>
                    <a:pt x="168" y="303"/>
                  </a:moveTo>
                  <a:cubicBezTo>
                    <a:pt x="168" y="299"/>
                    <a:pt x="168" y="293"/>
                    <a:pt x="168" y="289"/>
                  </a:cubicBezTo>
                  <a:cubicBezTo>
                    <a:pt x="168" y="129"/>
                    <a:pt x="298" y="0"/>
                    <a:pt x="459" y="0"/>
                  </a:cubicBezTo>
                  <a:cubicBezTo>
                    <a:pt x="560" y="0"/>
                    <a:pt x="649" y="52"/>
                    <a:pt x="701" y="129"/>
                  </a:cubicBezTo>
                  <a:cubicBezTo>
                    <a:pt x="725" y="116"/>
                    <a:pt x="752" y="108"/>
                    <a:pt x="781" y="108"/>
                  </a:cubicBezTo>
                  <a:cubicBezTo>
                    <a:pt x="816" y="108"/>
                    <a:pt x="848" y="118"/>
                    <a:pt x="875" y="136"/>
                  </a:cubicBezTo>
                  <a:cubicBezTo>
                    <a:pt x="919" y="166"/>
                    <a:pt x="948" y="215"/>
                    <a:pt x="950" y="272"/>
                  </a:cubicBezTo>
                  <a:cubicBezTo>
                    <a:pt x="1012" y="312"/>
                    <a:pt x="1054" y="384"/>
                    <a:pt x="1054" y="463"/>
                  </a:cubicBezTo>
                  <a:cubicBezTo>
                    <a:pt x="1054" y="580"/>
                    <a:pt x="965" y="676"/>
                    <a:pt x="851" y="690"/>
                  </a:cubicBezTo>
                  <a:cubicBezTo>
                    <a:pt x="843" y="690"/>
                    <a:pt x="833" y="690"/>
                    <a:pt x="825" y="690"/>
                  </a:cubicBezTo>
                  <a:cubicBezTo>
                    <a:pt x="818" y="690"/>
                    <a:pt x="810" y="690"/>
                    <a:pt x="802" y="690"/>
                  </a:cubicBezTo>
                  <a:cubicBezTo>
                    <a:pt x="696" y="690"/>
                    <a:pt x="446" y="690"/>
                    <a:pt x="327" y="690"/>
                  </a:cubicBezTo>
                  <a:cubicBezTo>
                    <a:pt x="324" y="690"/>
                    <a:pt x="320" y="690"/>
                    <a:pt x="318" y="690"/>
                  </a:cubicBezTo>
                  <a:cubicBezTo>
                    <a:pt x="306" y="690"/>
                    <a:pt x="306" y="690"/>
                    <a:pt x="306" y="690"/>
                  </a:cubicBezTo>
                  <a:cubicBezTo>
                    <a:pt x="300" y="690"/>
                    <a:pt x="283" y="690"/>
                    <a:pt x="271" y="690"/>
                  </a:cubicBezTo>
                  <a:cubicBezTo>
                    <a:pt x="195" y="690"/>
                    <a:pt x="195" y="690"/>
                    <a:pt x="195" y="690"/>
                  </a:cubicBezTo>
                  <a:cubicBezTo>
                    <a:pt x="87" y="688"/>
                    <a:pt x="0" y="601"/>
                    <a:pt x="0" y="495"/>
                  </a:cubicBezTo>
                  <a:cubicBezTo>
                    <a:pt x="0" y="397"/>
                    <a:pt x="73" y="316"/>
                    <a:pt x="168" y="30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11280477" y="3072737"/>
              <a:ext cx="1155998" cy="1162044"/>
              <a:chOff x="13209584" y="-2840041"/>
              <a:chExt cx="1820862" cy="1830385"/>
            </a:xfrm>
          </p:grpSpPr>
          <p:sp>
            <p:nvSpPr>
              <p:cNvPr id="26" name="Oval 5"/>
              <p:cNvSpPr>
                <a:spLocks noChangeArrowheads="1"/>
              </p:cNvSpPr>
              <p:nvPr/>
            </p:nvSpPr>
            <p:spPr bwMode="auto">
              <a:xfrm>
                <a:off x="13209584" y="-2840041"/>
                <a:ext cx="1820862" cy="1830385"/>
              </a:xfrm>
              <a:prstGeom prst="ellipse">
                <a:avLst/>
              </a:prstGeom>
              <a:solidFill>
                <a:srgbClr val="FFB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7" name="Freeform 6"/>
              <p:cNvSpPr>
                <a:spLocks/>
              </p:cNvSpPr>
              <p:nvPr/>
            </p:nvSpPr>
            <p:spPr bwMode="auto">
              <a:xfrm>
                <a:off x="13633446" y="-2205042"/>
                <a:ext cx="488950" cy="836611"/>
              </a:xfrm>
              <a:custGeom>
                <a:avLst/>
                <a:gdLst>
                  <a:gd name="T0" fmla="*/ 308 w 308"/>
                  <a:gd name="T1" fmla="*/ 175 h 527"/>
                  <a:gd name="T2" fmla="*/ 305 w 308"/>
                  <a:gd name="T3" fmla="*/ 527 h 527"/>
                  <a:gd name="T4" fmla="*/ 0 w 308"/>
                  <a:gd name="T5" fmla="*/ 351 h 527"/>
                  <a:gd name="T6" fmla="*/ 2 w 308"/>
                  <a:gd name="T7" fmla="*/ 0 h 527"/>
                  <a:gd name="T8" fmla="*/ 308 w 308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527">
                    <a:moveTo>
                      <a:pt x="308" y="175"/>
                    </a:moveTo>
                    <a:lnTo>
                      <a:pt x="305" y="527"/>
                    </a:lnTo>
                    <a:lnTo>
                      <a:pt x="0" y="351"/>
                    </a:lnTo>
                    <a:lnTo>
                      <a:pt x="2" y="0"/>
                    </a:lnTo>
                    <a:lnTo>
                      <a:pt x="308" y="175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8" name="Freeform 7"/>
              <p:cNvSpPr>
                <a:spLocks/>
              </p:cNvSpPr>
              <p:nvPr/>
            </p:nvSpPr>
            <p:spPr bwMode="auto">
              <a:xfrm>
                <a:off x="14122396" y="-2205042"/>
                <a:ext cx="484187" cy="836611"/>
              </a:xfrm>
              <a:custGeom>
                <a:avLst/>
                <a:gdLst>
                  <a:gd name="T0" fmla="*/ 0 w 305"/>
                  <a:gd name="T1" fmla="*/ 175 h 527"/>
                  <a:gd name="T2" fmla="*/ 0 w 305"/>
                  <a:gd name="T3" fmla="*/ 527 h 527"/>
                  <a:gd name="T4" fmla="*/ 305 w 305"/>
                  <a:gd name="T5" fmla="*/ 351 h 527"/>
                  <a:gd name="T6" fmla="*/ 305 w 305"/>
                  <a:gd name="T7" fmla="*/ 0 h 527"/>
                  <a:gd name="T8" fmla="*/ 0 w 305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5" h="527">
                    <a:moveTo>
                      <a:pt x="0" y="175"/>
                    </a:moveTo>
                    <a:lnTo>
                      <a:pt x="0" y="527"/>
                    </a:lnTo>
                    <a:lnTo>
                      <a:pt x="305" y="351"/>
                    </a:lnTo>
                    <a:lnTo>
                      <a:pt x="305" y="0"/>
                    </a:lnTo>
                    <a:lnTo>
                      <a:pt x="0" y="175"/>
                    </a:lnTo>
                    <a:close/>
                  </a:path>
                </a:pathLst>
              </a:cu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9" name="Freeform 8"/>
              <p:cNvSpPr>
                <a:spLocks/>
              </p:cNvSpPr>
              <p:nvPr/>
            </p:nvSpPr>
            <p:spPr bwMode="auto">
              <a:xfrm>
                <a:off x="13636621" y="-2484441"/>
                <a:ext cx="969962" cy="557212"/>
              </a:xfrm>
              <a:custGeom>
                <a:avLst/>
                <a:gdLst>
                  <a:gd name="T0" fmla="*/ 306 w 611"/>
                  <a:gd name="T1" fmla="*/ 351 h 351"/>
                  <a:gd name="T2" fmla="*/ 0 w 611"/>
                  <a:gd name="T3" fmla="*/ 173 h 351"/>
                  <a:gd name="T4" fmla="*/ 303 w 611"/>
                  <a:gd name="T5" fmla="*/ 0 h 351"/>
                  <a:gd name="T6" fmla="*/ 611 w 611"/>
                  <a:gd name="T7" fmla="*/ 173 h 351"/>
                  <a:gd name="T8" fmla="*/ 306 w 611"/>
                  <a:gd name="T9" fmla="*/ 351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1" h="351">
                    <a:moveTo>
                      <a:pt x="306" y="351"/>
                    </a:moveTo>
                    <a:lnTo>
                      <a:pt x="0" y="173"/>
                    </a:lnTo>
                    <a:lnTo>
                      <a:pt x="303" y="0"/>
                    </a:lnTo>
                    <a:lnTo>
                      <a:pt x="611" y="173"/>
                    </a:lnTo>
                    <a:lnTo>
                      <a:pt x="306" y="351"/>
                    </a:lnTo>
                    <a:close/>
                  </a:path>
                </a:pathLst>
              </a:custGeom>
              <a:solidFill>
                <a:srgbClr val="FCD1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10518590" y="2205906"/>
              <a:ext cx="1227128" cy="1233544"/>
              <a:chOff x="15478120" y="-2840041"/>
              <a:chExt cx="1820862" cy="1830385"/>
            </a:xfrm>
          </p:grpSpPr>
          <p:sp>
            <p:nvSpPr>
              <p:cNvPr id="22" name="Oval 9"/>
              <p:cNvSpPr>
                <a:spLocks noChangeArrowheads="1"/>
              </p:cNvSpPr>
              <p:nvPr/>
            </p:nvSpPr>
            <p:spPr bwMode="auto">
              <a:xfrm>
                <a:off x="15478120" y="-2840041"/>
                <a:ext cx="1820862" cy="1830385"/>
              </a:xfrm>
              <a:prstGeom prst="ellipse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3" name="Freeform 10"/>
              <p:cNvSpPr>
                <a:spLocks/>
              </p:cNvSpPr>
              <p:nvPr/>
            </p:nvSpPr>
            <p:spPr bwMode="auto">
              <a:xfrm>
                <a:off x="15901983" y="-2205042"/>
                <a:ext cx="488950" cy="836611"/>
              </a:xfrm>
              <a:custGeom>
                <a:avLst/>
                <a:gdLst>
                  <a:gd name="T0" fmla="*/ 308 w 308"/>
                  <a:gd name="T1" fmla="*/ 175 h 527"/>
                  <a:gd name="T2" fmla="*/ 305 w 308"/>
                  <a:gd name="T3" fmla="*/ 527 h 527"/>
                  <a:gd name="T4" fmla="*/ 0 w 308"/>
                  <a:gd name="T5" fmla="*/ 351 h 527"/>
                  <a:gd name="T6" fmla="*/ 0 w 308"/>
                  <a:gd name="T7" fmla="*/ 0 h 527"/>
                  <a:gd name="T8" fmla="*/ 308 w 308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527">
                    <a:moveTo>
                      <a:pt x="308" y="175"/>
                    </a:moveTo>
                    <a:lnTo>
                      <a:pt x="305" y="527"/>
                    </a:lnTo>
                    <a:lnTo>
                      <a:pt x="0" y="351"/>
                    </a:lnTo>
                    <a:lnTo>
                      <a:pt x="0" y="0"/>
                    </a:lnTo>
                    <a:lnTo>
                      <a:pt x="308" y="17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4" name="Freeform 11"/>
              <p:cNvSpPr>
                <a:spLocks/>
              </p:cNvSpPr>
              <p:nvPr/>
            </p:nvSpPr>
            <p:spPr bwMode="auto">
              <a:xfrm>
                <a:off x="16386170" y="-2205042"/>
                <a:ext cx="488950" cy="836611"/>
              </a:xfrm>
              <a:custGeom>
                <a:avLst/>
                <a:gdLst>
                  <a:gd name="T0" fmla="*/ 3 w 308"/>
                  <a:gd name="T1" fmla="*/ 175 h 527"/>
                  <a:gd name="T2" fmla="*/ 0 w 308"/>
                  <a:gd name="T3" fmla="*/ 527 h 527"/>
                  <a:gd name="T4" fmla="*/ 306 w 308"/>
                  <a:gd name="T5" fmla="*/ 351 h 527"/>
                  <a:gd name="T6" fmla="*/ 308 w 308"/>
                  <a:gd name="T7" fmla="*/ 0 h 527"/>
                  <a:gd name="T8" fmla="*/ 3 w 308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527">
                    <a:moveTo>
                      <a:pt x="3" y="175"/>
                    </a:moveTo>
                    <a:lnTo>
                      <a:pt x="0" y="527"/>
                    </a:lnTo>
                    <a:lnTo>
                      <a:pt x="306" y="351"/>
                    </a:lnTo>
                    <a:lnTo>
                      <a:pt x="308" y="0"/>
                    </a:lnTo>
                    <a:lnTo>
                      <a:pt x="3" y="175"/>
                    </a:lnTo>
                    <a:close/>
                  </a:path>
                </a:pathLst>
              </a:custGeom>
              <a:solidFill>
                <a:srgbClr val="007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5" name="Freeform 12"/>
              <p:cNvSpPr>
                <a:spLocks/>
              </p:cNvSpPr>
              <p:nvPr/>
            </p:nvSpPr>
            <p:spPr bwMode="auto">
              <a:xfrm>
                <a:off x="15901983" y="-2484441"/>
                <a:ext cx="973137" cy="557212"/>
              </a:xfrm>
              <a:custGeom>
                <a:avLst/>
                <a:gdLst>
                  <a:gd name="T0" fmla="*/ 308 w 613"/>
                  <a:gd name="T1" fmla="*/ 351 h 351"/>
                  <a:gd name="T2" fmla="*/ 0 w 613"/>
                  <a:gd name="T3" fmla="*/ 173 h 351"/>
                  <a:gd name="T4" fmla="*/ 305 w 613"/>
                  <a:gd name="T5" fmla="*/ 0 h 351"/>
                  <a:gd name="T6" fmla="*/ 613 w 613"/>
                  <a:gd name="T7" fmla="*/ 173 h 351"/>
                  <a:gd name="T8" fmla="*/ 308 w 613"/>
                  <a:gd name="T9" fmla="*/ 351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3" h="351">
                    <a:moveTo>
                      <a:pt x="308" y="351"/>
                    </a:moveTo>
                    <a:lnTo>
                      <a:pt x="0" y="173"/>
                    </a:lnTo>
                    <a:lnTo>
                      <a:pt x="305" y="0"/>
                    </a:lnTo>
                    <a:lnTo>
                      <a:pt x="613" y="173"/>
                    </a:lnTo>
                    <a:lnTo>
                      <a:pt x="308" y="351"/>
                    </a:lnTo>
                    <a:close/>
                  </a:path>
                </a:pathLst>
              </a:custGeom>
              <a:solidFill>
                <a:srgbClr val="55D4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10136778" y="3451591"/>
              <a:ext cx="1520689" cy="1531312"/>
              <a:chOff x="9685432" y="3577886"/>
              <a:chExt cx="1520689" cy="1531312"/>
            </a:xfrm>
          </p:grpSpPr>
          <p:sp>
            <p:nvSpPr>
              <p:cNvPr id="18" name="Oval 13"/>
              <p:cNvSpPr>
                <a:spLocks noChangeArrowheads="1"/>
              </p:cNvSpPr>
              <p:nvPr/>
            </p:nvSpPr>
            <p:spPr bwMode="auto">
              <a:xfrm>
                <a:off x="9685432" y="3577886"/>
                <a:ext cx="1520689" cy="1531312"/>
              </a:xfrm>
              <a:prstGeom prst="ellipse">
                <a:avLst/>
              </a:prstGeom>
              <a:solidFill>
                <a:srgbClr val="4668C5">
                  <a:alpha val="8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9" name="Freeform 14"/>
              <p:cNvSpPr>
                <a:spLocks/>
              </p:cNvSpPr>
              <p:nvPr/>
            </p:nvSpPr>
            <p:spPr bwMode="auto">
              <a:xfrm>
                <a:off x="10040039" y="4109130"/>
                <a:ext cx="406403" cy="699914"/>
              </a:xfrm>
              <a:custGeom>
                <a:avLst/>
                <a:gdLst>
                  <a:gd name="T0" fmla="*/ 306 w 306"/>
                  <a:gd name="T1" fmla="*/ 175 h 527"/>
                  <a:gd name="T2" fmla="*/ 306 w 306"/>
                  <a:gd name="T3" fmla="*/ 527 h 527"/>
                  <a:gd name="T4" fmla="*/ 0 w 306"/>
                  <a:gd name="T5" fmla="*/ 351 h 527"/>
                  <a:gd name="T6" fmla="*/ 0 w 306"/>
                  <a:gd name="T7" fmla="*/ 0 h 527"/>
                  <a:gd name="T8" fmla="*/ 306 w 306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6" h="527">
                    <a:moveTo>
                      <a:pt x="306" y="175"/>
                    </a:moveTo>
                    <a:lnTo>
                      <a:pt x="306" y="527"/>
                    </a:lnTo>
                    <a:lnTo>
                      <a:pt x="0" y="351"/>
                    </a:lnTo>
                    <a:lnTo>
                      <a:pt x="0" y="0"/>
                    </a:lnTo>
                    <a:lnTo>
                      <a:pt x="306" y="175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0" name="Freeform 15"/>
              <p:cNvSpPr>
                <a:spLocks/>
              </p:cNvSpPr>
              <p:nvPr/>
            </p:nvSpPr>
            <p:spPr bwMode="auto">
              <a:xfrm>
                <a:off x="10446440" y="4109130"/>
                <a:ext cx="405074" cy="699914"/>
              </a:xfrm>
              <a:custGeom>
                <a:avLst/>
                <a:gdLst>
                  <a:gd name="T0" fmla="*/ 0 w 305"/>
                  <a:gd name="T1" fmla="*/ 175 h 527"/>
                  <a:gd name="T2" fmla="*/ 0 w 305"/>
                  <a:gd name="T3" fmla="*/ 527 h 527"/>
                  <a:gd name="T4" fmla="*/ 305 w 305"/>
                  <a:gd name="T5" fmla="*/ 351 h 527"/>
                  <a:gd name="T6" fmla="*/ 305 w 305"/>
                  <a:gd name="T7" fmla="*/ 0 h 527"/>
                  <a:gd name="T8" fmla="*/ 0 w 305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5" h="527">
                    <a:moveTo>
                      <a:pt x="0" y="175"/>
                    </a:moveTo>
                    <a:lnTo>
                      <a:pt x="0" y="527"/>
                    </a:lnTo>
                    <a:lnTo>
                      <a:pt x="305" y="351"/>
                    </a:lnTo>
                    <a:lnTo>
                      <a:pt x="305" y="0"/>
                    </a:lnTo>
                    <a:lnTo>
                      <a:pt x="0" y="175"/>
                    </a:lnTo>
                    <a:close/>
                  </a:path>
                </a:pathLst>
              </a:cu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1" name="Freeform 16"/>
              <p:cNvSpPr>
                <a:spLocks/>
              </p:cNvSpPr>
              <p:nvPr/>
            </p:nvSpPr>
            <p:spPr bwMode="auto">
              <a:xfrm>
                <a:off x="10040039" y="3875383"/>
                <a:ext cx="811477" cy="466167"/>
              </a:xfrm>
              <a:custGeom>
                <a:avLst/>
                <a:gdLst>
                  <a:gd name="T0" fmla="*/ 306 w 611"/>
                  <a:gd name="T1" fmla="*/ 351 h 351"/>
                  <a:gd name="T2" fmla="*/ 0 w 611"/>
                  <a:gd name="T3" fmla="*/ 173 h 351"/>
                  <a:gd name="T4" fmla="*/ 306 w 611"/>
                  <a:gd name="T5" fmla="*/ 0 h 351"/>
                  <a:gd name="T6" fmla="*/ 611 w 611"/>
                  <a:gd name="T7" fmla="*/ 173 h 351"/>
                  <a:gd name="T8" fmla="*/ 306 w 611"/>
                  <a:gd name="T9" fmla="*/ 351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1" h="351">
                    <a:moveTo>
                      <a:pt x="306" y="351"/>
                    </a:moveTo>
                    <a:lnTo>
                      <a:pt x="0" y="173"/>
                    </a:lnTo>
                    <a:lnTo>
                      <a:pt x="306" y="0"/>
                    </a:lnTo>
                    <a:lnTo>
                      <a:pt x="611" y="173"/>
                    </a:lnTo>
                    <a:lnTo>
                      <a:pt x="306" y="351"/>
                    </a:lnTo>
                    <a:close/>
                  </a:path>
                </a:pathLst>
              </a:custGeom>
              <a:solidFill>
                <a:srgbClr val="9B4F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</p:grpSp>
        <p:sp>
          <p:nvSpPr>
            <p:cNvPr id="15" name="TextBox 14"/>
            <p:cNvSpPr txBox="1"/>
            <p:nvPr/>
          </p:nvSpPr>
          <p:spPr>
            <a:xfrm>
              <a:off x="10272407" y="5327699"/>
              <a:ext cx="593726" cy="593726"/>
            </a:xfrm>
            <a:prstGeom prst="ellipse">
              <a:avLst/>
            </a:prstGeom>
            <a:solidFill>
              <a:schemeClr val="accent5"/>
            </a:solidFill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88"/>
                </a:spcAft>
              </a:pPr>
              <a:endParaRPr lang="en-US" sz="1372" b="1">
                <a:solidFill>
                  <a:schemeClr val="accent5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8991666" y="5478462"/>
              <a:ext cx="593726" cy="593726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88"/>
                </a:spcAft>
              </a:pPr>
              <a:endParaRPr lang="en-US" sz="1372" b="1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8925987" y="5964668"/>
              <a:ext cx="914400" cy="914400"/>
            </a:xfrm>
            <a:prstGeom prst="ellipse">
              <a:avLst/>
            </a:prstGeom>
            <a:solidFill>
              <a:schemeClr val="tx2"/>
            </a:solidFill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88"/>
                </a:spcAft>
              </a:pPr>
              <a:endParaRPr lang="en-US" sz="1765" b="1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9429121"/>
      </p:ext>
    </p:extLst>
  </p:cSld>
  <p:clrMapOvr>
    <a:masterClrMapping/>
  </p:clrMapOvr>
  <p:transition advClick="0"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8pt Title/16pt Tex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8750521" y="1315052"/>
            <a:ext cx="3441479" cy="5429745"/>
            <a:chOff x="8925987" y="1341231"/>
            <a:chExt cx="3510488" cy="5537837"/>
          </a:xfrm>
        </p:grpSpPr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9080596" y="2696006"/>
              <a:ext cx="3246304" cy="4001502"/>
            </a:xfrm>
            <a:custGeom>
              <a:avLst/>
              <a:gdLst>
                <a:gd name="T0" fmla="*/ 0 w 2476"/>
                <a:gd name="T1" fmla="*/ 2588 h 3052"/>
                <a:gd name="T2" fmla="*/ 1237 w 2476"/>
                <a:gd name="T3" fmla="*/ 0 h 3052"/>
                <a:gd name="T4" fmla="*/ 2476 w 2476"/>
                <a:gd name="T5" fmla="*/ 976 h 3052"/>
                <a:gd name="T6" fmla="*/ 495 w 2476"/>
                <a:gd name="T7" fmla="*/ 3052 h 3052"/>
                <a:gd name="T8" fmla="*/ 0 w 2476"/>
                <a:gd name="T9" fmla="*/ 2588 h 3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6" h="3052">
                  <a:moveTo>
                    <a:pt x="0" y="2588"/>
                  </a:moveTo>
                  <a:lnTo>
                    <a:pt x="1237" y="0"/>
                  </a:lnTo>
                  <a:lnTo>
                    <a:pt x="2476" y="976"/>
                  </a:lnTo>
                  <a:lnTo>
                    <a:pt x="495" y="3052"/>
                  </a:lnTo>
                  <a:lnTo>
                    <a:pt x="0" y="258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14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11185247" y="1341231"/>
              <a:ext cx="1239838" cy="813644"/>
            </a:xfrm>
            <a:custGeom>
              <a:avLst/>
              <a:gdLst>
                <a:gd name="T0" fmla="*/ 168 w 1054"/>
                <a:gd name="T1" fmla="*/ 303 h 690"/>
                <a:gd name="T2" fmla="*/ 168 w 1054"/>
                <a:gd name="T3" fmla="*/ 289 h 690"/>
                <a:gd name="T4" fmla="*/ 459 w 1054"/>
                <a:gd name="T5" fmla="*/ 0 h 690"/>
                <a:gd name="T6" fmla="*/ 701 w 1054"/>
                <a:gd name="T7" fmla="*/ 129 h 690"/>
                <a:gd name="T8" fmla="*/ 781 w 1054"/>
                <a:gd name="T9" fmla="*/ 108 h 690"/>
                <a:gd name="T10" fmla="*/ 875 w 1054"/>
                <a:gd name="T11" fmla="*/ 136 h 690"/>
                <a:gd name="T12" fmla="*/ 950 w 1054"/>
                <a:gd name="T13" fmla="*/ 272 h 690"/>
                <a:gd name="T14" fmla="*/ 1054 w 1054"/>
                <a:gd name="T15" fmla="*/ 463 h 690"/>
                <a:gd name="T16" fmla="*/ 851 w 1054"/>
                <a:gd name="T17" fmla="*/ 690 h 690"/>
                <a:gd name="T18" fmla="*/ 825 w 1054"/>
                <a:gd name="T19" fmla="*/ 690 h 690"/>
                <a:gd name="T20" fmla="*/ 802 w 1054"/>
                <a:gd name="T21" fmla="*/ 690 h 690"/>
                <a:gd name="T22" fmla="*/ 327 w 1054"/>
                <a:gd name="T23" fmla="*/ 690 h 690"/>
                <a:gd name="T24" fmla="*/ 318 w 1054"/>
                <a:gd name="T25" fmla="*/ 690 h 690"/>
                <a:gd name="T26" fmla="*/ 306 w 1054"/>
                <a:gd name="T27" fmla="*/ 690 h 690"/>
                <a:gd name="T28" fmla="*/ 271 w 1054"/>
                <a:gd name="T29" fmla="*/ 690 h 690"/>
                <a:gd name="T30" fmla="*/ 195 w 1054"/>
                <a:gd name="T31" fmla="*/ 690 h 690"/>
                <a:gd name="T32" fmla="*/ 0 w 1054"/>
                <a:gd name="T33" fmla="*/ 495 h 690"/>
                <a:gd name="T34" fmla="*/ 168 w 1054"/>
                <a:gd name="T35" fmla="*/ 303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4" h="690">
                  <a:moveTo>
                    <a:pt x="168" y="303"/>
                  </a:moveTo>
                  <a:cubicBezTo>
                    <a:pt x="168" y="299"/>
                    <a:pt x="168" y="293"/>
                    <a:pt x="168" y="289"/>
                  </a:cubicBezTo>
                  <a:cubicBezTo>
                    <a:pt x="168" y="129"/>
                    <a:pt x="298" y="0"/>
                    <a:pt x="459" y="0"/>
                  </a:cubicBezTo>
                  <a:cubicBezTo>
                    <a:pt x="560" y="0"/>
                    <a:pt x="649" y="52"/>
                    <a:pt x="701" y="129"/>
                  </a:cubicBezTo>
                  <a:cubicBezTo>
                    <a:pt x="725" y="116"/>
                    <a:pt x="752" y="108"/>
                    <a:pt x="781" y="108"/>
                  </a:cubicBezTo>
                  <a:cubicBezTo>
                    <a:pt x="816" y="108"/>
                    <a:pt x="848" y="118"/>
                    <a:pt x="875" y="136"/>
                  </a:cubicBezTo>
                  <a:cubicBezTo>
                    <a:pt x="919" y="166"/>
                    <a:pt x="948" y="215"/>
                    <a:pt x="950" y="272"/>
                  </a:cubicBezTo>
                  <a:cubicBezTo>
                    <a:pt x="1012" y="312"/>
                    <a:pt x="1054" y="384"/>
                    <a:pt x="1054" y="463"/>
                  </a:cubicBezTo>
                  <a:cubicBezTo>
                    <a:pt x="1054" y="580"/>
                    <a:pt x="965" y="676"/>
                    <a:pt x="851" y="690"/>
                  </a:cubicBezTo>
                  <a:cubicBezTo>
                    <a:pt x="843" y="690"/>
                    <a:pt x="833" y="690"/>
                    <a:pt x="825" y="690"/>
                  </a:cubicBezTo>
                  <a:cubicBezTo>
                    <a:pt x="818" y="690"/>
                    <a:pt x="810" y="690"/>
                    <a:pt x="802" y="690"/>
                  </a:cubicBezTo>
                  <a:cubicBezTo>
                    <a:pt x="696" y="690"/>
                    <a:pt x="446" y="690"/>
                    <a:pt x="327" y="690"/>
                  </a:cubicBezTo>
                  <a:cubicBezTo>
                    <a:pt x="324" y="690"/>
                    <a:pt x="320" y="690"/>
                    <a:pt x="318" y="690"/>
                  </a:cubicBezTo>
                  <a:cubicBezTo>
                    <a:pt x="306" y="690"/>
                    <a:pt x="306" y="690"/>
                    <a:pt x="306" y="690"/>
                  </a:cubicBezTo>
                  <a:cubicBezTo>
                    <a:pt x="300" y="690"/>
                    <a:pt x="283" y="690"/>
                    <a:pt x="271" y="690"/>
                  </a:cubicBezTo>
                  <a:cubicBezTo>
                    <a:pt x="195" y="690"/>
                    <a:pt x="195" y="690"/>
                    <a:pt x="195" y="690"/>
                  </a:cubicBezTo>
                  <a:cubicBezTo>
                    <a:pt x="87" y="688"/>
                    <a:pt x="0" y="601"/>
                    <a:pt x="0" y="495"/>
                  </a:cubicBezTo>
                  <a:cubicBezTo>
                    <a:pt x="0" y="397"/>
                    <a:pt x="73" y="316"/>
                    <a:pt x="168" y="30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10332390" y="1583889"/>
              <a:ext cx="1239838" cy="813644"/>
            </a:xfrm>
            <a:custGeom>
              <a:avLst/>
              <a:gdLst>
                <a:gd name="T0" fmla="*/ 168 w 1054"/>
                <a:gd name="T1" fmla="*/ 303 h 690"/>
                <a:gd name="T2" fmla="*/ 168 w 1054"/>
                <a:gd name="T3" fmla="*/ 289 h 690"/>
                <a:gd name="T4" fmla="*/ 459 w 1054"/>
                <a:gd name="T5" fmla="*/ 0 h 690"/>
                <a:gd name="T6" fmla="*/ 701 w 1054"/>
                <a:gd name="T7" fmla="*/ 129 h 690"/>
                <a:gd name="T8" fmla="*/ 781 w 1054"/>
                <a:gd name="T9" fmla="*/ 108 h 690"/>
                <a:gd name="T10" fmla="*/ 875 w 1054"/>
                <a:gd name="T11" fmla="*/ 136 h 690"/>
                <a:gd name="T12" fmla="*/ 950 w 1054"/>
                <a:gd name="T13" fmla="*/ 272 h 690"/>
                <a:gd name="T14" fmla="*/ 1054 w 1054"/>
                <a:gd name="T15" fmla="*/ 463 h 690"/>
                <a:gd name="T16" fmla="*/ 851 w 1054"/>
                <a:gd name="T17" fmla="*/ 690 h 690"/>
                <a:gd name="T18" fmla="*/ 825 w 1054"/>
                <a:gd name="T19" fmla="*/ 690 h 690"/>
                <a:gd name="T20" fmla="*/ 802 w 1054"/>
                <a:gd name="T21" fmla="*/ 690 h 690"/>
                <a:gd name="T22" fmla="*/ 327 w 1054"/>
                <a:gd name="T23" fmla="*/ 690 h 690"/>
                <a:gd name="T24" fmla="*/ 318 w 1054"/>
                <a:gd name="T25" fmla="*/ 690 h 690"/>
                <a:gd name="T26" fmla="*/ 306 w 1054"/>
                <a:gd name="T27" fmla="*/ 690 h 690"/>
                <a:gd name="T28" fmla="*/ 271 w 1054"/>
                <a:gd name="T29" fmla="*/ 690 h 690"/>
                <a:gd name="T30" fmla="*/ 195 w 1054"/>
                <a:gd name="T31" fmla="*/ 690 h 690"/>
                <a:gd name="T32" fmla="*/ 0 w 1054"/>
                <a:gd name="T33" fmla="*/ 495 h 690"/>
                <a:gd name="T34" fmla="*/ 168 w 1054"/>
                <a:gd name="T35" fmla="*/ 303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4" h="690">
                  <a:moveTo>
                    <a:pt x="168" y="303"/>
                  </a:moveTo>
                  <a:cubicBezTo>
                    <a:pt x="168" y="299"/>
                    <a:pt x="168" y="293"/>
                    <a:pt x="168" y="289"/>
                  </a:cubicBezTo>
                  <a:cubicBezTo>
                    <a:pt x="168" y="129"/>
                    <a:pt x="298" y="0"/>
                    <a:pt x="459" y="0"/>
                  </a:cubicBezTo>
                  <a:cubicBezTo>
                    <a:pt x="560" y="0"/>
                    <a:pt x="649" y="52"/>
                    <a:pt x="701" y="129"/>
                  </a:cubicBezTo>
                  <a:cubicBezTo>
                    <a:pt x="725" y="116"/>
                    <a:pt x="752" y="108"/>
                    <a:pt x="781" y="108"/>
                  </a:cubicBezTo>
                  <a:cubicBezTo>
                    <a:pt x="816" y="108"/>
                    <a:pt x="848" y="118"/>
                    <a:pt x="875" y="136"/>
                  </a:cubicBezTo>
                  <a:cubicBezTo>
                    <a:pt x="919" y="166"/>
                    <a:pt x="948" y="215"/>
                    <a:pt x="950" y="272"/>
                  </a:cubicBezTo>
                  <a:cubicBezTo>
                    <a:pt x="1012" y="312"/>
                    <a:pt x="1054" y="384"/>
                    <a:pt x="1054" y="463"/>
                  </a:cubicBezTo>
                  <a:cubicBezTo>
                    <a:pt x="1054" y="580"/>
                    <a:pt x="965" y="676"/>
                    <a:pt x="851" y="690"/>
                  </a:cubicBezTo>
                  <a:cubicBezTo>
                    <a:pt x="843" y="690"/>
                    <a:pt x="833" y="690"/>
                    <a:pt x="825" y="690"/>
                  </a:cubicBezTo>
                  <a:cubicBezTo>
                    <a:pt x="818" y="690"/>
                    <a:pt x="810" y="690"/>
                    <a:pt x="802" y="690"/>
                  </a:cubicBezTo>
                  <a:cubicBezTo>
                    <a:pt x="696" y="690"/>
                    <a:pt x="446" y="690"/>
                    <a:pt x="327" y="690"/>
                  </a:cubicBezTo>
                  <a:cubicBezTo>
                    <a:pt x="324" y="690"/>
                    <a:pt x="320" y="690"/>
                    <a:pt x="318" y="690"/>
                  </a:cubicBezTo>
                  <a:cubicBezTo>
                    <a:pt x="306" y="690"/>
                    <a:pt x="306" y="690"/>
                    <a:pt x="306" y="690"/>
                  </a:cubicBezTo>
                  <a:cubicBezTo>
                    <a:pt x="300" y="690"/>
                    <a:pt x="283" y="690"/>
                    <a:pt x="271" y="690"/>
                  </a:cubicBezTo>
                  <a:cubicBezTo>
                    <a:pt x="195" y="690"/>
                    <a:pt x="195" y="690"/>
                    <a:pt x="195" y="690"/>
                  </a:cubicBezTo>
                  <a:cubicBezTo>
                    <a:pt x="87" y="688"/>
                    <a:pt x="0" y="601"/>
                    <a:pt x="0" y="495"/>
                  </a:cubicBezTo>
                  <a:cubicBezTo>
                    <a:pt x="0" y="397"/>
                    <a:pt x="73" y="316"/>
                    <a:pt x="168" y="30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9405174" y="1369064"/>
              <a:ext cx="895827" cy="587887"/>
            </a:xfrm>
            <a:custGeom>
              <a:avLst/>
              <a:gdLst>
                <a:gd name="T0" fmla="*/ 168 w 1054"/>
                <a:gd name="T1" fmla="*/ 303 h 690"/>
                <a:gd name="T2" fmla="*/ 168 w 1054"/>
                <a:gd name="T3" fmla="*/ 289 h 690"/>
                <a:gd name="T4" fmla="*/ 459 w 1054"/>
                <a:gd name="T5" fmla="*/ 0 h 690"/>
                <a:gd name="T6" fmla="*/ 701 w 1054"/>
                <a:gd name="T7" fmla="*/ 129 h 690"/>
                <a:gd name="T8" fmla="*/ 781 w 1054"/>
                <a:gd name="T9" fmla="*/ 108 h 690"/>
                <a:gd name="T10" fmla="*/ 875 w 1054"/>
                <a:gd name="T11" fmla="*/ 136 h 690"/>
                <a:gd name="T12" fmla="*/ 950 w 1054"/>
                <a:gd name="T13" fmla="*/ 272 h 690"/>
                <a:gd name="T14" fmla="*/ 1054 w 1054"/>
                <a:gd name="T15" fmla="*/ 463 h 690"/>
                <a:gd name="T16" fmla="*/ 851 w 1054"/>
                <a:gd name="T17" fmla="*/ 690 h 690"/>
                <a:gd name="T18" fmla="*/ 825 w 1054"/>
                <a:gd name="T19" fmla="*/ 690 h 690"/>
                <a:gd name="T20" fmla="*/ 802 w 1054"/>
                <a:gd name="T21" fmla="*/ 690 h 690"/>
                <a:gd name="T22" fmla="*/ 327 w 1054"/>
                <a:gd name="T23" fmla="*/ 690 h 690"/>
                <a:gd name="T24" fmla="*/ 318 w 1054"/>
                <a:gd name="T25" fmla="*/ 690 h 690"/>
                <a:gd name="T26" fmla="*/ 306 w 1054"/>
                <a:gd name="T27" fmla="*/ 690 h 690"/>
                <a:gd name="T28" fmla="*/ 271 w 1054"/>
                <a:gd name="T29" fmla="*/ 690 h 690"/>
                <a:gd name="T30" fmla="*/ 195 w 1054"/>
                <a:gd name="T31" fmla="*/ 690 h 690"/>
                <a:gd name="T32" fmla="*/ 0 w 1054"/>
                <a:gd name="T33" fmla="*/ 495 h 690"/>
                <a:gd name="T34" fmla="*/ 168 w 1054"/>
                <a:gd name="T35" fmla="*/ 303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4" h="690">
                  <a:moveTo>
                    <a:pt x="168" y="303"/>
                  </a:moveTo>
                  <a:cubicBezTo>
                    <a:pt x="168" y="299"/>
                    <a:pt x="168" y="293"/>
                    <a:pt x="168" y="289"/>
                  </a:cubicBezTo>
                  <a:cubicBezTo>
                    <a:pt x="168" y="129"/>
                    <a:pt x="298" y="0"/>
                    <a:pt x="459" y="0"/>
                  </a:cubicBezTo>
                  <a:cubicBezTo>
                    <a:pt x="560" y="0"/>
                    <a:pt x="649" y="52"/>
                    <a:pt x="701" y="129"/>
                  </a:cubicBezTo>
                  <a:cubicBezTo>
                    <a:pt x="725" y="116"/>
                    <a:pt x="752" y="108"/>
                    <a:pt x="781" y="108"/>
                  </a:cubicBezTo>
                  <a:cubicBezTo>
                    <a:pt x="816" y="108"/>
                    <a:pt x="848" y="118"/>
                    <a:pt x="875" y="136"/>
                  </a:cubicBezTo>
                  <a:cubicBezTo>
                    <a:pt x="919" y="166"/>
                    <a:pt x="948" y="215"/>
                    <a:pt x="950" y="272"/>
                  </a:cubicBezTo>
                  <a:cubicBezTo>
                    <a:pt x="1012" y="312"/>
                    <a:pt x="1054" y="384"/>
                    <a:pt x="1054" y="463"/>
                  </a:cubicBezTo>
                  <a:cubicBezTo>
                    <a:pt x="1054" y="580"/>
                    <a:pt x="965" y="676"/>
                    <a:pt x="851" y="690"/>
                  </a:cubicBezTo>
                  <a:cubicBezTo>
                    <a:pt x="843" y="690"/>
                    <a:pt x="833" y="690"/>
                    <a:pt x="825" y="690"/>
                  </a:cubicBezTo>
                  <a:cubicBezTo>
                    <a:pt x="818" y="690"/>
                    <a:pt x="810" y="690"/>
                    <a:pt x="802" y="690"/>
                  </a:cubicBezTo>
                  <a:cubicBezTo>
                    <a:pt x="696" y="690"/>
                    <a:pt x="446" y="690"/>
                    <a:pt x="327" y="690"/>
                  </a:cubicBezTo>
                  <a:cubicBezTo>
                    <a:pt x="324" y="690"/>
                    <a:pt x="320" y="690"/>
                    <a:pt x="318" y="690"/>
                  </a:cubicBezTo>
                  <a:cubicBezTo>
                    <a:pt x="306" y="690"/>
                    <a:pt x="306" y="690"/>
                    <a:pt x="306" y="690"/>
                  </a:cubicBezTo>
                  <a:cubicBezTo>
                    <a:pt x="300" y="690"/>
                    <a:pt x="283" y="690"/>
                    <a:pt x="271" y="690"/>
                  </a:cubicBezTo>
                  <a:cubicBezTo>
                    <a:pt x="195" y="690"/>
                    <a:pt x="195" y="690"/>
                    <a:pt x="195" y="690"/>
                  </a:cubicBezTo>
                  <a:cubicBezTo>
                    <a:pt x="87" y="688"/>
                    <a:pt x="0" y="601"/>
                    <a:pt x="0" y="495"/>
                  </a:cubicBezTo>
                  <a:cubicBezTo>
                    <a:pt x="0" y="397"/>
                    <a:pt x="73" y="316"/>
                    <a:pt x="168" y="30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11280477" y="3072737"/>
              <a:ext cx="1155998" cy="1162044"/>
              <a:chOff x="13209584" y="-2840041"/>
              <a:chExt cx="1820862" cy="1830385"/>
            </a:xfrm>
          </p:grpSpPr>
          <p:sp>
            <p:nvSpPr>
              <p:cNvPr id="26" name="Oval 5"/>
              <p:cNvSpPr>
                <a:spLocks noChangeArrowheads="1"/>
              </p:cNvSpPr>
              <p:nvPr/>
            </p:nvSpPr>
            <p:spPr bwMode="auto">
              <a:xfrm>
                <a:off x="13209584" y="-2840041"/>
                <a:ext cx="1820862" cy="1830385"/>
              </a:xfrm>
              <a:prstGeom prst="ellipse">
                <a:avLst/>
              </a:prstGeom>
              <a:solidFill>
                <a:srgbClr val="FFB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7" name="Freeform 6"/>
              <p:cNvSpPr>
                <a:spLocks/>
              </p:cNvSpPr>
              <p:nvPr/>
            </p:nvSpPr>
            <p:spPr bwMode="auto">
              <a:xfrm>
                <a:off x="13633446" y="-2205042"/>
                <a:ext cx="488950" cy="836611"/>
              </a:xfrm>
              <a:custGeom>
                <a:avLst/>
                <a:gdLst>
                  <a:gd name="T0" fmla="*/ 308 w 308"/>
                  <a:gd name="T1" fmla="*/ 175 h 527"/>
                  <a:gd name="T2" fmla="*/ 305 w 308"/>
                  <a:gd name="T3" fmla="*/ 527 h 527"/>
                  <a:gd name="T4" fmla="*/ 0 w 308"/>
                  <a:gd name="T5" fmla="*/ 351 h 527"/>
                  <a:gd name="T6" fmla="*/ 2 w 308"/>
                  <a:gd name="T7" fmla="*/ 0 h 527"/>
                  <a:gd name="T8" fmla="*/ 308 w 308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527">
                    <a:moveTo>
                      <a:pt x="308" y="175"/>
                    </a:moveTo>
                    <a:lnTo>
                      <a:pt x="305" y="527"/>
                    </a:lnTo>
                    <a:lnTo>
                      <a:pt x="0" y="351"/>
                    </a:lnTo>
                    <a:lnTo>
                      <a:pt x="2" y="0"/>
                    </a:lnTo>
                    <a:lnTo>
                      <a:pt x="308" y="175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8" name="Freeform 7"/>
              <p:cNvSpPr>
                <a:spLocks/>
              </p:cNvSpPr>
              <p:nvPr/>
            </p:nvSpPr>
            <p:spPr bwMode="auto">
              <a:xfrm>
                <a:off x="14122396" y="-2205042"/>
                <a:ext cx="484187" cy="836611"/>
              </a:xfrm>
              <a:custGeom>
                <a:avLst/>
                <a:gdLst>
                  <a:gd name="T0" fmla="*/ 0 w 305"/>
                  <a:gd name="T1" fmla="*/ 175 h 527"/>
                  <a:gd name="T2" fmla="*/ 0 w 305"/>
                  <a:gd name="T3" fmla="*/ 527 h 527"/>
                  <a:gd name="T4" fmla="*/ 305 w 305"/>
                  <a:gd name="T5" fmla="*/ 351 h 527"/>
                  <a:gd name="T6" fmla="*/ 305 w 305"/>
                  <a:gd name="T7" fmla="*/ 0 h 527"/>
                  <a:gd name="T8" fmla="*/ 0 w 305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5" h="527">
                    <a:moveTo>
                      <a:pt x="0" y="175"/>
                    </a:moveTo>
                    <a:lnTo>
                      <a:pt x="0" y="527"/>
                    </a:lnTo>
                    <a:lnTo>
                      <a:pt x="305" y="351"/>
                    </a:lnTo>
                    <a:lnTo>
                      <a:pt x="305" y="0"/>
                    </a:lnTo>
                    <a:lnTo>
                      <a:pt x="0" y="175"/>
                    </a:lnTo>
                    <a:close/>
                  </a:path>
                </a:pathLst>
              </a:cu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9" name="Freeform 8"/>
              <p:cNvSpPr>
                <a:spLocks/>
              </p:cNvSpPr>
              <p:nvPr/>
            </p:nvSpPr>
            <p:spPr bwMode="auto">
              <a:xfrm>
                <a:off x="13636621" y="-2484441"/>
                <a:ext cx="969962" cy="557212"/>
              </a:xfrm>
              <a:custGeom>
                <a:avLst/>
                <a:gdLst>
                  <a:gd name="T0" fmla="*/ 306 w 611"/>
                  <a:gd name="T1" fmla="*/ 351 h 351"/>
                  <a:gd name="T2" fmla="*/ 0 w 611"/>
                  <a:gd name="T3" fmla="*/ 173 h 351"/>
                  <a:gd name="T4" fmla="*/ 303 w 611"/>
                  <a:gd name="T5" fmla="*/ 0 h 351"/>
                  <a:gd name="T6" fmla="*/ 611 w 611"/>
                  <a:gd name="T7" fmla="*/ 173 h 351"/>
                  <a:gd name="T8" fmla="*/ 306 w 611"/>
                  <a:gd name="T9" fmla="*/ 351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1" h="351">
                    <a:moveTo>
                      <a:pt x="306" y="351"/>
                    </a:moveTo>
                    <a:lnTo>
                      <a:pt x="0" y="173"/>
                    </a:lnTo>
                    <a:lnTo>
                      <a:pt x="303" y="0"/>
                    </a:lnTo>
                    <a:lnTo>
                      <a:pt x="611" y="173"/>
                    </a:lnTo>
                    <a:lnTo>
                      <a:pt x="306" y="351"/>
                    </a:lnTo>
                    <a:close/>
                  </a:path>
                </a:pathLst>
              </a:custGeom>
              <a:solidFill>
                <a:srgbClr val="FCD1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10518590" y="2205906"/>
              <a:ext cx="1227128" cy="1233544"/>
              <a:chOff x="15478120" y="-2840041"/>
              <a:chExt cx="1820862" cy="1830385"/>
            </a:xfrm>
          </p:grpSpPr>
          <p:sp>
            <p:nvSpPr>
              <p:cNvPr id="22" name="Oval 9"/>
              <p:cNvSpPr>
                <a:spLocks noChangeArrowheads="1"/>
              </p:cNvSpPr>
              <p:nvPr/>
            </p:nvSpPr>
            <p:spPr bwMode="auto">
              <a:xfrm>
                <a:off x="15478120" y="-2840041"/>
                <a:ext cx="1820862" cy="1830385"/>
              </a:xfrm>
              <a:prstGeom prst="ellipse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3" name="Freeform 10"/>
              <p:cNvSpPr>
                <a:spLocks/>
              </p:cNvSpPr>
              <p:nvPr/>
            </p:nvSpPr>
            <p:spPr bwMode="auto">
              <a:xfrm>
                <a:off x="15901983" y="-2205042"/>
                <a:ext cx="488950" cy="836611"/>
              </a:xfrm>
              <a:custGeom>
                <a:avLst/>
                <a:gdLst>
                  <a:gd name="T0" fmla="*/ 308 w 308"/>
                  <a:gd name="T1" fmla="*/ 175 h 527"/>
                  <a:gd name="T2" fmla="*/ 305 w 308"/>
                  <a:gd name="T3" fmla="*/ 527 h 527"/>
                  <a:gd name="T4" fmla="*/ 0 w 308"/>
                  <a:gd name="T5" fmla="*/ 351 h 527"/>
                  <a:gd name="T6" fmla="*/ 0 w 308"/>
                  <a:gd name="T7" fmla="*/ 0 h 527"/>
                  <a:gd name="T8" fmla="*/ 308 w 308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527">
                    <a:moveTo>
                      <a:pt x="308" y="175"/>
                    </a:moveTo>
                    <a:lnTo>
                      <a:pt x="305" y="527"/>
                    </a:lnTo>
                    <a:lnTo>
                      <a:pt x="0" y="351"/>
                    </a:lnTo>
                    <a:lnTo>
                      <a:pt x="0" y="0"/>
                    </a:lnTo>
                    <a:lnTo>
                      <a:pt x="308" y="17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4" name="Freeform 11"/>
              <p:cNvSpPr>
                <a:spLocks/>
              </p:cNvSpPr>
              <p:nvPr/>
            </p:nvSpPr>
            <p:spPr bwMode="auto">
              <a:xfrm>
                <a:off x="16386170" y="-2205042"/>
                <a:ext cx="488950" cy="836611"/>
              </a:xfrm>
              <a:custGeom>
                <a:avLst/>
                <a:gdLst>
                  <a:gd name="T0" fmla="*/ 3 w 308"/>
                  <a:gd name="T1" fmla="*/ 175 h 527"/>
                  <a:gd name="T2" fmla="*/ 0 w 308"/>
                  <a:gd name="T3" fmla="*/ 527 h 527"/>
                  <a:gd name="T4" fmla="*/ 306 w 308"/>
                  <a:gd name="T5" fmla="*/ 351 h 527"/>
                  <a:gd name="T6" fmla="*/ 308 w 308"/>
                  <a:gd name="T7" fmla="*/ 0 h 527"/>
                  <a:gd name="T8" fmla="*/ 3 w 308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527">
                    <a:moveTo>
                      <a:pt x="3" y="175"/>
                    </a:moveTo>
                    <a:lnTo>
                      <a:pt x="0" y="527"/>
                    </a:lnTo>
                    <a:lnTo>
                      <a:pt x="306" y="351"/>
                    </a:lnTo>
                    <a:lnTo>
                      <a:pt x="308" y="0"/>
                    </a:lnTo>
                    <a:lnTo>
                      <a:pt x="3" y="175"/>
                    </a:lnTo>
                    <a:close/>
                  </a:path>
                </a:pathLst>
              </a:custGeom>
              <a:solidFill>
                <a:srgbClr val="007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5" name="Freeform 12"/>
              <p:cNvSpPr>
                <a:spLocks/>
              </p:cNvSpPr>
              <p:nvPr/>
            </p:nvSpPr>
            <p:spPr bwMode="auto">
              <a:xfrm>
                <a:off x="15901983" y="-2484441"/>
                <a:ext cx="973137" cy="557212"/>
              </a:xfrm>
              <a:custGeom>
                <a:avLst/>
                <a:gdLst>
                  <a:gd name="T0" fmla="*/ 308 w 613"/>
                  <a:gd name="T1" fmla="*/ 351 h 351"/>
                  <a:gd name="T2" fmla="*/ 0 w 613"/>
                  <a:gd name="T3" fmla="*/ 173 h 351"/>
                  <a:gd name="T4" fmla="*/ 305 w 613"/>
                  <a:gd name="T5" fmla="*/ 0 h 351"/>
                  <a:gd name="T6" fmla="*/ 613 w 613"/>
                  <a:gd name="T7" fmla="*/ 173 h 351"/>
                  <a:gd name="T8" fmla="*/ 308 w 613"/>
                  <a:gd name="T9" fmla="*/ 351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3" h="351">
                    <a:moveTo>
                      <a:pt x="308" y="351"/>
                    </a:moveTo>
                    <a:lnTo>
                      <a:pt x="0" y="173"/>
                    </a:lnTo>
                    <a:lnTo>
                      <a:pt x="305" y="0"/>
                    </a:lnTo>
                    <a:lnTo>
                      <a:pt x="613" y="173"/>
                    </a:lnTo>
                    <a:lnTo>
                      <a:pt x="308" y="351"/>
                    </a:lnTo>
                    <a:close/>
                  </a:path>
                </a:pathLst>
              </a:custGeom>
              <a:solidFill>
                <a:srgbClr val="55D4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10136778" y="3451591"/>
              <a:ext cx="1520689" cy="1531312"/>
              <a:chOff x="9685432" y="3577886"/>
              <a:chExt cx="1520689" cy="1531312"/>
            </a:xfrm>
          </p:grpSpPr>
          <p:sp>
            <p:nvSpPr>
              <p:cNvPr id="18" name="Oval 13"/>
              <p:cNvSpPr>
                <a:spLocks noChangeArrowheads="1"/>
              </p:cNvSpPr>
              <p:nvPr/>
            </p:nvSpPr>
            <p:spPr bwMode="auto">
              <a:xfrm>
                <a:off x="9685432" y="3577886"/>
                <a:ext cx="1520689" cy="1531312"/>
              </a:xfrm>
              <a:prstGeom prst="ellipse">
                <a:avLst/>
              </a:prstGeom>
              <a:solidFill>
                <a:srgbClr val="4668C5">
                  <a:alpha val="8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9" name="Freeform 14"/>
              <p:cNvSpPr>
                <a:spLocks/>
              </p:cNvSpPr>
              <p:nvPr/>
            </p:nvSpPr>
            <p:spPr bwMode="auto">
              <a:xfrm>
                <a:off x="10040039" y="4109130"/>
                <a:ext cx="406403" cy="699914"/>
              </a:xfrm>
              <a:custGeom>
                <a:avLst/>
                <a:gdLst>
                  <a:gd name="T0" fmla="*/ 306 w 306"/>
                  <a:gd name="T1" fmla="*/ 175 h 527"/>
                  <a:gd name="T2" fmla="*/ 306 w 306"/>
                  <a:gd name="T3" fmla="*/ 527 h 527"/>
                  <a:gd name="T4" fmla="*/ 0 w 306"/>
                  <a:gd name="T5" fmla="*/ 351 h 527"/>
                  <a:gd name="T6" fmla="*/ 0 w 306"/>
                  <a:gd name="T7" fmla="*/ 0 h 527"/>
                  <a:gd name="T8" fmla="*/ 306 w 306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6" h="527">
                    <a:moveTo>
                      <a:pt x="306" y="175"/>
                    </a:moveTo>
                    <a:lnTo>
                      <a:pt x="306" y="527"/>
                    </a:lnTo>
                    <a:lnTo>
                      <a:pt x="0" y="351"/>
                    </a:lnTo>
                    <a:lnTo>
                      <a:pt x="0" y="0"/>
                    </a:lnTo>
                    <a:lnTo>
                      <a:pt x="306" y="175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0" name="Freeform 15"/>
              <p:cNvSpPr>
                <a:spLocks/>
              </p:cNvSpPr>
              <p:nvPr/>
            </p:nvSpPr>
            <p:spPr bwMode="auto">
              <a:xfrm>
                <a:off x="10446440" y="4109130"/>
                <a:ext cx="405074" cy="699914"/>
              </a:xfrm>
              <a:custGeom>
                <a:avLst/>
                <a:gdLst>
                  <a:gd name="T0" fmla="*/ 0 w 305"/>
                  <a:gd name="T1" fmla="*/ 175 h 527"/>
                  <a:gd name="T2" fmla="*/ 0 w 305"/>
                  <a:gd name="T3" fmla="*/ 527 h 527"/>
                  <a:gd name="T4" fmla="*/ 305 w 305"/>
                  <a:gd name="T5" fmla="*/ 351 h 527"/>
                  <a:gd name="T6" fmla="*/ 305 w 305"/>
                  <a:gd name="T7" fmla="*/ 0 h 527"/>
                  <a:gd name="T8" fmla="*/ 0 w 305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5" h="527">
                    <a:moveTo>
                      <a:pt x="0" y="175"/>
                    </a:moveTo>
                    <a:lnTo>
                      <a:pt x="0" y="527"/>
                    </a:lnTo>
                    <a:lnTo>
                      <a:pt x="305" y="351"/>
                    </a:lnTo>
                    <a:lnTo>
                      <a:pt x="305" y="0"/>
                    </a:lnTo>
                    <a:lnTo>
                      <a:pt x="0" y="175"/>
                    </a:lnTo>
                    <a:close/>
                  </a:path>
                </a:pathLst>
              </a:cu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1" name="Freeform 16"/>
              <p:cNvSpPr>
                <a:spLocks/>
              </p:cNvSpPr>
              <p:nvPr/>
            </p:nvSpPr>
            <p:spPr bwMode="auto">
              <a:xfrm>
                <a:off x="10040039" y="3875383"/>
                <a:ext cx="811477" cy="466167"/>
              </a:xfrm>
              <a:custGeom>
                <a:avLst/>
                <a:gdLst>
                  <a:gd name="T0" fmla="*/ 306 w 611"/>
                  <a:gd name="T1" fmla="*/ 351 h 351"/>
                  <a:gd name="T2" fmla="*/ 0 w 611"/>
                  <a:gd name="T3" fmla="*/ 173 h 351"/>
                  <a:gd name="T4" fmla="*/ 306 w 611"/>
                  <a:gd name="T5" fmla="*/ 0 h 351"/>
                  <a:gd name="T6" fmla="*/ 611 w 611"/>
                  <a:gd name="T7" fmla="*/ 173 h 351"/>
                  <a:gd name="T8" fmla="*/ 306 w 611"/>
                  <a:gd name="T9" fmla="*/ 351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1" h="351">
                    <a:moveTo>
                      <a:pt x="306" y="351"/>
                    </a:moveTo>
                    <a:lnTo>
                      <a:pt x="0" y="173"/>
                    </a:lnTo>
                    <a:lnTo>
                      <a:pt x="306" y="0"/>
                    </a:lnTo>
                    <a:lnTo>
                      <a:pt x="611" y="173"/>
                    </a:lnTo>
                    <a:lnTo>
                      <a:pt x="306" y="351"/>
                    </a:lnTo>
                    <a:close/>
                  </a:path>
                </a:pathLst>
              </a:custGeom>
              <a:solidFill>
                <a:srgbClr val="9B4F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</p:grpSp>
        <p:sp>
          <p:nvSpPr>
            <p:cNvPr id="15" name="TextBox 14"/>
            <p:cNvSpPr txBox="1"/>
            <p:nvPr/>
          </p:nvSpPr>
          <p:spPr>
            <a:xfrm>
              <a:off x="10272407" y="5327699"/>
              <a:ext cx="593726" cy="593726"/>
            </a:xfrm>
            <a:prstGeom prst="ellipse">
              <a:avLst/>
            </a:prstGeom>
            <a:solidFill>
              <a:schemeClr val="accent5"/>
            </a:solidFill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88"/>
                </a:spcAft>
              </a:pPr>
              <a:endParaRPr lang="en-US" sz="1372" b="1">
                <a:solidFill>
                  <a:schemeClr val="accent5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8991666" y="5478462"/>
              <a:ext cx="593726" cy="593726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88"/>
                </a:spcAft>
              </a:pPr>
              <a:endParaRPr lang="en-US" sz="1372" b="1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8925987" y="5964668"/>
              <a:ext cx="914400" cy="914400"/>
            </a:xfrm>
            <a:prstGeom prst="ellipse">
              <a:avLst/>
            </a:prstGeom>
            <a:solidFill>
              <a:schemeClr val="tx2"/>
            </a:solidFill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88"/>
                </a:spcAft>
              </a:pPr>
              <a:endParaRPr lang="en-US" sz="1765" b="1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73713" y="2100815"/>
            <a:ext cx="8171994" cy="1686801"/>
          </a:xfrm>
        </p:spPr>
        <p:txBody>
          <a:bodyPr/>
          <a:lstStyle>
            <a:lvl1pPr>
              <a:defRPr sz="5882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1641" y="3877277"/>
            <a:ext cx="8158683" cy="48340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bg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458287176"/>
      </p:ext>
    </p:extLst>
  </p:cSld>
  <p:clrMapOvr>
    <a:masterClrMapping/>
  </p:clrMapOvr>
  <p:transition advClick="0"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8pt Title/16pt Tex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73712" y="2100815"/>
            <a:ext cx="8184546" cy="1686801"/>
          </a:xfrm>
        </p:spPr>
        <p:txBody>
          <a:bodyPr/>
          <a:lstStyle>
            <a:lvl1pPr>
              <a:defRPr sz="5882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1640" y="3877277"/>
            <a:ext cx="8171215" cy="48340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bg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8750521" y="1315052"/>
            <a:ext cx="3441479" cy="5429745"/>
            <a:chOff x="8925987" y="1341231"/>
            <a:chExt cx="3510488" cy="5537837"/>
          </a:xfrm>
        </p:grpSpPr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9080596" y="2696006"/>
              <a:ext cx="3246304" cy="4001502"/>
            </a:xfrm>
            <a:custGeom>
              <a:avLst/>
              <a:gdLst>
                <a:gd name="T0" fmla="*/ 0 w 2476"/>
                <a:gd name="T1" fmla="*/ 2588 h 3052"/>
                <a:gd name="T2" fmla="*/ 1237 w 2476"/>
                <a:gd name="T3" fmla="*/ 0 h 3052"/>
                <a:gd name="T4" fmla="*/ 2476 w 2476"/>
                <a:gd name="T5" fmla="*/ 976 h 3052"/>
                <a:gd name="T6" fmla="*/ 495 w 2476"/>
                <a:gd name="T7" fmla="*/ 3052 h 3052"/>
                <a:gd name="T8" fmla="*/ 0 w 2476"/>
                <a:gd name="T9" fmla="*/ 2588 h 3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6" h="3052">
                  <a:moveTo>
                    <a:pt x="0" y="2588"/>
                  </a:moveTo>
                  <a:lnTo>
                    <a:pt x="1237" y="0"/>
                  </a:lnTo>
                  <a:lnTo>
                    <a:pt x="2476" y="976"/>
                  </a:lnTo>
                  <a:lnTo>
                    <a:pt x="495" y="3052"/>
                  </a:lnTo>
                  <a:lnTo>
                    <a:pt x="0" y="2588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  <a:alpha val="14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11185247" y="1341231"/>
              <a:ext cx="1239838" cy="813644"/>
            </a:xfrm>
            <a:custGeom>
              <a:avLst/>
              <a:gdLst>
                <a:gd name="T0" fmla="*/ 168 w 1054"/>
                <a:gd name="T1" fmla="*/ 303 h 690"/>
                <a:gd name="T2" fmla="*/ 168 w 1054"/>
                <a:gd name="T3" fmla="*/ 289 h 690"/>
                <a:gd name="T4" fmla="*/ 459 w 1054"/>
                <a:gd name="T5" fmla="*/ 0 h 690"/>
                <a:gd name="T6" fmla="*/ 701 w 1054"/>
                <a:gd name="T7" fmla="*/ 129 h 690"/>
                <a:gd name="T8" fmla="*/ 781 w 1054"/>
                <a:gd name="T9" fmla="*/ 108 h 690"/>
                <a:gd name="T10" fmla="*/ 875 w 1054"/>
                <a:gd name="T11" fmla="*/ 136 h 690"/>
                <a:gd name="T12" fmla="*/ 950 w 1054"/>
                <a:gd name="T13" fmla="*/ 272 h 690"/>
                <a:gd name="T14" fmla="*/ 1054 w 1054"/>
                <a:gd name="T15" fmla="*/ 463 h 690"/>
                <a:gd name="T16" fmla="*/ 851 w 1054"/>
                <a:gd name="T17" fmla="*/ 690 h 690"/>
                <a:gd name="T18" fmla="*/ 825 w 1054"/>
                <a:gd name="T19" fmla="*/ 690 h 690"/>
                <a:gd name="T20" fmla="*/ 802 w 1054"/>
                <a:gd name="T21" fmla="*/ 690 h 690"/>
                <a:gd name="T22" fmla="*/ 327 w 1054"/>
                <a:gd name="T23" fmla="*/ 690 h 690"/>
                <a:gd name="T24" fmla="*/ 318 w 1054"/>
                <a:gd name="T25" fmla="*/ 690 h 690"/>
                <a:gd name="T26" fmla="*/ 306 w 1054"/>
                <a:gd name="T27" fmla="*/ 690 h 690"/>
                <a:gd name="T28" fmla="*/ 271 w 1054"/>
                <a:gd name="T29" fmla="*/ 690 h 690"/>
                <a:gd name="T30" fmla="*/ 195 w 1054"/>
                <a:gd name="T31" fmla="*/ 690 h 690"/>
                <a:gd name="T32" fmla="*/ 0 w 1054"/>
                <a:gd name="T33" fmla="*/ 495 h 690"/>
                <a:gd name="T34" fmla="*/ 168 w 1054"/>
                <a:gd name="T35" fmla="*/ 303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4" h="690">
                  <a:moveTo>
                    <a:pt x="168" y="303"/>
                  </a:moveTo>
                  <a:cubicBezTo>
                    <a:pt x="168" y="299"/>
                    <a:pt x="168" y="293"/>
                    <a:pt x="168" y="289"/>
                  </a:cubicBezTo>
                  <a:cubicBezTo>
                    <a:pt x="168" y="129"/>
                    <a:pt x="298" y="0"/>
                    <a:pt x="459" y="0"/>
                  </a:cubicBezTo>
                  <a:cubicBezTo>
                    <a:pt x="560" y="0"/>
                    <a:pt x="649" y="52"/>
                    <a:pt x="701" y="129"/>
                  </a:cubicBezTo>
                  <a:cubicBezTo>
                    <a:pt x="725" y="116"/>
                    <a:pt x="752" y="108"/>
                    <a:pt x="781" y="108"/>
                  </a:cubicBezTo>
                  <a:cubicBezTo>
                    <a:pt x="816" y="108"/>
                    <a:pt x="848" y="118"/>
                    <a:pt x="875" y="136"/>
                  </a:cubicBezTo>
                  <a:cubicBezTo>
                    <a:pt x="919" y="166"/>
                    <a:pt x="948" y="215"/>
                    <a:pt x="950" y="272"/>
                  </a:cubicBezTo>
                  <a:cubicBezTo>
                    <a:pt x="1012" y="312"/>
                    <a:pt x="1054" y="384"/>
                    <a:pt x="1054" y="463"/>
                  </a:cubicBezTo>
                  <a:cubicBezTo>
                    <a:pt x="1054" y="580"/>
                    <a:pt x="965" y="676"/>
                    <a:pt x="851" y="690"/>
                  </a:cubicBezTo>
                  <a:cubicBezTo>
                    <a:pt x="843" y="690"/>
                    <a:pt x="833" y="690"/>
                    <a:pt x="825" y="690"/>
                  </a:cubicBezTo>
                  <a:cubicBezTo>
                    <a:pt x="818" y="690"/>
                    <a:pt x="810" y="690"/>
                    <a:pt x="802" y="690"/>
                  </a:cubicBezTo>
                  <a:cubicBezTo>
                    <a:pt x="696" y="690"/>
                    <a:pt x="446" y="690"/>
                    <a:pt x="327" y="690"/>
                  </a:cubicBezTo>
                  <a:cubicBezTo>
                    <a:pt x="324" y="690"/>
                    <a:pt x="320" y="690"/>
                    <a:pt x="318" y="690"/>
                  </a:cubicBezTo>
                  <a:cubicBezTo>
                    <a:pt x="306" y="690"/>
                    <a:pt x="306" y="690"/>
                    <a:pt x="306" y="690"/>
                  </a:cubicBezTo>
                  <a:cubicBezTo>
                    <a:pt x="300" y="690"/>
                    <a:pt x="283" y="690"/>
                    <a:pt x="271" y="690"/>
                  </a:cubicBezTo>
                  <a:cubicBezTo>
                    <a:pt x="195" y="690"/>
                    <a:pt x="195" y="690"/>
                    <a:pt x="195" y="690"/>
                  </a:cubicBezTo>
                  <a:cubicBezTo>
                    <a:pt x="87" y="688"/>
                    <a:pt x="0" y="601"/>
                    <a:pt x="0" y="495"/>
                  </a:cubicBezTo>
                  <a:cubicBezTo>
                    <a:pt x="0" y="397"/>
                    <a:pt x="73" y="316"/>
                    <a:pt x="168" y="30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10332390" y="1583889"/>
              <a:ext cx="1239838" cy="813644"/>
            </a:xfrm>
            <a:custGeom>
              <a:avLst/>
              <a:gdLst>
                <a:gd name="T0" fmla="*/ 168 w 1054"/>
                <a:gd name="T1" fmla="*/ 303 h 690"/>
                <a:gd name="T2" fmla="*/ 168 w 1054"/>
                <a:gd name="T3" fmla="*/ 289 h 690"/>
                <a:gd name="T4" fmla="*/ 459 w 1054"/>
                <a:gd name="T5" fmla="*/ 0 h 690"/>
                <a:gd name="T6" fmla="*/ 701 w 1054"/>
                <a:gd name="T7" fmla="*/ 129 h 690"/>
                <a:gd name="T8" fmla="*/ 781 w 1054"/>
                <a:gd name="T9" fmla="*/ 108 h 690"/>
                <a:gd name="T10" fmla="*/ 875 w 1054"/>
                <a:gd name="T11" fmla="*/ 136 h 690"/>
                <a:gd name="T12" fmla="*/ 950 w 1054"/>
                <a:gd name="T13" fmla="*/ 272 h 690"/>
                <a:gd name="T14" fmla="*/ 1054 w 1054"/>
                <a:gd name="T15" fmla="*/ 463 h 690"/>
                <a:gd name="T16" fmla="*/ 851 w 1054"/>
                <a:gd name="T17" fmla="*/ 690 h 690"/>
                <a:gd name="T18" fmla="*/ 825 w 1054"/>
                <a:gd name="T19" fmla="*/ 690 h 690"/>
                <a:gd name="T20" fmla="*/ 802 w 1054"/>
                <a:gd name="T21" fmla="*/ 690 h 690"/>
                <a:gd name="T22" fmla="*/ 327 w 1054"/>
                <a:gd name="T23" fmla="*/ 690 h 690"/>
                <a:gd name="T24" fmla="*/ 318 w 1054"/>
                <a:gd name="T25" fmla="*/ 690 h 690"/>
                <a:gd name="T26" fmla="*/ 306 w 1054"/>
                <a:gd name="T27" fmla="*/ 690 h 690"/>
                <a:gd name="T28" fmla="*/ 271 w 1054"/>
                <a:gd name="T29" fmla="*/ 690 h 690"/>
                <a:gd name="T30" fmla="*/ 195 w 1054"/>
                <a:gd name="T31" fmla="*/ 690 h 690"/>
                <a:gd name="T32" fmla="*/ 0 w 1054"/>
                <a:gd name="T33" fmla="*/ 495 h 690"/>
                <a:gd name="T34" fmla="*/ 168 w 1054"/>
                <a:gd name="T35" fmla="*/ 303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4" h="690">
                  <a:moveTo>
                    <a:pt x="168" y="303"/>
                  </a:moveTo>
                  <a:cubicBezTo>
                    <a:pt x="168" y="299"/>
                    <a:pt x="168" y="293"/>
                    <a:pt x="168" y="289"/>
                  </a:cubicBezTo>
                  <a:cubicBezTo>
                    <a:pt x="168" y="129"/>
                    <a:pt x="298" y="0"/>
                    <a:pt x="459" y="0"/>
                  </a:cubicBezTo>
                  <a:cubicBezTo>
                    <a:pt x="560" y="0"/>
                    <a:pt x="649" y="52"/>
                    <a:pt x="701" y="129"/>
                  </a:cubicBezTo>
                  <a:cubicBezTo>
                    <a:pt x="725" y="116"/>
                    <a:pt x="752" y="108"/>
                    <a:pt x="781" y="108"/>
                  </a:cubicBezTo>
                  <a:cubicBezTo>
                    <a:pt x="816" y="108"/>
                    <a:pt x="848" y="118"/>
                    <a:pt x="875" y="136"/>
                  </a:cubicBezTo>
                  <a:cubicBezTo>
                    <a:pt x="919" y="166"/>
                    <a:pt x="948" y="215"/>
                    <a:pt x="950" y="272"/>
                  </a:cubicBezTo>
                  <a:cubicBezTo>
                    <a:pt x="1012" y="312"/>
                    <a:pt x="1054" y="384"/>
                    <a:pt x="1054" y="463"/>
                  </a:cubicBezTo>
                  <a:cubicBezTo>
                    <a:pt x="1054" y="580"/>
                    <a:pt x="965" y="676"/>
                    <a:pt x="851" y="690"/>
                  </a:cubicBezTo>
                  <a:cubicBezTo>
                    <a:pt x="843" y="690"/>
                    <a:pt x="833" y="690"/>
                    <a:pt x="825" y="690"/>
                  </a:cubicBezTo>
                  <a:cubicBezTo>
                    <a:pt x="818" y="690"/>
                    <a:pt x="810" y="690"/>
                    <a:pt x="802" y="690"/>
                  </a:cubicBezTo>
                  <a:cubicBezTo>
                    <a:pt x="696" y="690"/>
                    <a:pt x="446" y="690"/>
                    <a:pt x="327" y="690"/>
                  </a:cubicBezTo>
                  <a:cubicBezTo>
                    <a:pt x="324" y="690"/>
                    <a:pt x="320" y="690"/>
                    <a:pt x="318" y="690"/>
                  </a:cubicBezTo>
                  <a:cubicBezTo>
                    <a:pt x="306" y="690"/>
                    <a:pt x="306" y="690"/>
                    <a:pt x="306" y="690"/>
                  </a:cubicBezTo>
                  <a:cubicBezTo>
                    <a:pt x="300" y="690"/>
                    <a:pt x="283" y="690"/>
                    <a:pt x="271" y="690"/>
                  </a:cubicBezTo>
                  <a:cubicBezTo>
                    <a:pt x="195" y="690"/>
                    <a:pt x="195" y="690"/>
                    <a:pt x="195" y="690"/>
                  </a:cubicBezTo>
                  <a:cubicBezTo>
                    <a:pt x="87" y="688"/>
                    <a:pt x="0" y="601"/>
                    <a:pt x="0" y="495"/>
                  </a:cubicBezTo>
                  <a:cubicBezTo>
                    <a:pt x="0" y="397"/>
                    <a:pt x="73" y="316"/>
                    <a:pt x="168" y="30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9405174" y="1369064"/>
              <a:ext cx="895827" cy="587887"/>
            </a:xfrm>
            <a:custGeom>
              <a:avLst/>
              <a:gdLst>
                <a:gd name="T0" fmla="*/ 168 w 1054"/>
                <a:gd name="T1" fmla="*/ 303 h 690"/>
                <a:gd name="T2" fmla="*/ 168 w 1054"/>
                <a:gd name="T3" fmla="*/ 289 h 690"/>
                <a:gd name="T4" fmla="*/ 459 w 1054"/>
                <a:gd name="T5" fmla="*/ 0 h 690"/>
                <a:gd name="T6" fmla="*/ 701 w 1054"/>
                <a:gd name="T7" fmla="*/ 129 h 690"/>
                <a:gd name="T8" fmla="*/ 781 w 1054"/>
                <a:gd name="T9" fmla="*/ 108 h 690"/>
                <a:gd name="T10" fmla="*/ 875 w 1054"/>
                <a:gd name="T11" fmla="*/ 136 h 690"/>
                <a:gd name="T12" fmla="*/ 950 w 1054"/>
                <a:gd name="T13" fmla="*/ 272 h 690"/>
                <a:gd name="T14" fmla="*/ 1054 w 1054"/>
                <a:gd name="T15" fmla="*/ 463 h 690"/>
                <a:gd name="T16" fmla="*/ 851 w 1054"/>
                <a:gd name="T17" fmla="*/ 690 h 690"/>
                <a:gd name="T18" fmla="*/ 825 w 1054"/>
                <a:gd name="T19" fmla="*/ 690 h 690"/>
                <a:gd name="T20" fmla="*/ 802 w 1054"/>
                <a:gd name="T21" fmla="*/ 690 h 690"/>
                <a:gd name="T22" fmla="*/ 327 w 1054"/>
                <a:gd name="T23" fmla="*/ 690 h 690"/>
                <a:gd name="T24" fmla="*/ 318 w 1054"/>
                <a:gd name="T25" fmla="*/ 690 h 690"/>
                <a:gd name="T26" fmla="*/ 306 w 1054"/>
                <a:gd name="T27" fmla="*/ 690 h 690"/>
                <a:gd name="T28" fmla="*/ 271 w 1054"/>
                <a:gd name="T29" fmla="*/ 690 h 690"/>
                <a:gd name="T30" fmla="*/ 195 w 1054"/>
                <a:gd name="T31" fmla="*/ 690 h 690"/>
                <a:gd name="T32" fmla="*/ 0 w 1054"/>
                <a:gd name="T33" fmla="*/ 495 h 690"/>
                <a:gd name="T34" fmla="*/ 168 w 1054"/>
                <a:gd name="T35" fmla="*/ 303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4" h="690">
                  <a:moveTo>
                    <a:pt x="168" y="303"/>
                  </a:moveTo>
                  <a:cubicBezTo>
                    <a:pt x="168" y="299"/>
                    <a:pt x="168" y="293"/>
                    <a:pt x="168" y="289"/>
                  </a:cubicBezTo>
                  <a:cubicBezTo>
                    <a:pt x="168" y="129"/>
                    <a:pt x="298" y="0"/>
                    <a:pt x="459" y="0"/>
                  </a:cubicBezTo>
                  <a:cubicBezTo>
                    <a:pt x="560" y="0"/>
                    <a:pt x="649" y="52"/>
                    <a:pt x="701" y="129"/>
                  </a:cubicBezTo>
                  <a:cubicBezTo>
                    <a:pt x="725" y="116"/>
                    <a:pt x="752" y="108"/>
                    <a:pt x="781" y="108"/>
                  </a:cubicBezTo>
                  <a:cubicBezTo>
                    <a:pt x="816" y="108"/>
                    <a:pt x="848" y="118"/>
                    <a:pt x="875" y="136"/>
                  </a:cubicBezTo>
                  <a:cubicBezTo>
                    <a:pt x="919" y="166"/>
                    <a:pt x="948" y="215"/>
                    <a:pt x="950" y="272"/>
                  </a:cubicBezTo>
                  <a:cubicBezTo>
                    <a:pt x="1012" y="312"/>
                    <a:pt x="1054" y="384"/>
                    <a:pt x="1054" y="463"/>
                  </a:cubicBezTo>
                  <a:cubicBezTo>
                    <a:pt x="1054" y="580"/>
                    <a:pt x="965" y="676"/>
                    <a:pt x="851" y="690"/>
                  </a:cubicBezTo>
                  <a:cubicBezTo>
                    <a:pt x="843" y="690"/>
                    <a:pt x="833" y="690"/>
                    <a:pt x="825" y="690"/>
                  </a:cubicBezTo>
                  <a:cubicBezTo>
                    <a:pt x="818" y="690"/>
                    <a:pt x="810" y="690"/>
                    <a:pt x="802" y="690"/>
                  </a:cubicBezTo>
                  <a:cubicBezTo>
                    <a:pt x="696" y="690"/>
                    <a:pt x="446" y="690"/>
                    <a:pt x="327" y="690"/>
                  </a:cubicBezTo>
                  <a:cubicBezTo>
                    <a:pt x="324" y="690"/>
                    <a:pt x="320" y="690"/>
                    <a:pt x="318" y="690"/>
                  </a:cubicBezTo>
                  <a:cubicBezTo>
                    <a:pt x="306" y="690"/>
                    <a:pt x="306" y="690"/>
                    <a:pt x="306" y="690"/>
                  </a:cubicBezTo>
                  <a:cubicBezTo>
                    <a:pt x="300" y="690"/>
                    <a:pt x="283" y="690"/>
                    <a:pt x="271" y="690"/>
                  </a:cubicBezTo>
                  <a:cubicBezTo>
                    <a:pt x="195" y="690"/>
                    <a:pt x="195" y="690"/>
                    <a:pt x="195" y="690"/>
                  </a:cubicBezTo>
                  <a:cubicBezTo>
                    <a:pt x="87" y="688"/>
                    <a:pt x="0" y="601"/>
                    <a:pt x="0" y="495"/>
                  </a:cubicBezTo>
                  <a:cubicBezTo>
                    <a:pt x="0" y="397"/>
                    <a:pt x="73" y="316"/>
                    <a:pt x="168" y="30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11280477" y="3072737"/>
              <a:ext cx="1155998" cy="1162044"/>
              <a:chOff x="13209584" y="-2840041"/>
              <a:chExt cx="1820862" cy="1830385"/>
            </a:xfrm>
          </p:grpSpPr>
          <p:sp>
            <p:nvSpPr>
              <p:cNvPr id="26" name="Oval 5"/>
              <p:cNvSpPr>
                <a:spLocks noChangeArrowheads="1"/>
              </p:cNvSpPr>
              <p:nvPr/>
            </p:nvSpPr>
            <p:spPr bwMode="auto">
              <a:xfrm>
                <a:off x="13209584" y="-2840041"/>
                <a:ext cx="1820862" cy="1830385"/>
              </a:xfrm>
              <a:prstGeom prst="ellipse">
                <a:avLst/>
              </a:prstGeom>
              <a:solidFill>
                <a:srgbClr val="FFB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7" name="Freeform 6"/>
              <p:cNvSpPr>
                <a:spLocks/>
              </p:cNvSpPr>
              <p:nvPr/>
            </p:nvSpPr>
            <p:spPr bwMode="auto">
              <a:xfrm>
                <a:off x="13633446" y="-2205042"/>
                <a:ext cx="488950" cy="836611"/>
              </a:xfrm>
              <a:custGeom>
                <a:avLst/>
                <a:gdLst>
                  <a:gd name="T0" fmla="*/ 308 w 308"/>
                  <a:gd name="T1" fmla="*/ 175 h 527"/>
                  <a:gd name="T2" fmla="*/ 305 w 308"/>
                  <a:gd name="T3" fmla="*/ 527 h 527"/>
                  <a:gd name="T4" fmla="*/ 0 w 308"/>
                  <a:gd name="T5" fmla="*/ 351 h 527"/>
                  <a:gd name="T6" fmla="*/ 2 w 308"/>
                  <a:gd name="T7" fmla="*/ 0 h 527"/>
                  <a:gd name="T8" fmla="*/ 308 w 308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527">
                    <a:moveTo>
                      <a:pt x="308" y="175"/>
                    </a:moveTo>
                    <a:lnTo>
                      <a:pt x="305" y="527"/>
                    </a:lnTo>
                    <a:lnTo>
                      <a:pt x="0" y="351"/>
                    </a:lnTo>
                    <a:lnTo>
                      <a:pt x="2" y="0"/>
                    </a:lnTo>
                    <a:lnTo>
                      <a:pt x="308" y="175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8" name="Freeform 7"/>
              <p:cNvSpPr>
                <a:spLocks/>
              </p:cNvSpPr>
              <p:nvPr/>
            </p:nvSpPr>
            <p:spPr bwMode="auto">
              <a:xfrm>
                <a:off x="14122396" y="-2205042"/>
                <a:ext cx="484187" cy="836611"/>
              </a:xfrm>
              <a:custGeom>
                <a:avLst/>
                <a:gdLst>
                  <a:gd name="T0" fmla="*/ 0 w 305"/>
                  <a:gd name="T1" fmla="*/ 175 h 527"/>
                  <a:gd name="T2" fmla="*/ 0 w 305"/>
                  <a:gd name="T3" fmla="*/ 527 h 527"/>
                  <a:gd name="T4" fmla="*/ 305 w 305"/>
                  <a:gd name="T5" fmla="*/ 351 h 527"/>
                  <a:gd name="T6" fmla="*/ 305 w 305"/>
                  <a:gd name="T7" fmla="*/ 0 h 527"/>
                  <a:gd name="T8" fmla="*/ 0 w 305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5" h="527">
                    <a:moveTo>
                      <a:pt x="0" y="175"/>
                    </a:moveTo>
                    <a:lnTo>
                      <a:pt x="0" y="527"/>
                    </a:lnTo>
                    <a:lnTo>
                      <a:pt x="305" y="351"/>
                    </a:lnTo>
                    <a:lnTo>
                      <a:pt x="305" y="0"/>
                    </a:lnTo>
                    <a:lnTo>
                      <a:pt x="0" y="175"/>
                    </a:lnTo>
                    <a:close/>
                  </a:path>
                </a:pathLst>
              </a:cu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9" name="Freeform 8"/>
              <p:cNvSpPr>
                <a:spLocks/>
              </p:cNvSpPr>
              <p:nvPr/>
            </p:nvSpPr>
            <p:spPr bwMode="auto">
              <a:xfrm>
                <a:off x="13636621" y="-2484441"/>
                <a:ext cx="969962" cy="557212"/>
              </a:xfrm>
              <a:custGeom>
                <a:avLst/>
                <a:gdLst>
                  <a:gd name="T0" fmla="*/ 306 w 611"/>
                  <a:gd name="T1" fmla="*/ 351 h 351"/>
                  <a:gd name="T2" fmla="*/ 0 w 611"/>
                  <a:gd name="T3" fmla="*/ 173 h 351"/>
                  <a:gd name="T4" fmla="*/ 303 w 611"/>
                  <a:gd name="T5" fmla="*/ 0 h 351"/>
                  <a:gd name="T6" fmla="*/ 611 w 611"/>
                  <a:gd name="T7" fmla="*/ 173 h 351"/>
                  <a:gd name="T8" fmla="*/ 306 w 611"/>
                  <a:gd name="T9" fmla="*/ 351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1" h="351">
                    <a:moveTo>
                      <a:pt x="306" y="351"/>
                    </a:moveTo>
                    <a:lnTo>
                      <a:pt x="0" y="173"/>
                    </a:lnTo>
                    <a:lnTo>
                      <a:pt x="303" y="0"/>
                    </a:lnTo>
                    <a:lnTo>
                      <a:pt x="611" y="173"/>
                    </a:lnTo>
                    <a:lnTo>
                      <a:pt x="306" y="351"/>
                    </a:lnTo>
                    <a:close/>
                  </a:path>
                </a:pathLst>
              </a:custGeom>
              <a:solidFill>
                <a:srgbClr val="FCD1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10518590" y="2205906"/>
              <a:ext cx="1227128" cy="1233544"/>
              <a:chOff x="15478120" y="-2840041"/>
              <a:chExt cx="1820862" cy="1830385"/>
            </a:xfrm>
          </p:grpSpPr>
          <p:sp>
            <p:nvSpPr>
              <p:cNvPr id="22" name="Oval 9"/>
              <p:cNvSpPr>
                <a:spLocks noChangeArrowheads="1"/>
              </p:cNvSpPr>
              <p:nvPr/>
            </p:nvSpPr>
            <p:spPr bwMode="auto">
              <a:xfrm>
                <a:off x="15478120" y="-2840041"/>
                <a:ext cx="1820862" cy="1830385"/>
              </a:xfrm>
              <a:prstGeom prst="ellipse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3" name="Freeform 10"/>
              <p:cNvSpPr>
                <a:spLocks/>
              </p:cNvSpPr>
              <p:nvPr/>
            </p:nvSpPr>
            <p:spPr bwMode="auto">
              <a:xfrm>
                <a:off x="15901983" y="-2205042"/>
                <a:ext cx="488950" cy="836611"/>
              </a:xfrm>
              <a:custGeom>
                <a:avLst/>
                <a:gdLst>
                  <a:gd name="T0" fmla="*/ 308 w 308"/>
                  <a:gd name="T1" fmla="*/ 175 h 527"/>
                  <a:gd name="T2" fmla="*/ 305 w 308"/>
                  <a:gd name="T3" fmla="*/ 527 h 527"/>
                  <a:gd name="T4" fmla="*/ 0 w 308"/>
                  <a:gd name="T5" fmla="*/ 351 h 527"/>
                  <a:gd name="T6" fmla="*/ 0 w 308"/>
                  <a:gd name="T7" fmla="*/ 0 h 527"/>
                  <a:gd name="T8" fmla="*/ 308 w 308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527">
                    <a:moveTo>
                      <a:pt x="308" y="175"/>
                    </a:moveTo>
                    <a:lnTo>
                      <a:pt x="305" y="527"/>
                    </a:lnTo>
                    <a:lnTo>
                      <a:pt x="0" y="351"/>
                    </a:lnTo>
                    <a:lnTo>
                      <a:pt x="0" y="0"/>
                    </a:lnTo>
                    <a:lnTo>
                      <a:pt x="308" y="17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4" name="Freeform 11"/>
              <p:cNvSpPr>
                <a:spLocks/>
              </p:cNvSpPr>
              <p:nvPr/>
            </p:nvSpPr>
            <p:spPr bwMode="auto">
              <a:xfrm>
                <a:off x="16386170" y="-2205042"/>
                <a:ext cx="488950" cy="836611"/>
              </a:xfrm>
              <a:custGeom>
                <a:avLst/>
                <a:gdLst>
                  <a:gd name="T0" fmla="*/ 3 w 308"/>
                  <a:gd name="T1" fmla="*/ 175 h 527"/>
                  <a:gd name="T2" fmla="*/ 0 w 308"/>
                  <a:gd name="T3" fmla="*/ 527 h 527"/>
                  <a:gd name="T4" fmla="*/ 306 w 308"/>
                  <a:gd name="T5" fmla="*/ 351 h 527"/>
                  <a:gd name="T6" fmla="*/ 308 w 308"/>
                  <a:gd name="T7" fmla="*/ 0 h 527"/>
                  <a:gd name="T8" fmla="*/ 3 w 308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527">
                    <a:moveTo>
                      <a:pt x="3" y="175"/>
                    </a:moveTo>
                    <a:lnTo>
                      <a:pt x="0" y="527"/>
                    </a:lnTo>
                    <a:lnTo>
                      <a:pt x="306" y="351"/>
                    </a:lnTo>
                    <a:lnTo>
                      <a:pt x="308" y="0"/>
                    </a:lnTo>
                    <a:lnTo>
                      <a:pt x="3" y="175"/>
                    </a:lnTo>
                    <a:close/>
                  </a:path>
                </a:pathLst>
              </a:custGeom>
              <a:solidFill>
                <a:srgbClr val="007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5" name="Freeform 12"/>
              <p:cNvSpPr>
                <a:spLocks/>
              </p:cNvSpPr>
              <p:nvPr/>
            </p:nvSpPr>
            <p:spPr bwMode="auto">
              <a:xfrm>
                <a:off x="15901983" y="-2484441"/>
                <a:ext cx="973137" cy="557212"/>
              </a:xfrm>
              <a:custGeom>
                <a:avLst/>
                <a:gdLst>
                  <a:gd name="T0" fmla="*/ 308 w 613"/>
                  <a:gd name="T1" fmla="*/ 351 h 351"/>
                  <a:gd name="T2" fmla="*/ 0 w 613"/>
                  <a:gd name="T3" fmla="*/ 173 h 351"/>
                  <a:gd name="T4" fmla="*/ 305 w 613"/>
                  <a:gd name="T5" fmla="*/ 0 h 351"/>
                  <a:gd name="T6" fmla="*/ 613 w 613"/>
                  <a:gd name="T7" fmla="*/ 173 h 351"/>
                  <a:gd name="T8" fmla="*/ 308 w 613"/>
                  <a:gd name="T9" fmla="*/ 351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3" h="351">
                    <a:moveTo>
                      <a:pt x="308" y="351"/>
                    </a:moveTo>
                    <a:lnTo>
                      <a:pt x="0" y="173"/>
                    </a:lnTo>
                    <a:lnTo>
                      <a:pt x="305" y="0"/>
                    </a:lnTo>
                    <a:lnTo>
                      <a:pt x="613" y="173"/>
                    </a:lnTo>
                    <a:lnTo>
                      <a:pt x="308" y="351"/>
                    </a:lnTo>
                    <a:close/>
                  </a:path>
                </a:pathLst>
              </a:custGeom>
              <a:solidFill>
                <a:srgbClr val="55D4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10136778" y="3451591"/>
              <a:ext cx="1520689" cy="1531312"/>
              <a:chOff x="9685432" y="3577886"/>
              <a:chExt cx="1520689" cy="1531312"/>
            </a:xfrm>
          </p:grpSpPr>
          <p:sp>
            <p:nvSpPr>
              <p:cNvPr id="18" name="Oval 13"/>
              <p:cNvSpPr>
                <a:spLocks noChangeArrowheads="1"/>
              </p:cNvSpPr>
              <p:nvPr/>
            </p:nvSpPr>
            <p:spPr bwMode="auto">
              <a:xfrm>
                <a:off x="9685432" y="3577886"/>
                <a:ext cx="1520689" cy="1531312"/>
              </a:xfrm>
              <a:prstGeom prst="ellipse">
                <a:avLst/>
              </a:prstGeom>
              <a:solidFill>
                <a:srgbClr val="4668C5">
                  <a:alpha val="8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9" name="Freeform 14"/>
              <p:cNvSpPr>
                <a:spLocks/>
              </p:cNvSpPr>
              <p:nvPr/>
            </p:nvSpPr>
            <p:spPr bwMode="auto">
              <a:xfrm>
                <a:off x="10040039" y="4109130"/>
                <a:ext cx="406403" cy="699914"/>
              </a:xfrm>
              <a:custGeom>
                <a:avLst/>
                <a:gdLst>
                  <a:gd name="T0" fmla="*/ 306 w 306"/>
                  <a:gd name="T1" fmla="*/ 175 h 527"/>
                  <a:gd name="T2" fmla="*/ 306 w 306"/>
                  <a:gd name="T3" fmla="*/ 527 h 527"/>
                  <a:gd name="T4" fmla="*/ 0 w 306"/>
                  <a:gd name="T5" fmla="*/ 351 h 527"/>
                  <a:gd name="T6" fmla="*/ 0 w 306"/>
                  <a:gd name="T7" fmla="*/ 0 h 527"/>
                  <a:gd name="T8" fmla="*/ 306 w 306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6" h="527">
                    <a:moveTo>
                      <a:pt x="306" y="175"/>
                    </a:moveTo>
                    <a:lnTo>
                      <a:pt x="306" y="527"/>
                    </a:lnTo>
                    <a:lnTo>
                      <a:pt x="0" y="351"/>
                    </a:lnTo>
                    <a:lnTo>
                      <a:pt x="0" y="0"/>
                    </a:lnTo>
                    <a:lnTo>
                      <a:pt x="306" y="175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0" name="Freeform 15"/>
              <p:cNvSpPr>
                <a:spLocks/>
              </p:cNvSpPr>
              <p:nvPr/>
            </p:nvSpPr>
            <p:spPr bwMode="auto">
              <a:xfrm>
                <a:off x="10446440" y="4109130"/>
                <a:ext cx="405074" cy="699914"/>
              </a:xfrm>
              <a:custGeom>
                <a:avLst/>
                <a:gdLst>
                  <a:gd name="T0" fmla="*/ 0 w 305"/>
                  <a:gd name="T1" fmla="*/ 175 h 527"/>
                  <a:gd name="T2" fmla="*/ 0 w 305"/>
                  <a:gd name="T3" fmla="*/ 527 h 527"/>
                  <a:gd name="T4" fmla="*/ 305 w 305"/>
                  <a:gd name="T5" fmla="*/ 351 h 527"/>
                  <a:gd name="T6" fmla="*/ 305 w 305"/>
                  <a:gd name="T7" fmla="*/ 0 h 527"/>
                  <a:gd name="T8" fmla="*/ 0 w 305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5" h="527">
                    <a:moveTo>
                      <a:pt x="0" y="175"/>
                    </a:moveTo>
                    <a:lnTo>
                      <a:pt x="0" y="527"/>
                    </a:lnTo>
                    <a:lnTo>
                      <a:pt x="305" y="351"/>
                    </a:lnTo>
                    <a:lnTo>
                      <a:pt x="305" y="0"/>
                    </a:lnTo>
                    <a:lnTo>
                      <a:pt x="0" y="175"/>
                    </a:lnTo>
                    <a:close/>
                  </a:path>
                </a:pathLst>
              </a:cu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1" name="Freeform 16"/>
              <p:cNvSpPr>
                <a:spLocks/>
              </p:cNvSpPr>
              <p:nvPr/>
            </p:nvSpPr>
            <p:spPr bwMode="auto">
              <a:xfrm>
                <a:off x="10040039" y="3875383"/>
                <a:ext cx="811477" cy="466167"/>
              </a:xfrm>
              <a:custGeom>
                <a:avLst/>
                <a:gdLst>
                  <a:gd name="T0" fmla="*/ 306 w 611"/>
                  <a:gd name="T1" fmla="*/ 351 h 351"/>
                  <a:gd name="T2" fmla="*/ 0 w 611"/>
                  <a:gd name="T3" fmla="*/ 173 h 351"/>
                  <a:gd name="T4" fmla="*/ 306 w 611"/>
                  <a:gd name="T5" fmla="*/ 0 h 351"/>
                  <a:gd name="T6" fmla="*/ 611 w 611"/>
                  <a:gd name="T7" fmla="*/ 173 h 351"/>
                  <a:gd name="T8" fmla="*/ 306 w 611"/>
                  <a:gd name="T9" fmla="*/ 351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1" h="351">
                    <a:moveTo>
                      <a:pt x="306" y="351"/>
                    </a:moveTo>
                    <a:lnTo>
                      <a:pt x="0" y="173"/>
                    </a:lnTo>
                    <a:lnTo>
                      <a:pt x="306" y="0"/>
                    </a:lnTo>
                    <a:lnTo>
                      <a:pt x="611" y="173"/>
                    </a:lnTo>
                    <a:lnTo>
                      <a:pt x="306" y="351"/>
                    </a:lnTo>
                    <a:close/>
                  </a:path>
                </a:pathLst>
              </a:custGeom>
              <a:solidFill>
                <a:srgbClr val="9B4F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</p:grpSp>
        <p:sp>
          <p:nvSpPr>
            <p:cNvPr id="15" name="TextBox 14"/>
            <p:cNvSpPr txBox="1"/>
            <p:nvPr/>
          </p:nvSpPr>
          <p:spPr>
            <a:xfrm>
              <a:off x="10272407" y="5327699"/>
              <a:ext cx="593726" cy="593726"/>
            </a:xfrm>
            <a:prstGeom prst="ellipse">
              <a:avLst/>
            </a:prstGeom>
            <a:solidFill>
              <a:schemeClr val="accent5"/>
            </a:solidFill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88"/>
                </a:spcAft>
              </a:pPr>
              <a:endParaRPr lang="en-US" sz="1372" b="1">
                <a:solidFill>
                  <a:schemeClr val="accent5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8991666" y="5478462"/>
              <a:ext cx="593726" cy="593726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88"/>
                </a:spcAft>
              </a:pPr>
              <a:endParaRPr lang="en-US" sz="1372" b="1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8925987" y="5964668"/>
              <a:ext cx="914400" cy="914400"/>
            </a:xfrm>
            <a:prstGeom prst="ellipse">
              <a:avLst/>
            </a:prstGeom>
            <a:solidFill>
              <a:schemeClr val="tx2"/>
            </a:solidFill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88"/>
                </a:spcAft>
              </a:pPr>
              <a:endParaRPr lang="en-US" sz="1765" b="1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3986740"/>
      </p:ext>
    </p:extLst>
  </p:cSld>
  <p:clrMapOvr>
    <a:masterClrMapping/>
  </p:clrMapOvr>
  <p:transition advClick="0"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58pt Title/24pt Text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73713" y="2100815"/>
            <a:ext cx="8048342" cy="1686801"/>
          </a:xfrm>
        </p:spPr>
        <p:txBody>
          <a:bodyPr/>
          <a:lstStyle>
            <a:lvl1pPr>
              <a:defRPr sz="5882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1640" y="3877277"/>
            <a:ext cx="8035234" cy="48340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bg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8750521" y="1315052"/>
            <a:ext cx="3441479" cy="5429745"/>
            <a:chOff x="8925987" y="1341231"/>
            <a:chExt cx="3510488" cy="5537837"/>
          </a:xfrm>
        </p:grpSpPr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9080596" y="2696006"/>
              <a:ext cx="3246304" cy="4001502"/>
            </a:xfrm>
            <a:custGeom>
              <a:avLst/>
              <a:gdLst>
                <a:gd name="T0" fmla="*/ 0 w 2476"/>
                <a:gd name="T1" fmla="*/ 2588 h 3052"/>
                <a:gd name="T2" fmla="*/ 1237 w 2476"/>
                <a:gd name="T3" fmla="*/ 0 h 3052"/>
                <a:gd name="T4" fmla="*/ 2476 w 2476"/>
                <a:gd name="T5" fmla="*/ 976 h 3052"/>
                <a:gd name="T6" fmla="*/ 495 w 2476"/>
                <a:gd name="T7" fmla="*/ 3052 h 3052"/>
                <a:gd name="T8" fmla="*/ 0 w 2476"/>
                <a:gd name="T9" fmla="*/ 2588 h 3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6" h="3052">
                  <a:moveTo>
                    <a:pt x="0" y="2588"/>
                  </a:moveTo>
                  <a:lnTo>
                    <a:pt x="1237" y="0"/>
                  </a:lnTo>
                  <a:lnTo>
                    <a:pt x="2476" y="976"/>
                  </a:lnTo>
                  <a:lnTo>
                    <a:pt x="495" y="3052"/>
                  </a:lnTo>
                  <a:lnTo>
                    <a:pt x="0" y="2588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  <a:alpha val="14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11185247" y="1341231"/>
              <a:ext cx="1239838" cy="813644"/>
            </a:xfrm>
            <a:custGeom>
              <a:avLst/>
              <a:gdLst>
                <a:gd name="T0" fmla="*/ 168 w 1054"/>
                <a:gd name="T1" fmla="*/ 303 h 690"/>
                <a:gd name="T2" fmla="*/ 168 w 1054"/>
                <a:gd name="T3" fmla="*/ 289 h 690"/>
                <a:gd name="T4" fmla="*/ 459 w 1054"/>
                <a:gd name="T5" fmla="*/ 0 h 690"/>
                <a:gd name="T6" fmla="*/ 701 w 1054"/>
                <a:gd name="T7" fmla="*/ 129 h 690"/>
                <a:gd name="T8" fmla="*/ 781 w 1054"/>
                <a:gd name="T9" fmla="*/ 108 h 690"/>
                <a:gd name="T10" fmla="*/ 875 w 1054"/>
                <a:gd name="T11" fmla="*/ 136 h 690"/>
                <a:gd name="T12" fmla="*/ 950 w 1054"/>
                <a:gd name="T13" fmla="*/ 272 h 690"/>
                <a:gd name="T14" fmla="*/ 1054 w 1054"/>
                <a:gd name="T15" fmla="*/ 463 h 690"/>
                <a:gd name="T16" fmla="*/ 851 w 1054"/>
                <a:gd name="T17" fmla="*/ 690 h 690"/>
                <a:gd name="T18" fmla="*/ 825 w 1054"/>
                <a:gd name="T19" fmla="*/ 690 h 690"/>
                <a:gd name="T20" fmla="*/ 802 w 1054"/>
                <a:gd name="T21" fmla="*/ 690 h 690"/>
                <a:gd name="T22" fmla="*/ 327 w 1054"/>
                <a:gd name="T23" fmla="*/ 690 h 690"/>
                <a:gd name="T24" fmla="*/ 318 w 1054"/>
                <a:gd name="T25" fmla="*/ 690 h 690"/>
                <a:gd name="T26" fmla="*/ 306 w 1054"/>
                <a:gd name="T27" fmla="*/ 690 h 690"/>
                <a:gd name="T28" fmla="*/ 271 w 1054"/>
                <a:gd name="T29" fmla="*/ 690 h 690"/>
                <a:gd name="T30" fmla="*/ 195 w 1054"/>
                <a:gd name="T31" fmla="*/ 690 h 690"/>
                <a:gd name="T32" fmla="*/ 0 w 1054"/>
                <a:gd name="T33" fmla="*/ 495 h 690"/>
                <a:gd name="T34" fmla="*/ 168 w 1054"/>
                <a:gd name="T35" fmla="*/ 303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4" h="690">
                  <a:moveTo>
                    <a:pt x="168" y="303"/>
                  </a:moveTo>
                  <a:cubicBezTo>
                    <a:pt x="168" y="299"/>
                    <a:pt x="168" y="293"/>
                    <a:pt x="168" y="289"/>
                  </a:cubicBezTo>
                  <a:cubicBezTo>
                    <a:pt x="168" y="129"/>
                    <a:pt x="298" y="0"/>
                    <a:pt x="459" y="0"/>
                  </a:cubicBezTo>
                  <a:cubicBezTo>
                    <a:pt x="560" y="0"/>
                    <a:pt x="649" y="52"/>
                    <a:pt x="701" y="129"/>
                  </a:cubicBezTo>
                  <a:cubicBezTo>
                    <a:pt x="725" y="116"/>
                    <a:pt x="752" y="108"/>
                    <a:pt x="781" y="108"/>
                  </a:cubicBezTo>
                  <a:cubicBezTo>
                    <a:pt x="816" y="108"/>
                    <a:pt x="848" y="118"/>
                    <a:pt x="875" y="136"/>
                  </a:cubicBezTo>
                  <a:cubicBezTo>
                    <a:pt x="919" y="166"/>
                    <a:pt x="948" y="215"/>
                    <a:pt x="950" y="272"/>
                  </a:cubicBezTo>
                  <a:cubicBezTo>
                    <a:pt x="1012" y="312"/>
                    <a:pt x="1054" y="384"/>
                    <a:pt x="1054" y="463"/>
                  </a:cubicBezTo>
                  <a:cubicBezTo>
                    <a:pt x="1054" y="580"/>
                    <a:pt x="965" y="676"/>
                    <a:pt x="851" y="690"/>
                  </a:cubicBezTo>
                  <a:cubicBezTo>
                    <a:pt x="843" y="690"/>
                    <a:pt x="833" y="690"/>
                    <a:pt x="825" y="690"/>
                  </a:cubicBezTo>
                  <a:cubicBezTo>
                    <a:pt x="818" y="690"/>
                    <a:pt x="810" y="690"/>
                    <a:pt x="802" y="690"/>
                  </a:cubicBezTo>
                  <a:cubicBezTo>
                    <a:pt x="696" y="690"/>
                    <a:pt x="446" y="690"/>
                    <a:pt x="327" y="690"/>
                  </a:cubicBezTo>
                  <a:cubicBezTo>
                    <a:pt x="324" y="690"/>
                    <a:pt x="320" y="690"/>
                    <a:pt x="318" y="690"/>
                  </a:cubicBezTo>
                  <a:cubicBezTo>
                    <a:pt x="306" y="690"/>
                    <a:pt x="306" y="690"/>
                    <a:pt x="306" y="690"/>
                  </a:cubicBezTo>
                  <a:cubicBezTo>
                    <a:pt x="300" y="690"/>
                    <a:pt x="283" y="690"/>
                    <a:pt x="271" y="690"/>
                  </a:cubicBezTo>
                  <a:cubicBezTo>
                    <a:pt x="195" y="690"/>
                    <a:pt x="195" y="690"/>
                    <a:pt x="195" y="690"/>
                  </a:cubicBezTo>
                  <a:cubicBezTo>
                    <a:pt x="87" y="688"/>
                    <a:pt x="0" y="601"/>
                    <a:pt x="0" y="495"/>
                  </a:cubicBezTo>
                  <a:cubicBezTo>
                    <a:pt x="0" y="397"/>
                    <a:pt x="73" y="316"/>
                    <a:pt x="168" y="30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10332390" y="1583889"/>
              <a:ext cx="1239838" cy="813644"/>
            </a:xfrm>
            <a:custGeom>
              <a:avLst/>
              <a:gdLst>
                <a:gd name="T0" fmla="*/ 168 w 1054"/>
                <a:gd name="T1" fmla="*/ 303 h 690"/>
                <a:gd name="T2" fmla="*/ 168 w 1054"/>
                <a:gd name="T3" fmla="*/ 289 h 690"/>
                <a:gd name="T4" fmla="*/ 459 w 1054"/>
                <a:gd name="T5" fmla="*/ 0 h 690"/>
                <a:gd name="T6" fmla="*/ 701 w 1054"/>
                <a:gd name="T7" fmla="*/ 129 h 690"/>
                <a:gd name="T8" fmla="*/ 781 w 1054"/>
                <a:gd name="T9" fmla="*/ 108 h 690"/>
                <a:gd name="T10" fmla="*/ 875 w 1054"/>
                <a:gd name="T11" fmla="*/ 136 h 690"/>
                <a:gd name="T12" fmla="*/ 950 w 1054"/>
                <a:gd name="T13" fmla="*/ 272 h 690"/>
                <a:gd name="T14" fmla="*/ 1054 w 1054"/>
                <a:gd name="T15" fmla="*/ 463 h 690"/>
                <a:gd name="T16" fmla="*/ 851 w 1054"/>
                <a:gd name="T17" fmla="*/ 690 h 690"/>
                <a:gd name="T18" fmla="*/ 825 w 1054"/>
                <a:gd name="T19" fmla="*/ 690 h 690"/>
                <a:gd name="T20" fmla="*/ 802 w 1054"/>
                <a:gd name="T21" fmla="*/ 690 h 690"/>
                <a:gd name="T22" fmla="*/ 327 w 1054"/>
                <a:gd name="T23" fmla="*/ 690 h 690"/>
                <a:gd name="T24" fmla="*/ 318 w 1054"/>
                <a:gd name="T25" fmla="*/ 690 h 690"/>
                <a:gd name="T26" fmla="*/ 306 w 1054"/>
                <a:gd name="T27" fmla="*/ 690 h 690"/>
                <a:gd name="T28" fmla="*/ 271 w 1054"/>
                <a:gd name="T29" fmla="*/ 690 h 690"/>
                <a:gd name="T30" fmla="*/ 195 w 1054"/>
                <a:gd name="T31" fmla="*/ 690 h 690"/>
                <a:gd name="T32" fmla="*/ 0 w 1054"/>
                <a:gd name="T33" fmla="*/ 495 h 690"/>
                <a:gd name="T34" fmla="*/ 168 w 1054"/>
                <a:gd name="T35" fmla="*/ 303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4" h="690">
                  <a:moveTo>
                    <a:pt x="168" y="303"/>
                  </a:moveTo>
                  <a:cubicBezTo>
                    <a:pt x="168" y="299"/>
                    <a:pt x="168" y="293"/>
                    <a:pt x="168" y="289"/>
                  </a:cubicBezTo>
                  <a:cubicBezTo>
                    <a:pt x="168" y="129"/>
                    <a:pt x="298" y="0"/>
                    <a:pt x="459" y="0"/>
                  </a:cubicBezTo>
                  <a:cubicBezTo>
                    <a:pt x="560" y="0"/>
                    <a:pt x="649" y="52"/>
                    <a:pt x="701" y="129"/>
                  </a:cubicBezTo>
                  <a:cubicBezTo>
                    <a:pt x="725" y="116"/>
                    <a:pt x="752" y="108"/>
                    <a:pt x="781" y="108"/>
                  </a:cubicBezTo>
                  <a:cubicBezTo>
                    <a:pt x="816" y="108"/>
                    <a:pt x="848" y="118"/>
                    <a:pt x="875" y="136"/>
                  </a:cubicBezTo>
                  <a:cubicBezTo>
                    <a:pt x="919" y="166"/>
                    <a:pt x="948" y="215"/>
                    <a:pt x="950" y="272"/>
                  </a:cubicBezTo>
                  <a:cubicBezTo>
                    <a:pt x="1012" y="312"/>
                    <a:pt x="1054" y="384"/>
                    <a:pt x="1054" y="463"/>
                  </a:cubicBezTo>
                  <a:cubicBezTo>
                    <a:pt x="1054" y="580"/>
                    <a:pt x="965" y="676"/>
                    <a:pt x="851" y="690"/>
                  </a:cubicBezTo>
                  <a:cubicBezTo>
                    <a:pt x="843" y="690"/>
                    <a:pt x="833" y="690"/>
                    <a:pt x="825" y="690"/>
                  </a:cubicBezTo>
                  <a:cubicBezTo>
                    <a:pt x="818" y="690"/>
                    <a:pt x="810" y="690"/>
                    <a:pt x="802" y="690"/>
                  </a:cubicBezTo>
                  <a:cubicBezTo>
                    <a:pt x="696" y="690"/>
                    <a:pt x="446" y="690"/>
                    <a:pt x="327" y="690"/>
                  </a:cubicBezTo>
                  <a:cubicBezTo>
                    <a:pt x="324" y="690"/>
                    <a:pt x="320" y="690"/>
                    <a:pt x="318" y="690"/>
                  </a:cubicBezTo>
                  <a:cubicBezTo>
                    <a:pt x="306" y="690"/>
                    <a:pt x="306" y="690"/>
                    <a:pt x="306" y="690"/>
                  </a:cubicBezTo>
                  <a:cubicBezTo>
                    <a:pt x="300" y="690"/>
                    <a:pt x="283" y="690"/>
                    <a:pt x="271" y="690"/>
                  </a:cubicBezTo>
                  <a:cubicBezTo>
                    <a:pt x="195" y="690"/>
                    <a:pt x="195" y="690"/>
                    <a:pt x="195" y="690"/>
                  </a:cubicBezTo>
                  <a:cubicBezTo>
                    <a:pt x="87" y="688"/>
                    <a:pt x="0" y="601"/>
                    <a:pt x="0" y="495"/>
                  </a:cubicBezTo>
                  <a:cubicBezTo>
                    <a:pt x="0" y="397"/>
                    <a:pt x="73" y="316"/>
                    <a:pt x="168" y="30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9405174" y="1369064"/>
              <a:ext cx="895827" cy="587887"/>
            </a:xfrm>
            <a:custGeom>
              <a:avLst/>
              <a:gdLst>
                <a:gd name="T0" fmla="*/ 168 w 1054"/>
                <a:gd name="T1" fmla="*/ 303 h 690"/>
                <a:gd name="T2" fmla="*/ 168 w 1054"/>
                <a:gd name="T3" fmla="*/ 289 h 690"/>
                <a:gd name="T4" fmla="*/ 459 w 1054"/>
                <a:gd name="T5" fmla="*/ 0 h 690"/>
                <a:gd name="T6" fmla="*/ 701 w 1054"/>
                <a:gd name="T7" fmla="*/ 129 h 690"/>
                <a:gd name="T8" fmla="*/ 781 w 1054"/>
                <a:gd name="T9" fmla="*/ 108 h 690"/>
                <a:gd name="T10" fmla="*/ 875 w 1054"/>
                <a:gd name="T11" fmla="*/ 136 h 690"/>
                <a:gd name="T12" fmla="*/ 950 w 1054"/>
                <a:gd name="T13" fmla="*/ 272 h 690"/>
                <a:gd name="T14" fmla="*/ 1054 w 1054"/>
                <a:gd name="T15" fmla="*/ 463 h 690"/>
                <a:gd name="T16" fmla="*/ 851 w 1054"/>
                <a:gd name="T17" fmla="*/ 690 h 690"/>
                <a:gd name="T18" fmla="*/ 825 w 1054"/>
                <a:gd name="T19" fmla="*/ 690 h 690"/>
                <a:gd name="T20" fmla="*/ 802 w 1054"/>
                <a:gd name="T21" fmla="*/ 690 h 690"/>
                <a:gd name="T22" fmla="*/ 327 w 1054"/>
                <a:gd name="T23" fmla="*/ 690 h 690"/>
                <a:gd name="T24" fmla="*/ 318 w 1054"/>
                <a:gd name="T25" fmla="*/ 690 h 690"/>
                <a:gd name="T26" fmla="*/ 306 w 1054"/>
                <a:gd name="T27" fmla="*/ 690 h 690"/>
                <a:gd name="T28" fmla="*/ 271 w 1054"/>
                <a:gd name="T29" fmla="*/ 690 h 690"/>
                <a:gd name="T30" fmla="*/ 195 w 1054"/>
                <a:gd name="T31" fmla="*/ 690 h 690"/>
                <a:gd name="T32" fmla="*/ 0 w 1054"/>
                <a:gd name="T33" fmla="*/ 495 h 690"/>
                <a:gd name="T34" fmla="*/ 168 w 1054"/>
                <a:gd name="T35" fmla="*/ 303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4" h="690">
                  <a:moveTo>
                    <a:pt x="168" y="303"/>
                  </a:moveTo>
                  <a:cubicBezTo>
                    <a:pt x="168" y="299"/>
                    <a:pt x="168" y="293"/>
                    <a:pt x="168" y="289"/>
                  </a:cubicBezTo>
                  <a:cubicBezTo>
                    <a:pt x="168" y="129"/>
                    <a:pt x="298" y="0"/>
                    <a:pt x="459" y="0"/>
                  </a:cubicBezTo>
                  <a:cubicBezTo>
                    <a:pt x="560" y="0"/>
                    <a:pt x="649" y="52"/>
                    <a:pt x="701" y="129"/>
                  </a:cubicBezTo>
                  <a:cubicBezTo>
                    <a:pt x="725" y="116"/>
                    <a:pt x="752" y="108"/>
                    <a:pt x="781" y="108"/>
                  </a:cubicBezTo>
                  <a:cubicBezTo>
                    <a:pt x="816" y="108"/>
                    <a:pt x="848" y="118"/>
                    <a:pt x="875" y="136"/>
                  </a:cubicBezTo>
                  <a:cubicBezTo>
                    <a:pt x="919" y="166"/>
                    <a:pt x="948" y="215"/>
                    <a:pt x="950" y="272"/>
                  </a:cubicBezTo>
                  <a:cubicBezTo>
                    <a:pt x="1012" y="312"/>
                    <a:pt x="1054" y="384"/>
                    <a:pt x="1054" y="463"/>
                  </a:cubicBezTo>
                  <a:cubicBezTo>
                    <a:pt x="1054" y="580"/>
                    <a:pt x="965" y="676"/>
                    <a:pt x="851" y="690"/>
                  </a:cubicBezTo>
                  <a:cubicBezTo>
                    <a:pt x="843" y="690"/>
                    <a:pt x="833" y="690"/>
                    <a:pt x="825" y="690"/>
                  </a:cubicBezTo>
                  <a:cubicBezTo>
                    <a:pt x="818" y="690"/>
                    <a:pt x="810" y="690"/>
                    <a:pt x="802" y="690"/>
                  </a:cubicBezTo>
                  <a:cubicBezTo>
                    <a:pt x="696" y="690"/>
                    <a:pt x="446" y="690"/>
                    <a:pt x="327" y="690"/>
                  </a:cubicBezTo>
                  <a:cubicBezTo>
                    <a:pt x="324" y="690"/>
                    <a:pt x="320" y="690"/>
                    <a:pt x="318" y="690"/>
                  </a:cubicBezTo>
                  <a:cubicBezTo>
                    <a:pt x="306" y="690"/>
                    <a:pt x="306" y="690"/>
                    <a:pt x="306" y="690"/>
                  </a:cubicBezTo>
                  <a:cubicBezTo>
                    <a:pt x="300" y="690"/>
                    <a:pt x="283" y="690"/>
                    <a:pt x="271" y="690"/>
                  </a:cubicBezTo>
                  <a:cubicBezTo>
                    <a:pt x="195" y="690"/>
                    <a:pt x="195" y="690"/>
                    <a:pt x="195" y="690"/>
                  </a:cubicBezTo>
                  <a:cubicBezTo>
                    <a:pt x="87" y="688"/>
                    <a:pt x="0" y="601"/>
                    <a:pt x="0" y="495"/>
                  </a:cubicBezTo>
                  <a:cubicBezTo>
                    <a:pt x="0" y="397"/>
                    <a:pt x="73" y="316"/>
                    <a:pt x="168" y="30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11280477" y="3072737"/>
              <a:ext cx="1155998" cy="1162044"/>
              <a:chOff x="13209584" y="-2840041"/>
              <a:chExt cx="1820862" cy="1830385"/>
            </a:xfrm>
          </p:grpSpPr>
          <p:sp>
            <p:nvSpPr>
              <p:cNvPr id="26" name="Oval 5"/>
              <p:cNvSpPr>
                <a:spLocks noChangeArrowheads="1"/>
              </p:cNvSpPr>
              <p:nvPr/>
            </p:nvSpPr>
            <p:spPr bwMode="auto">
              <a:xfrm>
                <a:off x="13209584" y="-2840041"/>
                <a:ext cx="1820862" cy="1830385"/>
              </a:xfrm>
              <a:prstGeom prst="ellipse">
                <a:avLst/>
              </a:prstGeom>
              <a:solidFill>
                <a:srgbClr val="FFB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7" name="Freeform 6"/>
              <p:cNvSpPr>
                <a:spLocks/>
              </p:cNvSpPr>
              <p:nvPr/>
            </p:nvSpPr>
            <p:spPr bwMode="auto">
              <a:xfrm>
                <a:off x="13633446" y="-2205042"/>
                <a:ext cx="488950" cy="836611"/>
              </a:xfrm>
              <a:custGeom>
                <a:avLst/>
                <a:gdLst>
                  <a:gd name="T0" fmla="*/ 308 w 308"/>
                  <a:gd name="T1" fmla="*/ 175 h 527"/>
                  <a:gd name="T2" fmla="*/ 305 w 308"/>
                  <a:gd name="T3" fmla="*/ 527 h 527"/>
                  <a:gd name="T4" fmla="*/ 0 w 308"/>
                  <a:gd name="T5" fmla="*/ 351 h 527"/>
                  <a:gd name="T6" fmla="*/ 2 w 308"/>
                  <a:gd name="T7" fmla="*/ 0 h 527"/>
                  <a:gd name="T8" fmla="*/ 308 w 308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527">
                    <a:moveTo>
                      <a:pt x="308" y="175"/>
                    </a:moveTo>
                    <a:lnTo>
                      <a:pt x="305" y="527"/>
                    </a:lnTo>
                    <a:lnTo>
                      <a:pt x="0" y="351"/>
                    </a:lnTo>
                    <a:lnTo>
                      <a:pt x="2" y="0"/>
                    </a:lnTo>
                    <a:lnTo>
                      <a:pt x="308" y="175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8" name="Freeform 7"/>
              <p:cNvSpPr>
                <a:spLocks/>
              </p:cNvSpPr>
              <p:nvPr/>
            </p:nvSpPr>
            <p:spPr bwMode="auto">
              <a:xfrm>
                <a:off x="14122396" y="-2205042"/>
                <a:ext cx="484187" cy="836611"/>
              </a:xfrm>
              <a:custGeom>
                <a:avLst/>
                <a:gdLst>
                  <a:gd name="T0" fmla="*/ 0 w 305"/>
                  <a:gd name="T1" fmla="*/ 175 h 527"/>
                  <a:gd name="T2" fmla="*/ 0 w 305"/>
                  <a:gd name="T3" fmla="*/ 527 h 527"/>
                  <a:gd name="T4" fmla="*/ 305 w 305"/>
                  <a:gd name="T5" fmla="*/ 351 h 527"/>
                  <a:gd name="T6" fmla="*/ 305 w 305"/>
                  <a:gd name="T7" fmla="*/ 0 h 527"/>
                  <a:gd name="T8" fmla="*/ 0 w 305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5" h="527">
                    <a:moveTo>
                      <a:pt x="0" y="175"/>
                    </a:moveTo>
                    <a:lnTo>
                      <a:pt x="0" y="527"/>
                    </a:lnTo>
                    <a:lnTo>
                      <a:pt x="305" y="351"/>
                    </a:lnTo>
                    <a:lnTo>
                      <a:pt x="305" y="0"/>
                    </a:lnTo>
                    <a:lnTo>
                      <a:pt x="0" y="175"/>
                    </a:lnTo>
                    <a:close/>
                  </a:path>
                </a:pathLst>
              </a:cu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9" name="Freeform 8"/>
              <p:cNvSpPr>
                <a:spLocks/>
              </p:cNvSpPr>
              <p:nvPr/>
            </p:nvSpPr>
            <p:spPr bwMode="auto">
              <a:xfrm>
                <a:off x="13636621" y="-2484441"/>
                <a:ext cx="969962" cy="557212"/>
              </a:xfrm>
              <a:custGeom>
                <a:avLst/>
                <a:gdLst>
                  <a:gd name="T0" fmla="*/ 306 w 611"/>
                  <a:gd name="T1" fmla="*/ 351 h 351"/>
                  <a:gd name="T2" fmla="*/ 0 w 611"/>
                  <a:gd name="T3" fmla="*/ 173 h 351"/>
                  <a:gd name="T4" fmla="*/ 303 w 611"/>
                  <a:gd name="T5" fmla="*/ 0 h 351"/>
                  <a:gd name="T6" fmla="*/ 611 w 611"/>
                  <a:gd name="T7" fmla="*/ 173 h 351"/>
                  <a:gd name="T8" fmla="*/ 306 w 611"/>
                  <a:gd name="T9" fmla="*/ 351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1" h="351">
                    <a:moveTo>
                      <a:pt x="306" y="351"/>
                    </a:moveTo>
                    <a:lnTo>
                      <a:pt x="0" y="173"/>
                    </a:lnTo>
                    <a:lnTo>
                      <a:pt x="303" y="0"/>
                    </a:lnTo>
                    <a:lnTo>
                      <a:pt x="611" y="173"/>
                    </a:lnTo>
                    <a:lnTo>
                      <a:pt x="306" y="351"/>
                    </a:lnTo>
                    <a:close/>
                  </a:path>
                </a:pathLst>
              </a:custGeom>
              <a:solidFill>
                <a:srgbClr val="FCD1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10518590" y="2205906"/>
              <a:ext cx="1227128" cy="1233544"/>
              <a:chOff x="15478120" y="-2840041"/>
              <a:chExt cx="1820862" cy="1830385"/>
            </a:xfrm>
          </p:grpSpPr>
          <p:sp>
            <p:nvSpPr>
              <p:cNvPr id="22" name="Oval 9"/>
              <p:cNvSpPr>
                <a:spLocks noChangeArrowheads="1"/>
              </p:cNvSpPr>
              <p:nvPr/>
            </p:nvSpPr>
            <p:spPr bwMode="auto">
              <a:xfrm>
                <a:off x="15478120" y="-2840041"/>
                <a:ext cx="1820862" cy="1830385"/>
              </a:xfrm>
              <a:prstGeom prst="ellipse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3" name="Freeform 10"/>
              <p:cNvSpPr>
                <a:spLocks/>
              </p:cNvSpPr>
              <p:nvPr/>
            </p:nvSpPr>
            <p:spPr bwMode="auto">
              <a:xfrm>
                <a:off x="15901983" y="-2205042"/>
                <a:ext cx="488950" cy="836611"/>
              </a:xfrm>
              <a:custGeom>
                <a:avLst/>
                <a:gdLst>
                  <a:gd name="T0" fmla="*/ 308 w 308"/>
                  <a:gd name="T1" fmla="*/ 175 h 527"/>
                  <a:gd name="T2" fmla="*/ 305 w 308"/>
                  <a:gd name="T3" fmla="*/ 527 h 527"/>
                  <a:gd name="T4" fmla="*/ 0 w 308"/>
                  <a:gd name="T5" fmla="*/ 351 h 527"/>
                  <a:gd name="T6" fmla="*/ 0 w 308"/>
                  <a:gd name="T7" fmla="*/ 0 h 527"/>
                  <a:gd name="T8" fmla="*/ 308 w 308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527">
                    <a:moveTo>
                      <a:pt x="308" y="175"/>
                    </a:moveTo>
                    <a:lnTo>
                      <a:pt x="305" y="527"/>
                    </a:lnTo>
                    <a:lnTo>
                      <a:pt x="0" y="351"/>
                    </a:lnTo>
                    <a:lnTo>
                      <a:pt x="0" y="0"/>
                    </a:lnTo>
                    <a:lnTo>
                      <a:pt x="308" y="17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4" name="Freeform 11"/>
              <p:cNvSpPr>
                <a:spLocks/>
              </p:cNvSpPr>
              <p:nvPr/>
            </p:nvSpPr>
            <p:spPr bwMode="auto">
              <a:xfrm>
                <a:off x="16386170" y="-2205042"/>
                <a:ext cx="488950" cy="836611"/>
              </a:xfrm>
              <a:custGeom>
                <a:avLst/>
                <a:gdLst>
                  <a:gd name="T0" fmla="*/ 3 w 308"/>
                  <a:gd name="T1" fmla="*/ 175 h 527"/>
                  <a:gd name="T2" fmla="*/ 0 w 308"/>
                  <a:gd name="T3" fmla="*/ 527 h 527"/>
                  <a:gd name="T4" fmla="*/ 306 w 308"/>
                  <a:gd name="T5" fmla="*/ 351 h 527"/>
                  <a:gd name="T6" fmla="*/ 308 w 308"/>
                  <a:gd name="T7" fmla="*/ 0 h 527"/>
                  <a:gd name="T8" fmla="*/ 3 w 308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527">
                    <a:moveTo>
                      <a:pt x="3" y="175"/>
                    </a:moveTo>
                    <a:lnTo>
                      <a:pt x="0" y="527"/>
                    </a:lnTo>
                    <a:lnTo>
                      <a:pt x="306" y="351"/>
                    </a:lnTo>
                    <a:lnTo>
                      <a:pt x="308" y="0"/>
                    </a:lnTo>
                    <a:lnTo>
                      <a:pt x="3" y="175"/>
                    </a:lnTo>
                    <a:close/>
                  </a:path>
                </a:pathLst>
              </a:custGeom>
              <a:solidFill>
                <a:srgbClr val="007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5" name="Freeform 12"/>
              <p:cNvSpPr>
                <a:spLocks/>
              </p:cNvSpPr>
              <p:nvPr/>
            </p:nvSpPr>
            <p:spPr bwMode="auto">
              <a:xfrm>
                <a:off x="15901983" y="-2484441"/>
                <a:ext cx="973137" cy="557212"/>
              </a:xfrm>
              <a:custGeom>
                <a:avLst/>
                <a:gdLst>
                  <a:gd name="T0" fmla="*/ 308 w 613"/>
                  <a:gd name="T1" fmla="*/ 351 h 351"/>
                  <a:gd name="T2" fmla="*/ 0 w 613"/>
                  <a:gd name="T3" fmla="*/ 173 h 351"/>
                  <a:gd name="T4" fmla="*/ 305 w 613"/>
                  <a:gd name="T5" fmla="*/ 0 h 351"/>
                  <a:gd name="T6" fmla="*/ 613 w 613"/>
                  <a:gd name="T7" fmla="*/ 173 h 351"/>
                  <a:gd name="T8" fmla="*/ 308 w 613"/>
                  <a:gd name="T9" fmla="*/ 351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3" h="351">
                    <a:moveTo>
                      <a:pt x="308" y="351"/>
                    </a:moveTo>
                    <a:lnTo>
                      <a:pt x="0" y="173"/>
                    </a:lnTo>
                    <a:lnTo>
                      <a:pt x="305" y="0"/>
                    </a:lnTo>
                    <a:lnTo>
                      <a:pt x="613" y="173"/>
                    </a:lnTo>
                    <a:lnTo>
                      <a:pt x="308" y="351"/>
                    </a:lnTo>
                    <a:close/>
                  </a:path>
                </a:pathLst>
              </a:custGeom>
              <a:solidFill>
                <a:srgbClr val="55D4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10136778" y="3451591"/>
              <a:ext cx="1520689" cy="1531312"/>
              <a:chOff x="9685432" y="3577886"/>
              <a:chExt cx="1520689" cy="1531312"/>
            </a:xfrm>
          </p:grpSpPr>
          <p:sp>
            <p:nvSpPr>
              <p:cNvPr id="18" name="Oval 13"/>
              <p:cNvSpPr>
                <a:spLocks noChangeArrowheads="1"/>
              </p:cNvSpPr>
              <p:nvPr/>
            </p:nvSpPr>
            <p:spPr bwMode="auto">
              <a:xfrm>
                <a:off x="9685432" y="3577886"/>
                <a:ext cx="1520689" cy="1531312"/>
              </a:xfrm>
              <a:prstGeom prst="ellipse">
                <a:avLst/>
              </a:prstGeom>
              <a:solidFill>
                <a:srgbClr val="4668C5">
                  <a:alpha val="8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9" name="Freeform 14"/>
              <p:cNvSpPr>
                <a:spLocks/>
              </p:cNvSpPr>
              <p:nvPr/>
            </p:nvSpPr>
            <p:spPr bwMode="auto">
              <a:xfrm>
                <a:off x="10040039" y="4109130"/>
                <a:ext cx="406403" cy="699914"/>
              </a:xfrm>
              <a:custGeom>
                <a:avLst/>
                <a:gdLst>
                  <a:gd name="T0" fmla="*/ 306 w 306"/>
                  <a:gd name="T1" fmla="*/ 175 h 527"/>
                  <a:gd name="T2" fmla="*/ 306 w 306"/>
                  <a:gd name="T3" fmla="*/ 527 h 527"/>
                  <a:gd name="T4" fmla="*/ 0 w 306"/>
                  <a:gd name="T5" fmla="*/ 351 h 527"/>
                  <a:gd name="T6" fmla="*/ 0 w 306"/>
                  <a:gd name="T7" fmla="*/ 0 h 527"/>
                  <a:gd name="T8" fmla="*/ 306 w 306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6" h="527">
                    <a:moveTo>
                      <a:pt x="306" y="175"/>
                    </a:moveTo>
                    <a:lnTo>
                      <a:pt x="306" y="527"/>
                    </a:lnTo>
                    <a:lnTo>
                      <a:pt x="0" y="351"/>
                    </a:lnTo>
                    <a:lnTo>
                      <a:pt x="0" y="0"/>
                    </a:lnTo>
                    <a:lnTo>
                      <a:pt x="306" y="175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0" name="Freeform 15"/>
              <p:cNvSpPr>
                <a:spLocks/>
              </p:cNvSpPr>
              <p:nvPr/>
            </p:nvSpPr>
            <p:spPr bwMode="auto">
              <a:xfrm>
                <a:off x="10446440" y="4109130"/>
                <a:ext cx="405074" cy="699914"/>
              </a:xfrm>
              <a:custGeom>
                <a:avLst/>
                <a:gdLst>
                  <a:gd name="T0" fmla="*/ 0 w 305"/>
                  <a:gd name="T1" fmla="*/ 175 h 527"/>
                  <a:gd name="T2" fmla="*/ 0 w 305"/>
                  <a:gd name="T3" fmla="*/ 527 h 527"/>
                  <a:gd name="T4" fmla="*/ 305 w 305"/>
                  <a:gd name="T5" fmla="*/ 351 h 527"/>
                  <a:gd name="T6" fmla="*/ 305 w 305"/>
                  <a:gd name="T7" fmla="*/ 0 h 527"/>
                  <a:gd name="T8" fmla="*/ 0 w 305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5" h="527">
                    <a:moveTo>
                      <a:pt x="0" y="175"/>
                    </a:moveTo>
                    <a:lnTo>
                      <a:pt x="0" y="527"/>
                    </a:lnTo>
                    <a:lnTo>
                      <a:pt x="305" y="351"/>
                    </a:lnTo>
                    <a:lnTo>
                      <a:pt x="305" y="0"/>
                    </a:lnTo>
                    <a:lnTo>
                      <a:pt x="0" y="175"/>
                    </a:lnTo>
                    <a:close/>
                  </a:path>
                </a:pathLst>
              </a:cu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1" name="Freeform 16"/>
              <p:cNvSpPr>
                <a:spLocks/>
              </p:cNvSpPr>
              <p:nvPr/>
            </p:nvSpPr>
            <p:spPr bwMode="auto">
              <a:xfrm>
                <a:off x="10040039" y="3875383"/>
                <a:ext cx="811477" cy="466167"/>
              </a:xfrm>
              <a:custGeom>
                <a:avLst/>
                <a:gdLst>
                  <a:gd name="T0" fmla="*/ 306 w 611"/>
                  <a:gd name="T1" fmla="*/ 351 h 351"/>
                  <a:gd name="T2" fmla="*/ 0 w 611"/>
                  <a:gd name="T3" fmla="*/ 173 h 351"/>
                  <a:gd name="T4" fmla="*/ 306 w 611"/>
                  <a:gd name="T5" fmla="*/ 0 h 351"/>
                  <a:gd name="T6" fmla="*/ 611 w 611"/>
                  <a:gd name="T7" fmla="*/ 173 h 351"/>
                  <a:gd name="T8" fmla="*/ 306 w 611"/>
                  <a:gd name="T9" fmla="*/ 351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1" h="351">
                    <a:moveTo>
                      <a:pt x="306" y="351"/>
                    </a:moveTo>
                    <a:lnTo>
                      <a:pt x="0" y="173"/>
                    </a:lnTo>
                    <a:lnTo>
                      <a:pt x="306" y="0"/>
                    </a:lnTo>
                    <a:lnTo>
                      <a:pt x="611" y="173"/>
                    </a:lnTo>
                    <a:lnTo>
                      <a:pt x="306" y="351"/>
                    </a:lnTo>
                    <a:close/>
                  </a:path>
                </a:pathLst>
              </a:custGeom>
              <a:solidFill>
                <a:srgbClr val="9B4F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</p:grpSp>
        <p:sp>
          <p:nvSpPr>
            <p:cNvPr id="15" name="TextBox 14"/>
            <p:cNvSpPr txBox="1"/>
            <p:nvPr/>
          </p:nvSpPr>
          <p:spPr>
            <a:xfrm>
              <a:off x="10272407" y="5327699"/>
              <a:ext cx="593726" cy="593726"/>
            </a:xfrm>
            <a:prstGeom prst="ellipse">
              <a:avLst/>
            </a:prstGeom>
            <a:solidFill>
              <a:schemeClr val="accent5"/>
            </a:solidFill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88"/>
                </a:spcAft>
              </a:pPr>
              <a:endParaRPr lang="en-US" sz="1372" b="1">
                <a:solidFill>
                  <a:schemeClr val="accent5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8991666" y="5478462"/>
              <a:ext cx="593726" cy="593726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88"/>
                </a:spcAft>
              </a:pPr>
              <a:endParaRPr lang="en-US" sz="1372" b="1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8925987" y="5964668"/>
              <a:ext cx="914400" cy="914400"/>
            </a:xfrm>
            <a:prstGeom prst="ellipse">
              <a:avLst/>
            </a:prstGeom>
            <a:solidFill>
              <a:schemeClr val="tx2"/>
            </a:solidFill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88"/>
                </a:spcAft>
              </a:pPr>
              <a:endParaRPr lang="en-US" sz="1765" b="1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1050128"/>
      </p:ext>
    </p:extLst>
  </p:cSld>
  <p:clrMapOvr>
    <a:masterClrMapping/>
  </p:clrMapOvr>
  <p:transition advClick="0"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58pt Title/24pt Text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73713" y="2100815"/>
            <a:ext cx="11007660" cy="1686801"/>
          </a:xfrm>
        </p:spPr>
        <p:txBody>
          <a:bodyPr/>
          <a:lstStyle>
            <a:lvl1pPr>
              <a:defRPr sz="5882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1640" y="3877277"/>
            <a:ext cx="10989732" cy="48340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bg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8750521" y="1315052"/>
            <a:ext cx="3441479" cy="5429745"/>
            <a:chOff x="8925987" y="1341231"/>
            <a:chExt cx="3510488" cy="5537837"/>
          </a:xfrm>
        </p:grpSpPr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9080596" y="2696006"/>
              <a:ext cx="3246304" cy="4001502"/>
            </a:xfrm>
            <a:custGeom>
              <a:avLst/>
              <a:gdLst>
                <a:gd name="T0" fmla="*/ 0 w 2476"/>
                <a:gd name="T1" fmla="*/ 2588 h 3052"/>
                <a:gd name="T2" fmla="*/ 1237 w 2476"/>
                <a:gd name="T3" fmla="*/ 0 h 3052"/>
                <a:gd name="T4" fmla="*/ 2476 w 2476"/>
                <a:gd name="T5" fmla="*/ 976 h 3052"/>
                <a:gd name="T6" fmla="*/ 495 w 2476"/>
                <a:gd name="T7" fmla="*/ 3052 h 3052"/>
                <a:gd name="T8" fmla="*/ 0 w 2476"/>
                <a:gd name="T9" fmla="*/ 2588 h 3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6" h="3052">
                  <a:moveTo>
                    <a:pt x="0" y="2588"/>
                  </a:moveTo>
                  <a:lnTo>
                    <a:pt x="1237" y="0"/>
                  </a:lnTo>
                  <a:lnTo>
                    <a:pt x="2476" y="976"/>
                  </a:lnTo>
                  <a:lnTo>
                    <a:pt x="495" y="3052"/>
                  </a:lnTo>
                  <a:lnTo>
                    <a:pt x="0" y="2588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  <a:alpha val="14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11185247" y="1341231"/>
              <a:ext cx="1239838" cy="813644"/>
            </a:xfrm>
            <a:custGeom>
              <a:avLst/>
              <a:gdLst>
                <a:gd name="T0" fmla="*/ 168 w 1054"/>
                <a:gd name="T1" fmla="*/ 303 h 690"/>
                <a:gd name="T2" fmla="*/ 168 w 1054"/>
                <a:gd name="T3" fmla="*/ 289 h 690"/>
                <a:gd name="T4" fmla="*/ 459 w 1054"/>
                <a:gd name="T5" fmla="*/ 0 h 690"/>
                <a:gd name="T6" fmla="*/ 701 w 1054"/>
                <a:gd name="T7" fmla="*/ 129 h 690"/>
                <a:gd name="T8" fmla="*/ 781 w 1054"/>
                <a:gd name="T9" fmla="*/ 108 h 690"/>
                <a:gd name="T10" fmla="*/ 875 w 1054"/>
                <a:gd name="T11" fmla="*/ 136 h 690"/>
                <a:gd name="T12" fmla="*/ 950 w 1054"/>
                <a:gd name="T13" fmla="*/ 272 h 690"/>
                <a:gd name="T14" fmla="*/ 1054 w 1054"/>
                <a:gd name="T15" fmla="*/ 463 h 690"/>
                <a:gd name="T16" fmla="*/ 851 w 1054"/>
                <a:gd name="T17" fmla="*/ 690 h 690"/>
                <a:gd name="T18" fmla="*/ 825 w 1054"/>
                <a:gd name="T19" fmla="*/ 690 h 690"/>
                <a:gd name="T20" fmla="*/ 802 w 1054"/>
                <a:gd name="T21" fmla="*/ 690 h 690"/>
                <a:gd name="T22" fmla="*/ 327 w 1054"/>
                <a:gd name="T23" fmla="*/ 690 h 690"/>
                <a:gd name="T24" fmla="*/ 318 w 1054"/>
                <a:gd name="T25" fmla="*/ 690 h 690"/>
                <a:gd name="T26" fmla="*/ 306 w 1054"/>
                <a:gd name="T27" fmla="*/ 690 h 690"/>
                <a:gd name="T28" fmla="*/ 271 w 1054"/>
                <a:gd name="T29" fmla="*/ 690 h 690"/>
                <a:gd name="T30" fmla="*/ 195 w 1054"/>
                <a:gd name="T31" fmla="*/ 690 h 690"/>
                <a:gd name="T32" fmla="*/ 0 w 1054"/>
                <a:gd name="T33" fmla="*/ 495 h 690"/>
                <a:gd name="T34" fmla="*/ 168 w 1054"/>
                <a:gd name="T35" fmla="*/ 303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4" h="690">
                  <a:moveTo>
                    <a:pt x="168" y="303"/>
                  </a:moveTo>
                  <a:cubicBezTo>
                    <a:pt x="168" y="299"/>
                    <a:pt x="168" y="293"/>
                    <a:pt x="168" y="289"/>
                  </a:cubicBezTo>
                  <a:cubicBezTo>
                    <a:pt x="168" y="129"/>
                    <a:pt x="298" y="0"/>
                    <a:pt x="459" y="0"/>
                  </a:cubicBezTo>
                  <a:cubicBezTo>
                    <a:pt x="560" y="0"/>
                    <a:pt x="649" y="52"/>
                    <a:pt x="701" y="129"/>
                  </a:cubicBezTo>
                  <a:cubicBezTo>
                    <a:pt x="725" y="116"/>
                    <a:pt x="752" y="108"/>
                    <a:pt x="781" y="108"/>
                  </a:cubicBezTo>
                  <a:cubicBezTo>
                    <a:pt x="816" y="108"/>
                    <a:pt x="848" y="118"/>
                    <a:pt x="875" y="136"/>
                  </a:cubicBezTo>
                  <a:cubicBezTo>
                    <a:pt x="919" y="166"/>
                    <a:pt x="948" y="215"/>
                    <a:pt x="950" y="272"/>
                  </a:cubicBezTo>
                  <a:cubicBezTo>
                    <a:pt x="1012" y="312"/>
                    <a:pt x="1054" y="384"/>
                    <a:pt x="1054" y="463"/>
                  </a:cubicBezTo>
                  <a:cubicBezTo>
                    <a:pt x="1054" y="580"/>
                    <a:pt x="965" y="676"/>
                    <a:pt x="851" y="690"/>
                  </a:cubicBezTo>
                  <a:cubicBezTo>
                    <a:pt x="843" y="690"/>
                    <a:pt x="833" y="690"/>
                    <a:pt x="825" y="690"/>
                  </a:cubicBezTo>
                  <a:cubicBezTo>
                    <a:pt x="818" y="690"/>
                    <a:pt x="810" y="690"/>
                    <a:pt x="802" y="690"/>
                  </a:cubicBezTo>
                  <a:cubicBezTo>
                    <a:pt x="696" y="690"/>
                    <a:pt x="446" y="690"/>
                    <a:pt x="327" y="690"/>
                  </a:cubicBezTo>
                  <a:cubicBezTo>
                    <a:pt x="324" y="690"/>
                    <a:pt x="320" y="690"/>
                    <a:pt x="318" y="690"/>
                  </a:cubicBezTo>
                  <a:cubicBezTo>
                    <a:pt x="306" y="690"/>
                    <a:pt x="306" y="690"/>
                    <a:pt x="306" y="690"/>
                  </a:cubicBezTo>
                  <a:cubicBezTo>
                    <a:pt x="300" y="690"/>
                    <a:pt x="283" y="690"/>
                    <a:pt x="271" y="690"/>
                  </a:cubicBezTo>
                  <a:cubicBezTo>
                    <a:pt x="195" y="690"/>
                    <a:pt x="195" y="690"/>
                    <a:pt x="195" y="690"/>
                  </a:cubicBezTo>
                  <a:cubicBezTo>
                    <a:pt x="87" y="688"/>
                    <a:pt x="0" y="601"/>
                    <a:pt x="0" y="495"/>
                  </a:cubicBezTo>
                  <a:cubicBezTo>
                    <a:pt x="0" y="397"/>
                    <a:pt x="73" y="316"/>
                    <a:pt x="168" y="30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10332390" y="1583889"/>
              <a:ext cx="1239838" cy="813644"/>
            </a:xfrm>
            <a:custGeom>
              <a:avLst/>
              <a:gdLst>
                <a:gd name="T0" fmla="*/ 168 w 1054"/>
                <a:gd name="T1" fmla="*/ 303 h 690"/>
                <a:gd name="T2" fmla="*/ 168 w 1054"/>
                <a:gd name="T3" fmla="*/ 289 h 690"/>
                <a:gd name="T4" fmla="*/ 459 w 1054"/>
                <a:gd name="T5" fmla="*/ 0 h 690"/>
                <a:gd name="T6" fmla="*/ 701 w 1054"/>
                <a:gd name="T7" fmla="*/ 129 h 690"/>
                <a:gd name="T8" fmla="*/ 781 w 1054"/>
                <a:gd name="T9" fmla="*/ 108 h 690"/>
                <a:gd name="T10" fmla="*/ 875 w 1054"/>
                <a:gd name="T11" fmla="*/ 136 h 690"/>
                <a:gd name="T12" fmla="*/ 950 w 1054"/>
                <a:gd name="T13" fmla="*/ 272 h 690"/>
                <a:gd name="T14" fmla="*/ 1054 w 1054"/>
                <a:gd name="T15" fmla="*/ 463 h 690"/>
                <a:gd name="T16" fmla="*/ 851 w 1054"/>
                <a:gd name="T17" fmla="*/ 690 h 690"/>
                <a:gd name="T18" fmla="*/ 825 w 1054"/>
                <a:gd name="T19" fmla="*/ 690 h 690"/>
                <a:gd name="T20" fmla="*/ 802 w 1054"/>
                <a:gd name="T21" fmla="*/ 690 h 690"/>
                <a:gd name="T22" fmla="*/ 327 w 1054"/>
                <a:gd name="T23" fmla="*/ 690 h 690"/>
                <a:gd name="T24" fmla="*/ 318 w 1054"/>
                <a:gd name="T25" fmla="*/ 690 h 690"/>
                <a:gd name="T26" fmla="*/ 306 w 1054"/>
                <a:gd name="T27" fmla="*/ 690 h 690"/>
                <a:gd name="T28" fmla="*/ 271 w 1054"/>
                <a:gd name="T29" fmla="*/ 690 h 690"/>
                <a:gd name="T30" fmla="*/ 195 w 1054"/>
                <a:gd name="T31" fmla="*/ 690 h 690"/>
                <a:gd name="T32" fmla="*/ 0 w 1054"/>
                <a:gd name="T33" fmla="*/ 495 h 690"/>
                <a:gd name="T34" fmla="*/ 168 w 1054"/>
                <a:gd name="T35" fmla="*/ 303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4" h="690">
                  <a:moveTo>
                    <a:pt x="168" y="303"/>
                  </a:moveTo>
                  <a:cubicBezTo>
                    <a:pt x="168" y="299"/>
                    <a:pt x="168" y="293"/>
                    <a:pt x="168" y="289"/>
                  </a:cubicBezTo>
                  <a:cubicBezTo>
                    <a:pt x="168" y="129"/>
                    <a:pt x="298" y="0"/>
                    <a:pt x="459" y="0"/>
                  </a:cubicBezTo>
                  <a:cubicBezTo>
                    <a:pt x="560" y="0"/>
                    <a:pt x="649" y="52"/>
                    <a:pt x="701" y="129"/>
                  </a:cubicBezTo>
                  <a:cubicBezTo>
                    <a:pt x="725" y="116"/>
                    <a:pt x="752" y="108"/>
                    <a:pt x="781" y="108"/>
                  </a:cubicBezTo>
                  <a:cubicBezTo>
                    <a:pt x="816" y="108"/>
                    <a:pt x="848" y="118"/>
                    <a:pt x="875" y="136"/>
                  </a:cubicBezTo>
                  <a:cubicBezTo>
                    <a:pt x="919" y="166"/>
                    <a:pt x="948" y="215"/>
                    <a:pt x="950" y="272"/>
                  </a:cubicBezTo>
                  <a:cubicBezTo>
                    <a:pt x="1012" y="312"/>
                    <a:pt x="1054" y="384"/>
                    <a:pt x="1054" y="463"/>
                  </a:cubicBezTo>
                  <a:cubicBezTo>
                    <a:pt x="1054" y="580"/>
                    <a:pt x="965" y="676"/>
                    <a:pt x="851" y="690"/>
                  </a:cubicBezTo>
                  <a:cubicBezTo>
                    <a:pt x="843" y="690"/>
                    <a:pt x="833" y="690"/>
                    <a:pt x="825" y="690"/>
                  </a:cubicBezTo>
                  <a:cubicBezTo>
                    <a:pt x="818" y="690"/>
                    <a:pt x="810" y="690"/>
                    <a:pt x="802" y="690"/>
                  </a:cubicBezTo>
                  <a:cubicBezTo>
                    <a:pt x="696" y="690"/>
                    <a:pt x="446" y="690"/>
                    <a:pt x="327" y="690"/>
                  </a:cubicBezTo>
                  <a:cubicBezTo>
                    <a:pt x="324" y="690"/>
                    <a:pt x="320" y="690"/>
                    <a:pt x="318" y="690"/>
                  </a:cubicBezTo>
                  <a:cubicBezTo>
                    <a:pt x="306" y="690"/>
                    <a:pt x="306" y="690"/>
                    <a:pt x="306" y="690"/>
                  </a:cubicBezTo>
                  <a:cubicBezTo>
                    <a:pt x="300" y="690"/>
                    <a:pt x="283" y="690"/>
                    <a:pt x="271" y="690"/>
                  </a:cubicBezTo>
                  <a:cubicBezTo>
                    <a:pt x="195" y="690"/>
                    <a:pt x="195" y="690"/>
                    <a:pt x="195" y="690"/>
                  </a:cubicBezTo>
                  <a:cubicBezTo>
                    <a:pt x="87" y="688"/>
                    <a:pt x="0" y="601"/>
                    <a:pt x="0" y="495"/>
                  </a:cubicBezTo>
                  <a:cubicBezTo>
                    <a:pt x="0" y="397"/>
                    <a:pt x="73" y="316"/>
                    <a:pt x="168" y="30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9405174" y="1369064"/>
              <a:ext cx="895827" cy="587887"/>
            </a:xfrm>
            <a:custGeom>
              <a:avLst/>
              <a:gdLst>
                <a:gd name="T0" fmla="*/ 168 w 1054"/>
                <a:gd name="T1" fmla="*/ 303 h 690"/>
                <a:gd name="T2" fmla="*/ 168 w 1054"/>
                <a:gd name="T3" fmla="*/ 289 h 690"/>
                <a:gd name="T4" fmla="*/ 459 w 1054"/>
                <a:gd name="T5" fmla="*/ 0 h 690"/>
                <a:gd name="T6" fmla="*/ 701 w 1054"/>
                <a:gd name="T7" fmla="*/ 129 h 690"/>
                <a:gd name="T8" fmla="*/ 781 w 1054"/>
                <a:gd name="T9" fmla="*/ 108 h 690"/>
                <a:gd name="T10" fmla="*/ 875 w 1054"/>
                <a:gd name="T11" fmla="*/ 136 h 690"/>
                <a:gd name="T12" fmla="*/ 950 w 1054"/>
                <a:gd name="T13" fmla="*/ 272 h 690"/>
                <a:gd name="T14" fmla="*/ 1054 w 1054"/>
                <a:gd name="T15" fmla="*/ 463 h 690"/>
                <a:gd name="T16" fmla="*/ 851 w 1054"/>
                <a:gd name="T17" fmla="*/ 690 h 690"/>
                <a:gd name="T18" fmla="*/ 825 w 1054"/>
                <a:gd name="T19" fmla="*/ 690 h 690"/>
                <a:gd name="T20" fmla="*/ 802 w 1054"/>
                <a:gd name="T21" fmla="*/ 690 h 690"/>
                <a:gd name="T22" fmla="*/ 327 w 1054"/>
                <a:gd name="T23" fmla="*/ 690 h 690"/>
                <a:gd name="T24" fmla="*/ 318 w 1054"/>
                <a:gd name="T25" fmla="*/ 690 h 690"/>
                <a:gd name="T26" fmla="*/ 306 w 1054"/>
                <a:gd name="T27" fmla="*/ 690 h 690"/>
                <a:gd name="T28" fmla="*/ 271 w 1054"/>
                <a:gd name="T29" fmla="*/ 690 h 690"/>
                <a:gd name="T30" fmla="*/ 195 w 1054"/>
                <a:gd name="T31" fmla="*/ 690 h 690"/>
                <a:gd name="T32" fmla="*/ 0 w 1054"/>
                <a:gd name="T33" fmla="*/ 495 h 690"/>
                <a:gd name="T34" fmla="*/ 168 w 1054"/>
                <a:gd name="T35" fmla="*/ 303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4" h="690">
                  <a:moveTo>
                    <a:pt x="168" y="303"/>
                  </a:moveTo>
                  <a:cubicBezTo>
                    <a:pt x="168" y="299"/>
                    <a:pt x="168" y="293"/>
                    <a:pt x="168" y="289"/>
                  </a:cubicBezTo>
                  <a:cubicBezTo>
                    <a:pt x="168" y="129"/>
                    <a:pt x="298" y="0"/>
                    <a:pt x="459" y="0"/>
                  </a:cubicBezTo>
                  <a:cubicBezTo>
                    <a:pt x="560" y="0"/>
                    <a:pt x="649" y="52"/>
                    <a:pt x="701" y="129"/>
                  </a:cubicBezTo>
                  <a:cubicBezTo>
                    <a:pt x="725" y="116"/>
                    <a:pt x="752" y="108"/>
                    <a:pt x="781" y="108"/>
                  </a:cubicBezTo>
                  <a:cubicBezTo>
                    <a:pt x="816" y="108"/>
                    <a:pt x="848" y="118"/>
                    <a:pt x="875" y="136"/>
                  </a:cubicBezTo>
                  <a:cubicBezTo>
                    <a:pt x="919" y="166"/>
                    <a:pt x="948" y="215"/>
                    <a:pt x="950" y="272"/>
                  </a:cubicBezTo>
                  <a:cubicBezTo>
                    <a:pt x="1012" y="312"/>
                    <a:pt x="1054" y="384"/>
                    <a:pt x="1054" y="463"/>
                  </a:cubicBezTo>
                  <a:cubicBezTo>
                    <a:pt x="1054" y="580"/>
                    <a:pt x="965" y="676"/>
                    <a:pt x="851" y="690"/>
                  </a:cubicBezTo>
                  <a:cubicBezTo>
                    <a:pt x="843" y="690"/>
                    <a:pt x="833" y="690"/>
                    <a:pt x="825" y="690"/>
                  </a:cubicBezTo>
                  <a:cubicBezTo>
                    <a:pt x="818" y="690"/>
                    <a:pt x="810" y="690"/>
                    <a:pt x="802" y="690"/>
                  </a:cubicBezTo>
                  <a:cubicBezTo>
                    <a:pt x="696" y="690"/>
                    <a:pt x="446" y="690"/>
                    <a:pt x="327" y="690"/>
                  </a:cubicBezTo>
                  <a:cubicBezTo>
                    <a:pt x="324" y="690"/>
                    <a:pt x="320" y="690"/>
                    <a:pt x="318" y="690"/>
                  </a:cubicBezTo>
                  <a:cubicBezTo>
                    <a:pt x="306" y="690"/>
                    <a:pt x="306" y="690"/>
                    <a:pt x="306" y="690"/>
                  </a:cubicBezTo>
                  <a:cubicBezTo>
                    <a:pt x="300" y="690"/>
                    <a:pt x="283" y="690"/>
                    <a:pt x="271" y="690"/>
                  </a:cubicBezTo>
                  <a:cubicBezTo>
                    <a:pt x="195" y="690"/>
                    <a:pt x="195" y="690"/>
                    <a:pt x="195" y="690"/>
                  </a:cubicBezTo>
                  <a:cubicBezTo>
                    <a:pt x="87" y="688"/>
                    <a:pt x="0" y="601"/>
                    <a:pt x="0" y="495"/>
                  </a:cubicBezTo>
                  <a:cubicBezTo>
                    <a:pt x="0" y="397"/>
                    <a:pt x="73" y="316"/>
                    <a:pt x="168" y="30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11280477" y="3072737"/>
              <a:ext cx="1155998" cy="1162044"/>
              <a:chOff x="13209584" y="-2840041"/>
              <a:chExt cx="1820862" cy="1830385"/>
            </a:xfrm>
          </p:grpSpPr>
          <p:sp>
            <p:nvSpPr>
              <p:cNvPr id="26" name="Oval 5"/>
              <p:cNvSpPr>
                <a:spLocks noChangeArrowheads="1"/>
              </p:cNvSpPr>
              <p:nvPr/>
            </p:nvSpPr>
            <p:spPr bwMode="auto">
              <a:xfrm>
                <a:off x="13209584" y="-2840041"/>
                <a:ext cx="1820862" cy="1830385"/>
              </a:xfrm>
              <a:prstGeom prst="ellipse">
                <a:avLst/>
              </a:prstGeom>
              <a:solidFill>
                <a:srgbClr val="FFB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7" name="Freeform 6"/>
              <p:cNvSpPr>
                <a:spLocks/>
              </p:cNvSpPr>
              <p:nvPr/>
            </p:nvSpPr>
            <p:spPr bwMode="auto">
              <a:xfrm>
                <a:off x="13633446" y="-2205042"/>
                <a:ext cx="488950" cy="836611"/>
              </a:xfrm>
              <a:custGeom>
                <a:avLst/>
                <a:gdLst>
                  <a:gd name="T0" fmla="*/ 308 w 308"/>
                  <a:gd name="T1" fmla="*/ 175 h 527"/>
                  <a:gd name="T2" fmla="*/ 305 w 308"/>
                  <a:gd name="T3" fmla="*/ 527 h 527"/>
                  <a:gd name="T4" fmla="*/ 0 w 308"/>
                  <a:gd name="T5" fmla="*/ 351 h 527"/>
                  <a:gd name="T6" fmla="*/ 2 w 308"/>
                  <a:gd name="T7" fmla="*/ 0 h 527"/>
                  <a:gd name="T8" fmla="*/ 308 w 308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527">
                    <a:moveTo>
                      <a:pt x="308" y="175"/>
                    </a:moveTo>
                    <a:lnTo>
                      <a:pt x="305" y="527"/>
                    </a:lnTo>
                    <a:lnTo>
                      <a:pt x="0" y="351"/>
                    </a:lnTo>
                    <a:lnTo>
                      <a:pt x="2" y="0"/>
                    </a:lnTo>
                    <a:lnTo>
                      <a:pt x="308" y="175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8" name="Freeform 7"/>
              <p:cNvSpPr>
                <a:spLocks/>
              </p:cNvSpPr>
              <p:nvPr/>
            </p:nvSpPr>
            <p:spPr bwMode="auto">
              <a:xfrm>
                <a:off x="14122396" y="-2205042"/>
                <a:ext cx="484187" cy="836611"/>
              </a:xfrm>
              <a:custGeom>
                <a:avLst/>
                <a:gdLst>
                  <a:gd name="T0" fmla="*/ 0 w 305"/>
                  <a:gd name="T1" fmla="*/ 175 h 527"/>
                  <a:gd name="T2" fmla="*/ 0 w 305"/>
                  <a:gd name="T3" fmla="*/ 527 h 527"/>
                  <a:gd name="T4" fmla="*/ 305 w 305"/>
                  <a:gd name="T5" fmla="*/ 351 h 527"/>
                  <a:gd name="T6" fmla="*/ 305 w 305"/>
                  <a:gd name="T7" fmla="*/ 0 h 527"/>
                  <a:gd name="T8" fmla="*/ 0 w 305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5" h="527">
                    <a:moveTo>
                      <a:pt x="0" y="175"/>
                    </a:moveTo>
                    <a:lnTo>
                      <a:pt x="0" y="527"/>
                    </a:lnTo>
                    <a:lnTo>
                      <a:pt x="305" y="351"/>
                    </a:lnTo>
                    <a:lnTo>
                      <a:pt x="305" y="0"/>
                    </a:lnTo>
                    <a:lnTo>
                      <a:pt x="0" y="175"/>
                    </a:lnTo>
                    <a:close/>
                  </a:path>
                </a:pathLst>
              </a:custGeom>
              <a:solidFill>
                <a:srgbClr val="EB3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9" name="Freeform 8"/>
              <p:cNvSpPr>
                <a:spLocks/>
              </p:cNvSpPr>
              <p:nvPr/>
            </p:nvSpPr>
            <p:spPr bwMode="auto">
              <a:xfrm>
                <a:off x="13636621" y="-2484441"/>
                <a:ext cx="969962" cy="557212"/>
              </a:xfrm>
              <a:custGeom>
                <a:avLst/>
                <a:gdLst>
                  <a:gd name="T0" fmla="*/ 306 w 611"/>
                  <a:gd name="T1" fmla="*/ 351 h 351"/>
                  <a:gd name="T2" fmla="*/ 0 w 611"/>
                  <a:gd name="T3" fmla="*/ 173 h 351"/>
                  <a:gd name="T4" fmla="*/ 303 w 611"/>
                  <a:gd name="T5" fmla="*/ 0 h 351"/>
                  <a:gd name="T6" fmla="*/ 611 w 611"/>
                  <a:gd name="T7" fmla="*/ 173 h 351"/>
                  <a:gd name="T8" fmla="*/ 306 w 611"/>
                  <a:gd name="T9" fmla="*/ 351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1" h="351">
                    <a:moveTo>
                      <a:pt x="306" y="351"/>
                    </a:moveTo>
                    <a:lnTo>
                      <a:pt x="0" y="173"/>
                    </a:lnTo>
                    <a:lnTo>
                      <a:pt x="303" y="0"/>
                    </a:lnTo>
                    <a:lnTo>
                      <a:pt x="611" y="173"/>
                    </a:lnTo>
                    <a:lnTo>
                      <a:pt x="306" y="351"/>
                    </a:lnTo>
                    <a:close/>
                  </a:path>
                </a:pathLst>
              </a:custGeom>
              <a:solidFill>
                <a:srgbClr val="FCD1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10518590" y="2205906"/>
              <a:ext cx="1227128" cy="1233544"/>
              <a:chOff x="15478120" y="-2840041"/>
              <a:chExt cx="1820862" cy="1830385"/>
            </a:xfrm>
          </p:grpSpPr>
          <p:sp>
            <p:nvSpPr>
              <p:cNvPr id="22" name="Oval 9"/>
              <p:cNvSpPr>
                <a:spLocks noChangeArrowheads="1"/>
              </p:cNvSpPr>
              <p:nvPr/>
            </p:nvSpPr>
            <p:spPr bwMode="auto">
              <a:xfrm>
                <a:off x="15478120" y="-2840041"/>
                <a:ext cx="1820862" cy="1830385"/>
              </a:xfrm>
              <a:prstGeom prst="ellipse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3" name="Freeform 10"/>
              <p:cNvSpPr>
                <a:spLocks/>
              </p:cNvSpPr>
              <p:nvPr/>
            </p:nvSpPr>
            <p:spPr bwMode="auto">
              <a:xfrm>
                <a:off x="15901983" y="-2205042"/>
                <a:ext cx="488950" cy="836611"/>
              </a:xfrm>
              <a:custGeom>
                <a:avLst/>
                <a:gdLst>
                  <a:gd name="T0" fmla="*/ 308 w 308"/>
                  <a:gd name="T1" fmla="*/ 175 h 527"/>
                  <a:gd name="T2" fmla="*/ 305 w 308"/>
                  <a:gd name="T3" fmla="*/ 527 h 527"/>
                  <a:gd name="T4" fmla="*/ 0 w 308"/>
                  <a:gd name="T5" fmla="*/ 351 h 527"/>
                  <a:gd name="T6" fmla="*/ 0 w 308"/>
                  <a:gd name="T7" fmla="*/ 0 h 527"/>
                  <a:gd name="T8" fmla="*/ 308 w 308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527">
                    <a:moveTo>
                      <a:pt x="308" y="175"/>
                    </a:moveTo>
                    <a:lnTo>
                      <a:pt x="305" y="527"/>
                    </a:lnTo>
                    <a:lnTo>
                      <a:pt x="0" y="351"/>
                    </a:lnTo>
                    <a:lnTo>
                      <a:pt x="0" y="0"/>
                    </a:lnTo>
                    <a:lnTo>
                      <a:pt x="308" y="17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4" name="Freeform 11"/>
              <p:cNvSpPr>
                <a:spLocks/>
              </p:cNvSpPr>
              <p:nvPr/>
            </p:nvSpPr>
            <p:spPr bwMode="auto">
              <a:xfrm>
                <a:off x="16386170" y="-2205042"/>
                <a:ext cx="488950" cy="836611"/>
              </a:xfrm>
              <a:custGeom>
                <a:avLst/>
                <a:gdLst>
                  <a:gd name="T0" fmla="*/ 3 w 308"/>
                  <a:gd name="T1" fmla="*/ 175 h 527"/>
                  <a:gd name="T2" fmla="*/ 0 w 308"/>
                  <a:gd name="T3" fmla="*/ 527 h 527"/>
                  <a:gd name="T4" fmla="*/ 306 w 308"/>
                  <a:gd name="T5" fmla="*/ 351 h 527"/>
                  <a:gd name="T6" fmla="*/ 308 w 308"/>
                  <a:gd name="T7" fmla="*/ 0 h 527"/>
                  <a:gd name="T8" fmla="*/ 3 w 308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527">
                    <a:moveTo>
                      <a:pt x="3" y="175"/>
                    </a:moveTo>
                    <a:lnTo>
                      <a:pt x="0" y="527"/>
                    </a:lnTo>
                    <a:lnTo>
                      <a:pt x="306" y="351"/>
                    </a:lnTo>
                    <a:lnTo>
                      <a:pt x="308" y="0"/>
                    </a:lnTo>
                    <a:lnTo>
                      <a:pt x="3" y="175"/>
                    </a:lnTo>
                    <a:close/>
                  </a:path>
                </a:pathLst>
              </a:custGeom>
              <a:solidFill>
                <a:srgbClr val="007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5" name="Freeform 12"/>
              <p:cNvSpPr>
                <a:spLocks/>
              </p:cNvSpPr>
              <p:nvPr/>
            </p:nvSpPr>
            <p:spPr bwMode="auto">
              <a:xfrm>
                <a:off x="15901983" y="-2484441"/>
                <a:ext cx="973137" cy="557212"/>
              </a:xfrm>
              <a:custGeom>
                <a:avLst/>
                <a:gdLst>
                  <a:gd name="T0" fmla="*/ 308 w 613"/>
                  <a:gd name="T1" fmla="*/ 351 h 351"/>
                  <a:gd name="T2" fmla="*/ 0 w 613"/>
                  <a:gd name="T3" fmla="*/ 173 h 351"/>
                  <a:gd name="T4" fmla="*/ 305 w 613"/>
                  <a:gd name="T5" fmla="*/ 0 h 351"/>
                  <a:gd name="T6" fmla="*/ 613 w 613"/>
                  <a:gd name="T7" fmla="*/ 173 h 351"/>
                  <a:gd name="T8" fmla="*/ 308 w 613"/>
                  <a:gd name="T9" fmla="*/ 351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3" h="351">
                    <a:moveTo>
                      <a:pt x="308" y="351"/>
                    </a:moveTo>
                    <a:lnTo>
                      <a:pt x="0" y="173"/>
                    </a:lnTo>
                    <a:lnTo>
                      <a:pt x="305" y="0"/>
                    </a:lnTo>
                    <a:lnTo>
                      <a:pt x="613" y="173"/>
                    </a:lnTo>
                    <a:lnTo>
                      <a:pt x="308" y="351"/>
                    </a:lnTo>
                    <a:close/>
                  </a:path>
                </a:pathLst>
              </a:custGeom>
              <a:solidFill>
                <a:srgbClr val="55D4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10136778" y="3451591"/>
              <a:ext cx="1520689" cy="1531312"/>
              <a:chOff x="9685432" y="3577886"/>
              <a:chExt cx="1520689" cy="1531312"/>
            </a:xfrm>
          </p:grpSpPr>
          <p:sp>
            <p:nvSpPr>
              <p:cNvPr id="18" name="Oval 13"/>
              <p:cNvSpPr>
                <a:spLocks noChangeArrowheads="1"/>
              </p:cNvSpPr>
              <p:nvPr/>
            </p:nvSpPr>
            <p:spPr bwMode="auto">
              <a:xfrm>
                <a:off x="9685432" y="3577886"/>
                <a:ext cx="1520689" cy="1531312"/>
              </a:xfrm>
              <a:prstGeom prst="ellipse">
                <a:avLst/>
              </a:prstGeom>
              <a:solidFill>
                <a:srgbClr val="4668C5">
                  <a:alpha val="8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9" name="Freeform 14"/>
              <p:cNvSpPr>
                <a:spLocks/>
              </p:cNvSpPr>
              <p:nvPr/>
            </p:nvSpPr>
            <p:spPr bwMode="auto">
              <a:xfrm>
                <a:off x="10040039" y="4109130"/>
                <a:ext cx="406403" cy="699914"/>
              </a:xfrm>
              <a:custGeom>
                <a:avLst/>
                <a:gdLst>
                  <a:gd name="T0" fmla="*/ 306 w 306"/>
                  <a:gd name="T1" fmla="*/ 175 h 527"/>
                  <a:gd name="T2" fmla="*/ 306 w 306"/>
                  <a:gd name="T3" fmla="*/ 527 h 527"/>
                  <a:gd name="T4" fmla="*/ 0 w 306"/>
                  <a:gd name="T5" fmla="*/ 351 h 527"/>
                  <a:gd name="T6" fmla="*/ 0 w 306"/>
                  <a:gd name="T7" fmla="*/ 0 h 527"/>
                  <a:gd name="T8" fmla="*/ 306 w 306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6" h="527">
                    <a:moveTo>
                      <a:pt x="306" y="175"/>
                    </a:moveTo>
                    <a:lnTo>
                      <a:pt x="306" y="527"/>
                    </a:lnTo>
                    <a:lnTo>
                      <a:pt x="0" y="351"/>
                    </a:lnTo>
                    <a:lnTo>
                      <a:pt x="0" y="0"/>
                    </a:lnTo>
                    <a:lnTo>
                      <a:pt x="306" y="175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0" name="Freeform 15"/>
              <p:cNvSpPr>
                <a:spLocks/>
              </p:cNvSpPr>
              <p:nvPr/>
            </p:nvSpPr>
            <p:spPr bwMode="auto">
              <a:xfrm>
                <a:off x="10446440" y="4109130"/>
                <a:ext cx="405074" cy="699914"/>
              </a:xfrm>
              <a:custGeom>
                <a:avLst/>
                <a:gdLst>
                  <a:gd name="T0" fmla="*/ 0 w 305"/>
                  <a:gd name="T1" fmla="*/ 175 h 527"/>
                  <a:gd name="T2" fmla="*/ 0 w 305"/>
                  <a:gd name="T3" fmla="*/ 527 h 527"/>
                  <a:gd name="T4" fmla="*/ 305 w 305"/>
                  <a:gd name="T5" fmla="*/ 351 h 527"/>
                  <a:gd name="T6" fmla="*/ 305 w 305"/>
                  <a:gd name="T7" fmla="*/ 0 h 527"/>
                  <a:gd name="T8" fmla="*/ 0 w 305"/>
                  <a:gd name="T9" fmla="*/ 175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5" h="527">
                    <a:moveTo>
                      <a:pt x="0" y="175"/>
                    </a:moveTo>
                    <a:lnTo>
                      <a:pt x="0" y="527"/>
                    </a:lnTo>
                    <a:lnTo>
                      <a:pt x="305" y="351"/>
                    </a:lnTo>
                    <a:lnTo>
                      <a:pt x="305" y="0"/>
                    </a:lnTo>
                    <a:lnTo>
                      <a:pt x="0" y="175"/>
                    </a:lnTo>
                    <a:close/>
                  </a:path>
                </a:pathLst>
              </a:cu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1" name="Freeform 16"/>
              <p:cNvSpPr>
                <a:spLocks/>
              </p:cNvSpPr>
              <p:nvPr/>
            </p:nvSpPr>
            <p:spPr bwMode="auto">
              <a:xfrm>
                <a:off x="10040039" y="3875383"/>
                <a:ext cx="811477" cy="466167"/>
              </a:xfrm>
              <a:custGeom>
                <a:avLst/>
                <a:gdLst>
                  <a:gd name="T0" fmla="*/ 306 w 611"/>
                  <a:gd name="T1" fmla="*/ 351 h 351"/>
                  <a:gd name="T2" fmla="*/ 0 w 611"/>
                  <a:gd name="T3" fmla="*/ 173 h 351"/>
                  <a:gd name="T4" fmla="*/ 306 w 611"/>
                  <a:gd name="T5" fmla="*/ 0 h 351"/>
                  <a:gd name="T6" fmla="*/ 611 w 611"/>
                  <a:gd name="T7" fmla="*/ 173 h 351"/>
                  <a:gd name="T8" fmla="*/ 306 w 611"/>
                  <a:gd name="T9" fmla="*/ 351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1" h="351">
                    <a:moveTo>
                      <a:pt x="306" y="351"/>
                    </a:moveTo>
                    <a:lnTo>
                      <a:pt x="0" y="173"/>
                    </a:lnTo>
                    <a:lnTo>
                      <a:pt x="306" y="0"/>
                    </a:lnTo>
                    <a:lnTo>
                      <a:pt x="611" y="173"/>
                    </a:lnTo>
                    <a:lnTo>
                      <a:pt x="306" y="351"/>
                    </a:lnTo>
                    <a:close/>
                  </a:path>
                </a:pathLst>
              </a:custGeom>
              <a:solidFill>
                <a:srgbClr val="9B4F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</p:grpSp>
        <p:sp>
          <p:nvSpPr>
            <p:cNvPr id="15" name="TextBox 14"/>
            <p:cNvSpPr txBox="1"/>
            <p:nvPr/>
          </p:nvSpPr>
          <p:spPr>
            <a:xfrm>
              <a:off x="10272407" y="5327699"/>
              <a:ext cx="593726" cy="593726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88"/>
                </a:spcAft>
              </a:pPr>
              <a:endParaRPr lang="en-US" sz="1372" b="1">
                <a:solidFill>
                  <a:schemeClr val="accent5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8991666" y="5478462"/>
              <a:ext cx="593726" cy="593726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88"/>
                </a:spcAft>
              </a:pPr>
              <a:endParaRPr lang="en-US" sz="1372" b="1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8925987" y="5964668"/>
              <a:ext cx="914400" cy="914400"/>
            </a:xfrm>
            <a:prstGeom prst="ellipse">
              <a:avLst/>
            </a:prstGeom>
            <a:solidFill>
              <a:schemeClr val="tx2"/>
            </a:solidFill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88"/>
                </a:spcAft>
              </a:pPr>
              <a:endParaRPr lang="en-US" sz="1765" b="1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25971923"/>
      </p:ext>
    </p:extLst>
  </p:cSld>
  <p:clrMapOvr>
    <a:masterClrMapping/>
  </p:clrMapOvr>
  <p:transition advClick="0"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8pt Title/24pt Tex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73713" y="2100815"/>
            <a:ext cx="8086519" cy="1686801"/>
          </a:xfrm>
        </p:spPr>
        <p:txBody>
          <a:bodyPr/>
          <a:lstStyle>
            <a:lvl1pPr>
              <a:defRPr sz="5882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1640" y="3877277"/>
            <a:ext cx="8073349" cy="48340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bg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632049178"/>
      </p:ext>
    </p:extLst>
  </p:cSld>
  <p:clrMapOvr>
    <a:masterClrMapping/>
  </p:clrMapOvr>
  <p:transition advClick="0"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 Page w/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0243" y="6102350"/>
            <a:ext cx="2159562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9363927" y="6426200"/>
            <a:ext cx="2511906" cy="21544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kern="1000">
                <a:solidFill>
                  <a:schemeClr val="bg1"/>
                </a:solidFill>
                <a:latin typeface="Segoe UI Light"/>
                <a:ea typeface="+mn-ea"/>
                <a:cs typeface="+mn-cs"/>
              </a:rPr>
              <a:t>Your complete office in the cloud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1731" y="1930720"/>
            <a:ext cx="4980989" cy="615553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1731" y="2673576"/>
            <a:ext cx="5026098" cy="2194936"/>
          </a:xfrm>
        </p:spPr>
        <p:txBody>
          <a:bodyPr>
            <a:noAutofit/>
          </a:bodyPr>
          <a:lstStyle>
            <a:lvl1pPr marL="0" indent="0" algn="l" defTabSz="457112" rtl="0" eaLnBrk="1" latinLnBrk="0" hangingPunct="1">
              <a:spcBef>
                <a:spcPct val="0"/>
              </a:spcBef>
              <a:buNone/>
              <a:defRPr lang="en-US" sz="2000" b="0" i="0" kern="1200" baseline="0" dirty="0">
                <a:solidFill>
                  <a:schemeClr val="tx2"/>
                </a:solidFill>
                <a:latin typeface="Segoe UI Light"/>
                <a:ea typeface="+mj-ea"/>
                <a:cs typeface="Segoe UI Light"/>
              </a:defRPr>
            </a:lvl1pPr>
            <a:lvl2pPr marL="457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5978496" y="1"/>
            <a:ext cx="6213505" cy="6850154"/>
          </a:xfr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43"/>
          </p:nvPr>
        </p:nvSpPr>
        <p:spPr>
          <a:xfrm>
            <a:off x="269240" y="6437243"/>
            <a:ext cx="3859607" cy="1344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4"/>
          </p:nvPr>
        </p:nvSpPr>
        <p:spPr>
          <a:xfrm>
            <a:off x="11367166" y="6437243"/>
            <a:ext cx="555596" cy="1344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05050"/>
                </a:solidFill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791443"/>
      </p:ext>
    </p:extLst>
  </p:cSld>
  <p:clrMapOvr>
    <a:masterClrMapping/>
  </p:clrMapOvr>
  <p:transition advClick="0"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vider Page w/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15236" y="1930720"/>
            <a:ext cx="4980989" cy="615553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15236" y="2673576"/>
            <a:ext cx="5026098" cy="2194936"/>
          </a:xfrm>
        </p:spPr>
        <p:txBody>
          <a:bodyPr>
            <a:noAutofit/>
          </a:bodyPr>
          <a:lstStyle>
            <a:lvl1pPr marL="0" indent="0" algn="l" defTabSz="457112" rtl="0" eaLnBrk="1" latinLnBrk="0" hangingPunct="1">
              <a:spcBef>
                <a:spcPct val="0"/>
              </a:spcBef>
              <a:buNone/>
              <a:defRPr lang="en-US" sz="2000" b="0" i="0" kern="1200" baseline="0" dirty="0">
                <a:solidFill>
                  <a:schemeClr val="tx2"/>
                </a:solidFill>
                <a:latin typeface="Segoe UI Light"/>
                <a:ea typeface="+mj-ea"/>
                <a:cs typeface="Segoe UI Light"/>
              </a:defRPr>
            </a:lvl1pPr>
            <a:lvl2pPr marL="457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-9526" y="1"/>
            <a:ext cx="6213505" cy="6850154"/>
          </a:xfr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43"/>
          </p:nvPr>
        </p:nvSpPr>
        <p:spPr>
          <a:xfrm>
            <a:off x="269240" y="6437243"/>
            <a:ext cx="3859607" cy="1344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05050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4"/>
          </p:nvPr>
        </p:nvSpPr>
        <p:spPr>
          <a:xfrm>
            <a:off x="11367166" y="6437243"/>
            <a:ext cx="555596" cy="1344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312944"/>
      </p:ext>
    </p:extLst>
  </p:cSld>
  <p:clrMapOvr>
    <a:masterClrMapping/>
  </p:clrMapOvr>
  <p:transition advClick="0"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pt Title/26pt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3712" y="259792"/>
            <a:ext cx="11005512" cy="1075884"/>
          </a:xfrm>
        </p:spPr>
        <p:txBody>
          <a:bodyPr lIns="0" tIns="91440" rIns="146304" bIns="91440"/>
          <a:lstStyle>
            <a:lvl1pPr>
              <a:lnSpc>
                <a:spcPts val="4803"/>
              </a:lnSpc>
              <a:defRPr sz="4313" baseline="0">
                <a:solidFill>
                  <a:schemeClr val="accent1"/>
                </a:solidFill>
              </a:defRPr>
            </a:lvl1pPr>
          </a:lstStyle>
          <a:p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69240" y="6437243"/>
            <a:ext cx="3859607" cy="13448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367166" y="6437243"/>
            <a:ext cx="555596" cy="134483"/>
          </a:xfrm>
          <a:prstGeom prst="rect">
            <a:avLst/>
          </a:prstGeom>
        </p:spPr>
        <p:txBody>
          <a:bodyPr/>
          <a:lstStyle/>
          <a:p>
            <a:fld id="{27258FFF-F925-446B-8502-81C9339817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91640" y="1515299"/>
            <a:ext cx="11005513" cy="2608791"/>
          </a:xfrm>
        </p:spPr>
        <p:txBody>
          <a:bodyPr lIns="0" tIns="0"/>
          <a:lstStyle>
            <a:lvl1pPr marL="228766" indent="-228766">
              <a:spcBef>
                <a:spcPts val="1176"/>
              </a:spcBef>
              <a:defRPr sz="2549">
                <a:latin typeface="+mn-lt"/>
              </a:defRPr>
            </a:lvl1pPr>
            <a:lvl2pPr marL="676959" indent="-228766">
              <a:spcBef>
                <a:spcPts val="1176"/>
              </a:spcBef>
              <a:buSzPct val="100000"/>
              <a:buFont typeface="Segoe UI" pitchFamily="34" charset="0"/>
              <a:buChar char="‐"/>
              <a:defRPr/>
            </a:lvl2pPr>
            <a:lvl3pPr marL="1125152" indent="-228766">
              <a:spcBef>
                <a:spcPts val="1176"/>
              </a:spcBef>
              <a:buFont typeface="Wingdings" pitchFamily="2" charset="2"/>
              <a:buChar char="§"/>
              <a:defRPr/>
            </a:lvl3pPr>
            <a:lvl4pPr marL="1568676" indent="-336145">
              <a:spcBef>
                <a:spcPts val="1176"/>
              </a:spcBef>
              <a:buFont typeface="+mj-lt"/>
              <a:buAutoNum type="arabicPeriod"/>
              <a:defRPr/>
            </a:lvl4pPr>
            <a:lvl5pPr marL="1907933" indent="-336145">
              <a:spcBef>
                <a:spcPts val="1176"/>
              </a:spcBef>
              <a:buFont typeface="+mj-lt"/>
              <a:buAutoNum type="alphaLcParenR"/>
              <a:defRPr/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Nunc</a:t>
            </a:r>
            <a:r>
              <a:rPr lang="en-US"/>
              <a:t> et </a:t>
            </a:r>
            <a:r>
              <a:rPr lang="en-US" err="1"/>
              <a:t>sagittis</a:t>
            </a:r>
            <a:r>
              <a:rPr lang="en-US"/>
              <a:t> ligula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8390552"/>
      </p:ext>
    </p:extLst>
  </p:cSld>
  <p:clrMapOvr>
    <a:masterClrMapping/>
  </p:clrMapOvr>
  <p:transition advClick="0"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2622111"/>
            <a:ext cx="8067798" cy="512990"/>
          </a:xfrm>
        </p:spPr>
        <p:txBody>
          <a:bodyPr lIns="182880"/>
          <a:lstStyle>
            <a:lvl1pPr marL="0" indent="0">
              <a:buFontTx/>
              <a:buNone/>
              <a:defRPr sz="2353">
                <a:solidFill>
                  <a:schemeClr val="tx2"/>
                </a:solidFill>
                <a:latin typeface="+mj-lt"/>
              </a:defRPr>
            </a:lvl1pPr>
            <a:lvl2pPr marL="336113" indent="0">
              <a:buFontTx/>
              <a:buNone/>
              <a:defRPr sz="2353">
                <a:latin typeface="Segoe Pro Light"/>
              </a:defRPr>
            </a:lvl2pPr>
            <a:lvl3pPr marL="560187" indent="0">
              <a:buFontTx/>
              <a:buNone/>
              <a:defRPr sz="2353">
                <a:latin typeface="Segoe Pro Light"/>
              </a:defRPr>
            </a:lvl3pPr>
            <a:lvl4pPr marL="784261" indent="0">
              <a:buFontTx/>
              <a:buNone/>
              <a:defRPr sz="2353">
                <a:latin typeface="Segoe Pro Light"/>
              </a:defRPr>
            </a:lvl4pPr>
            <a:lvl5pPr marL="1008335" indent="0">
              <a:buFontTx/>
              <a:buNone/>
              <a:defRPr sz="2353">
                <a:latin typeface="Segoe Pro 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69240" y="348573"/>
            <a:ext cx="8067798" cy="670440"/>
          </a:xfrm>
        </p:spPr>
        <p:txBody>
          <a:bodyPr lIns="146304" tIns="109728" rIns="146304" bIns="109728" anchor="t" anchorCtr="0"/>
          <a:lstStyle>
            <a:lvl1pPr marL="0" indent="0">
              <a:lnSpc>
                <a:spcPts val="3529"/>
              </a:lnSpc>
              <a:buFontTx/>
              <a:buNone/>
              <a:defRPr sz="3529">
                <a:solidFill>
                  <a:schemeClr val="accent1"/>
                </a:solidFill>
                <a:latin typeface="+mj-lt"/>
              </a:defRPr>
            </a:lvl1pPr>
            <a:lvl2pPr marL="336113" indent="0">
              <a:buFontTx/>
              <a:buNone/>
              <a:defRPr sz="3529">
                <a:latin typeface="Segoe Pro Light"/>
              </a:defRPr>
            </a:lvl2pPr>
            <a:lvl3pPr marL="560187" indent="0">
              <a:buFontTx/>
              <a:buNone/>
              <a:defRPr sz="3529">
                <a:latin typeface="Segoe Pro Light"/>
              </a:defRPr>
            </a:lvl3pPr>
            <a:lvl4pPr marL="784261" indent="0">
              <a:buFontTx/>
              <a:buNone/>
              <a:defRPr sz="3529">
                <a:latin typeface="Segoe Pro Light"/>
              </a:defRPr>
            </a:lvl4pPr>
            <a:lvl5pPr marL="1008335" indent="0">
              <a:buFontTx/>
              <a:buNone/>
              <a:defRPr sz="3529">
                <a:latin typeface="Segoe Pro 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1"/>
          <p:cNvSpPr>
            <a:spLocks noGrp="1" noChangeAspect="1"/>
          </p:cNvSpPr>
          <p:nvPr>
            <p:ph type="body" sz="quarter" idx="13"/>
          </p:nvPr>
        </p:nvSpPr>
        <p:spPr>
          <a:xfrm>
            <a:off x="269239" y="3516228"/>
            <a:ext cx="2688994" cy="2689656"/>
          </a:xfrm>
          <a:noFill/>
        </p:spPr>
        <p:txBody>
          <a:bodyPr lIns="182880" tIns="146304" rIns="182880" bIns="146304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588"/>
              </a:spcBef>
              <a:buFontTx/>
              <a:buNone/>
              <a:defRPr sz="2353">
                <a:solidFill>
                  <a:schemeClr val="bg1"/>
                </a:solidFill>
              </a:defRPr>
            </a:lvl1pPr>
            <a:lvl2pPr marL="336113" indent="0">
              <a:buFontTx/>
              <a:buNone/>
              <a:defRPr/>
            </a:lvl2pPr>
            <a:lvl3pPr marL="560187" indent="0">
              <a:buFontTx/>
              <a:buNone/>
              <a:defRPr/>
            </a:lvl3pPr>
            <a:lvl4pPr marL="784261" indent="0">
              <a:buFontTx/>
              <a:buNone/>
              <a:defRPr/>
            </a:lvl4pPr>
            <a:lvl5pPr marL="100833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1"/>
          <p:cNvSpPr>
            <a:spLocks noGrp="1" noChangeAspect="1"/>
          </p:cNvSpPr>
          <p:nvPr>
            <p:ph type="body" sz="quarter" idx="20"/>
          </p:nvPr>
        </p:nvSpPr>
        <p:spPr>
          <a:xfrm>
            <a:off x="3197757" y="3516228"/>
            <a:ext cx="2688994" cy="2689656"/>
          </a:xfrm>
          <a:noFill/>
        </p:spPr>
        <p:txBody>
          <a:bodyPr lIns="182880" tIns="146304" rIns="182880" bIns="146304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588"/>
              </a:spcBef>
              <a:buFontTx/>
              <a:buNone/>
              <a:defRPr sz="2353">
                <a:solidFill>
                  <a:schemeClr val="bg1"/>
                </a:solidFill>
              </a:defRPr>
            </a:lvl1pPr>
            <a:lvl2pPr marL="336113" indent="0">
              <a:buFontTx/>
              <a:buNone/>
              <a:defRPr/>
            </a:lvl2pPr>
            <a:lvl3pPr marL="560187" indent="0">
              <a:buFontTx/>
              <a:buNone/>
              <a:defRPr/>
            </a:lvl3pPr>
            <a:lvl4pPr marL="784261" indent="0">
              <a:buFontTx/>
              <a:buNone/>
              <a:defRPr/>
            </a:lvl4pPr>
            <a:lvl5pPr marL="100833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1"/>
          <p:cNvSpPr>
            <a:spLocks noGrp="1" noChangeAspect="1"/>
          </p:cNvSpPr>
          <p:nvPr>
            <p:ph type="body" sz="quarter" idx="21"/>
          </p:nvPr>
        </p:nvSpPr>
        <p:spPr>
          <a:xfrm>
            <a:off x="6126275" y="3516228"/>
            <a:ext cx="2688994" cy="2689656"/>
          </a:xfrm>
          <a:noFill/>
        </p:spPr>
        <p:txBody>
          <a:bodyPr lIns="182880" tIns="146304" rIns="182880" bIns="146304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588"/>
              </a:spcBef>
              <a:buFontTx/>
              <a:buNone/>
              <a:defRPr sz="2353">
                <a:solidFill>
                  <a:schemeClr val="bg1"/>
                </a:solidFill>
              </a:defRPr>
            </a:lvl1pPr>
            <a:lvl2pPr marL="336113" indent="0">
              <a:buFontTx/>
              <a:buNone/>
              <a:defRPr/>
            </a:lvl2pPr>
            <a:lvl3pPr marL="560187" indent="0">
              <a:buFontTx/>
              <a:buNone/>
              <a:defRPr/>
            </a:lvl3pPr>
            <a:lvl4pPr marL="784261" indent="0">
              <a:buFontTx/>
              <a:buNone/>
              <a:defRPr/>
            </a:lvl4pPr>
            <a:lvl5pPr marL="100833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1"/>
          <p:cNvSpPr>
            <a:spLocks noGrp="1" noChangeAspect="1"/>
          </p:cNvSpPr>
          <p:nvPr>
            <p:ph type="body" sz="quarter" idx="22"/>
          </p:nvPr>
        </p:nvSpPr>
        <p:spPr>
          <a:xfrm>
            <a:off x="9054794" y="3516228"/>
            <a:ext cx="2688994" cy="2689656"/>
          </a:xfrm>
          <a:noFill/>
        </p:spPr>
        <p:txBody>
          <a:bodyPr lIns="182880" tIns="146304" rIns="182880" bIns="146304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588"/>
              </a:spcBef>
              <a:buFontTx/>
              <a:buNone/>
              <a:defRPr sz="2353">
                <a:solidFill>
                  <a:schemeClr val="bg1"/>
                </a:solidFill>
              </a:defRPr>
            </a:lvl1pPr>
            <a:lvl2pPr marL="336113" indent="0">
              <a:buFontTx/>
              <a:buNone/>
              <a:defRPr/>
            </a:lvl2pPr>
            <a:lvl3pPr marL="560187" indent="0">
              <a:buFontTx/>
              <a:buNone/>
              <a:defRPr/>
            </a:lvl3pPr>
            <a:lvl4pPr marL="784261" indent="0">
              <a:buFontTx/>
              <a:buNone/>
              <a:defRPr/>
            </a:lvl4pPr>
            <a:lvl5pPr marL="100833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>
          <a:xfrm>
            <a:off x="269240" y="6437243"/>
            <a:ext cx="3859607" cy="1344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4"/>
          </p:nvPr>
        </p:nvSpPr>
        <p:spPr>
          <a:xfrm>
            <a:off x="11367166" y="6437243"/>
            <a:ext cx="555596" cy="1344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9572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200F7B6E-608C-4712-A939-BEBE059E295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DC5E8A2-8275-4F90-BA55-9B66D81C4A9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6C563208-4732-48A3-81E6-533A2E2DD53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DD0ADC22-C4D5-4BE8-99A8-91566ADDBF5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91C4D457-0F93-4853-AB02-01C200DE6658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E8D605B0-4DEE-4101-AC83-CD1D15D14DB9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EF14ED5-2275-4C01-96DD-1D24FE9FD6EE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F31E8C76-6A67-4E1C-BCC4-8D2ABCC0212A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ABDD9FA-82C7-4E69-9895-354AD0BDD19E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2A7CD18E-2839-44B2-9BA7-6356529D686A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0B7E64CE-434E-410A-823C-4872E71DD278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0D92AA81-D52A-4877-AE2C-AB5B4D374D19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BE84D11A-0DE4-40A8-BB80-889FF30CCE03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80E0B5D-2F12-4C6E-92C5-3765C579ADE8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765DAB00-242D-4D78-B6BF-F678C14B519F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D824698C-3D67-4D42-9DE6-531F5A0C7EA3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699246CD-F05A-4044-B7A4-384A7B272509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6930CAB-4305-4191-AD01-9D22AAD264D9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7FBC50E9-9F0E-4D62-9AA6-DC145681D1EA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9610B7D-2856-472A-B98F-5684402C6C99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173E078-D753-4C8F-98BB-75D0CBE314FE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EAA82456-62CD-4C42-91A4-3FFD8F19BCBD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41ABB687-FC0A-4A48-8466-BF8A1129E230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EEA91BF-1A44-4FB0-92F0-23098E7BBFCD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11C6A8E-CEC6-4129-9FB2-A426C6CE84EB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205B8F1F-9F8A-42BF-8770-AEABCEC35D18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36EE7F2A-0858-47D2-B1D0-D33BCD933AB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94590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Categ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0963" y="271604"/>
            <a:ext cx="6274790" cy="641714"/>
          </a:xfrm>
        </p:spPr>
        <p:txBody>
          <a:bodyPr lIns="182880" tIns="146304" rIns="182880" bIns="146304" anchor="ctr" anchorCtr="0"/>
          <a:lstStyle>
            <a:lvl1pPr marL="0" indent="0">
              <a:lnSpc>
                <a:spcPts val="2745"/>
              </a:lnSpc>
              <a:spcBef>
                <a:spcPts val="0"/>
              </a:spcBef>
              <a:buFontTx/>
              <a:buNone/>
              <a:defRPr sz="2353">
                <a:solidFill>
                  <a:schemeClr val="accent1"/>
                </a:solidFill>
                <a:latin typeface="+mj-lt"/>
              </a:defRPr>
            </a:lvl1pPr>
            <a:lvl2pPr marL="336113" indent="0">
              <a:buFontTx/>
              <a:buNone/>
              <a:defRPr sz="2353">
                <a:latin typeface="Segoe Pro Light"/>
              </a:defRPr>
            </a:lvl2pPr>
            <a:lvl3pPr marL="560187" indent="0">
              <a:buFontTx/>
              <a:buNone/>
              <a:defRPr sz="2353">
                <a:latin typeface="Segoe Pro Light"/>
              </a:defRPr>
            </a:lvl3pPr>
            <a:lvl4pPr marL="784261" indent="0">
              <a:buFontTx/>
              <a:buNone/>
              <a:defRPr sz="2353">
                <a:latin typeface="Segoe Pro Light"/>
              </a:defRPr>
            </a:lvl4pPr>
            <a:lvl5pPr marL="1008335" indent="0">
              <a:buFontTx/>
              <a:buNone/>
              <a:defRPr sz="2353">
                <a:latin typeface="Segoe Pro 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538224" y="1070596"/>
            <a:ext cx="2689274" cy="2689656"/>
          </a:xfrm>
        </p:spPr>
        <p:txBody>
          <a:bodyPr lIns="146304" tIns="91440" rIns="146304" bIns="91440">
            <a:noAutofit/>
          </a:bodyPr>
          <a:lstStyle>
            <a:lvl1pPr marL="0" indent="0">
              <a:buFontTx/>
              <a:buNone/>
              <a:defRPr sz="2353">
                <a:solidFill>
                  <a:schemeClr val="tx2"/>
                </a:solidFill>
                <a:latin typeface="+mj-lt"/>
              </a:defRPr>
            </a:lvl1pPr>
            <a:lvl2pPr marL="336113" indent="0">
              <a:buFontTx/>
              <a:buNone/>
              <a:defRPr/>
            </a:lvl2pPr>
            <a:lvl3pPr marL="560187" indent="0">
              <a:buFontTx/>
              <a:buNone/>
              <a:defRPr/>
            </a:lvl3pPr>
            <a:lvl4pPr marL="784261" indent="0">
              <a:buFontTx/>
              <a:buNone/>
              <a:defRPr/>
            </a:lvl4pPr>
            <a:lvl5pPr marL="1008335" indent="0">
              <a:buFontTx/>
              <a:buNone/>
              <a:defRPr/>
            </a:lvl5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30" hasCustomPrompt="1"/>
          </p:nvPr>
        </p:nvSpPr>
        <p:spPr>
          <a:xfrm>
            <a:off x="3347106" y="1070596"/>
            <a:ext cx="2688994" cy="2689656"/>
          </a:xfrm>
        </p:spPr>
        <p:txBody>
          <a:bodyPr lIns="146304" tIns="91440" rIns="146304" bIns="91440">
            <a:noAutofit/>
          </a:bodyPr>
          <a:lstStyle>
            <a:lvl1pPr marL="0" indent="0">
              <a:buFontTx/>
              <a:buNone/>
              <a:defRPr sz="2353">
                <a:solidFill>
                  <a:schemeClr val="tx2"/>
                </a:solidFill>
                <a:latin typeface="+mj-lt"/>
              </a:defRPr>
            </a:lvl1pPr>
            <a:lvl2pPr marL="336113" indent="0">
              <a:buFontTx/>
              <a:buNone/>
              <a:defRPr/>
            </a:lvl2pPr>
            <a:lvl3pPr marL="560187" indent="0">
              <a:buFontTx/>
              <a:buNone/>
              <a:defRPr/>
            </a:lvl3pPr>
            <a:lvl4pPr marL="784261" indent="0">
              <a:buFontTx/>
              <a:buNone/>
              <a:defRPr/>
            </a:lvl4pPr>
            <a:lvl5pPr marL="1008335" indent="0">
              <a:buFontTx/>
              <a:buNone/>
              <a:defRPr/>
            </a:lvl5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30" name="Text Placeholder 26"/>
          <p:cNvSpPr>
            <a:spLocks noGrp="1"/>
          </p:cNvSpPr>
          <p:nvPr>
            <p:ph type="body" sz="quarter" idx="32" hasCustomPrompt="1"/>
          </p:nvPr>
        </p:nvSpPr>
        <p:spPr>
          <a:xfrm>
            <a:off x="6155707" y="1070596"/>
            <a:ext cx="2688994" cy="2689656"/>
          </a:xfrm>
        </p:spPr>
        <p:txBody>
          <a:bodyPr lIns="146304" tIns="91440" rIns="146304" bIns="91440">
            <a:noAutofit/>
          </a:bodyPr>
          <a:lstStyle>
            <a:lvl1pPr marL="0" indent="0">
              <a:buFontTx/>
              <a:buNone/>
              <a:defRPr sz="2353">
                <a:solidFill>
                  <a:schemeClr val="tx2"/>
                </a:solidFill>
                <a:latin typeface="+mj-lt"/>
              </a:defRPr>
            </a:lvl1pPr>
            <a:lvl2pPr marL="336113" indent="0">
              <a:buFontTx/>
              <a:buNone/>
              <a:defRPr/>
            </a:lvl2pPr>
            <a:lvl3pPr marL="560187" indent="0">
              <a:buFontTx/>
              <a:buNone/>
              <a:defRPr/>
            </a:lvl3pPr>
            <a:lvl4pPr marL="784261" indent="0">
              <a:buFontTx/>
              <a:buNone/>
              <a:defRPr/>
            </a:lvl4pPr>
            <a:lvl5pPr marL="1008335" indent="0">
              <a:buFontTx/>
              <a:buNone/>
              <a:defRPr/>
            </a:lvl5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33" hasCustomPrompt="1"/>
          </p:nvPr>
        </p:nvSpPr>
        <p:spPr>
          <a:xfrm>
            <a:off x="8964310" y="1070596"/>
            <a:ext cx="2688994" cy="2689656"/>
          </a:xfrm>
        </p:spPr>
        <p:txBody>
          <a:bodyPr lIns="146304" tIns="91440" rIns="146304" bIns="91440">
            <a:noAutofit/>
          </a:bodyPr>
          <a:lstStyle>
            <a:lvl1pPr marL="0" indent="0">
              <a:buFontTx/>
              <a:buNone/>
              <a:defRPr sz="2353">
                <a:solidFill>
                  <a:schemeClr val="tx2"/>
                </a:solidFill>
                <a:latin typeface="+mj-lt"/>
              </a:defRPr>
            </a:lvl1pPr>
            <a:lvl2pPr marL="336113" indent="0">
              <a:buFontTx/>
              <a:buNone/>
              <a:defRPr/>
            </a:lvl2pPr>
            <a:lvl3pPr marL="560187" indent="0">
              <a:buFontTx/>
              <a:buNone/>
              <a:defRPr/>
            </a:lvl3pPr>
            <a:lvl4pPr marL="784261" indent="0">
              <a:buFontTx/>
              <a:buNone/>
              <a:defRPr/>
            </a:lvl4pPr>
            <a:lvl5pPr marL="1008335" indent="0">
              <a:buFontTx/>
              <a:buNone/>
              <a:defRPr/>
            </a:lvl5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37" name="Text Placeholder 26"/>
          <p:cNvSpPr>
            <a:spLocks noGrp="1"/>
          </p:cNvSpPr>
          <p:nvPr>
            <p:ph type="body" sz="quarter" idx="38" hasCustomPrompt="1"/>
          </p:nvPr>
        </p:nvSpPr>
        <p:spPr>
          <a:xfrm>
            <a:off x="538224" y="3877269"/>
            <a:ext cx="2689274" cy="2510690"/>
          </a:xfrm>
        </p:spPr>
        <p:txBody>
          <a:bodyPr lIns="182880" tIns="146304" bIns="146304">
            <a:noAutofit/>
          </a:bodyPr>
          <a:lstStyle>
            <a:lvl1pPr marL="0" indent="0">
              <a:lnSpc>
                <a:spcPct val="90000"/>
              </a:lnSpc>
              <a:spcBef>
                <a:spcPts val="294"/>
              </a:spcBef>
              <a:spcAft>
                <a:spcPts val="588"/>
              </a:spcAft>
              <a:buFontTx/>
              <a:buNone/>
              <a:defRPr sz="1176" b="0">
                <a:solidFill>
                  <a:schemeClr val="tx2"/>
                </a:solidFill>
                <a:latin typeface="+mn-lt"/>
                <a:cs typeface="Segoe UI" panose="020B0502040204020203" pitchFamily="34" charset="0"/>
              </a:defRPr>
            </a:lvl1pPr>
            <a:lvl2pPr marL="336113" indent="0">
              <a:buFontTx/>
              <a:buNone/>
              <a:defRPr/>
            </a:lvl2pPr>
            <a:lvl3pPr marL="560187" indent="0">
              <a:buFontTx/>
              <a:buNone/>
              <a:defRPr/>
            </a:lvl3pPr>
            <a:lvl4pPr marL="784261" indent="0">
              <a:buFontTx/>
              <a:buNone/>
              <a:defRPr/>
            </a:lvl4pPr>
            <a:lvl5pPr marL="1008335" indent="0">
              <a:buFontTx/>
              <a:buNone/>
              <a:defRPr/>
            </a:lvl5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43" name="Text Placeholder 26"/>
          <p:cNvSpPr>
            <a:spLocks noGrp="1"/>
          </p:cNvSpPr>
          <p:nvPr>
            <p:ph type="body" sz="quarter" idx="39" hasCustomPrompt="1"/>
          </p:nvPr>
        </p:nvSpPr>
        <p:spPr>
          <a:xfrm>
            <a:off x="3347189" y="3877271"/>
            <a:ext cx="2688994" cy="2510662"/>
          </a:xfrm>
        </p:spPr>
        <p:txBody>
          <a:bodyPr lIns="182880" tIns="146304" bIns="146304">
            <a:noAutofit/>
          </a:bodyPr>
          <a:lstStyle>
            <a:lvl1pPr marL="0" indent="0">
              <a:lnSpc>
                <a:spcPts val="1412"/>
              </a:lnSpc>
              <a:spcBef>
                <a:spcPts val="294"/>
              </a:spcBef>
              <a:spcAft>
                <a:spcPts val="588"/>
              </a:spcAft>
              <a:buFontTx/>
              <a:buNone/>
              <a:defRPr sz="1176" b="0">
                <a:solidFill>
                  <a:schemeClr val="tx2"/>
                </a:solidFill>
                <a:latin typeface="+mn-lt"/>
                <a:cs typeface="Segoe UI" panose="020B0502040204020203" pitchFamily="34" charset="0"/>
              </a:defRPr>
            </a:lvl1pPr>
            <a:lvl2pPr marL="336113" indent="0">
              <a:buFontTx/>
              <a:buNone/>
              <a:defRPr/>
            </a:lvl2pPr>
            <a:lvl3pPr marL="560187" indent="0">
              <a:buFontTx/>
              <a:buNone/>
              <a:defRPr/>
            </a:lvl3pPr>
            <a:lvl4pPr marL="784261" indent="0">
              <a:buFontTx/>
              <a:buNone/>
              <a:defRPr/>
            </a:lvl4pPr>
            <a:lvl5pPr marL="1008335" indent="0">
              <a:buFontTx/>
              <a:buNone/>
              <a:defRPr/>
            </a:lvl5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45" name="Text Placeholder 26"/>
          <p:cNvSpPr>
            <a:spLocks noGrp="1"/>
          </p:cNvSpPr>
          <p:nvPr>
            <p:ph type="body" sz="quarter" idx="41" hasCustomPrompt="1"/>
          </p:nvPr>
        </p:nvSpPr>
        <p:spPr>
          <a:xfrm>
            <a:off x="8964560" y="3877271"/>
            <a:ext cx="2688994" cy="2510662"/>
          </a:xfrm>
        </p:spPr>
        <p:txBody>
          <a:bodyPr lIns="182880" tIns="146304" bIns="146304">
            <a:noAutofit/>
          </a:bodyPr>
          <a:lstStyle>
            <a:lvl1pPr marL="0" indent="0">
              <a:lnSpc>
                <a:spcPts val="1412"/>
              </a:lnSpc>
              <a:spcBef>
                <a:spcPts val="294"/>
              </a:spcBef>
              <a:spcAft>
                <a:spcPts val="588"/>
              </a:spcAft>
              <a:buFontTx/>
              <a:buNone/>
              <a:defRPr sz="1176" b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336113" indent="0">
              <a:buFontTx/>
              <a:buNone/>
              <a:defRPr/>
            </a:lvl2pPr>
            <a:lvl3pPr marL="560187" indent="0">
              <a:buFontTx/>
              <a:buNone/>
              <a:defRPr/>
            </a:lvl3pPr>
            <a:lvl4pPr marL="784261" indent="0">
              <a:buFontTx/>
              <a:buNone/>
              <a:defRPr/>
            </a:lvl4pPr>
            <a:lvl5pPr marL="1008335" indent="0">
              <a:buFontTx/>
              <a:buNone/>
              <a:defRPr/>
            </a:lvl5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31" name="Text Placeholder 26"/>
          <p:cNvSpPr>
            <a:spLocks noGrp="1"/>
          </p:cNvSpPr>
          <p:nvPr>
            <p:ph type="body" sz="quarter" idx="42" hasCustomPrompt="1"/>
          </p:nvPr>
        </p:nvSpPr>
        <p:spPr>
          <a:xfrm>
            <a:off x="6155874" y="3877271"/>
            <a:ext cx="2688994" cy="2510662"/>
          </a:xfrm>
        </p:spPr>
        <p:txBody>
          <a:bodyPr lIns="182880" tIns="146304" bIns="146304">
            <a:noAutofit/>
          </a:bodyPr>
          <a:lstStyle>
            <a:lvl1pPr marL="0" indent="0">
              <a:lnSpc>
                <a:spcPts val="1412"/>
              </a:lnSpc>
              <a:spcBef>
                <a:spcPts val="294"/>
              </a:spcBef>
              <a:spcAft>
                <a:spcPts val="588"/>
              </a:spcAft>
              <a:buFontTx/>
              <a:buNone/>
              <a:defRPr sz="1176" b="0">
                <a:solidFill>
                  <a:schemeClr val="tx2"/>
                </a:solidFill>
                <a:latin typeface="+mn-lt"/>
                <a:cs typeface="Segoe UI" panose="020B0502040204020203" pitchFamily="34" charset="0"/>
              </a:defRPr>
            </a:lvl1pPr>
            <a:lvl2pPr marL="336113" indent="0">
              <a:buFontTx/>
              <a:buNone/>
              <a:defRPr/>
            </a:lvl2pPr>
            <a:lvl3pPr marL="560187" indent="0">
              <a:buFontTx/>
              <a:buNone/>
              <a:defRPr/>
            </a:lvl3pPr>
            <a:lvl4pPr marL="784261" indent="0">
              <a:buFontTx/>
              <a:buNone/>
              <a:defRPr/>
            </a:lvl4pPr>
            <a:lvl5pPr marL="1008335" indent="0">
              <a:buFontTx/>
              <a:buNone/>
              <a:defRPr/>
            </a:lvl5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3"/>
          </p:nvPr>
        </p:nvSpPr>
        <p:spPr>
          <a:xfrm>
            <a:off x="269240" y="6576365"/>
            <a:ext cx="3859607" cy="1344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05050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4"/>
          </p:nvPr>
        </p:nvSpPr>
        <p:spPr>
          <a:xfrm>
            <a:off x="11367166" y="6576365"/>
            <a:ext cx="555596" cy="1344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05050"/>
                </a:solidFill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756"/>
      </p:ext>
    </p:extLst>
  </p:cSld>
  <p:clrMapOvr>
    <a:masterClrMapping/>
  </p:clrMapOvr>
  <p:transition advClick="0"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8pt Text- Gra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73713" y="2100815"/>
            <a:ext cx="11007660" cy="1686801"/>
          </a:xfrm>
        </p:spPr>
        <p:txBody>
          <a:bodyPr/>
          <a:lstStyle>
            <a:lvl1pPr>
              <a:defRPr sz="8627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748193142"/>
      </p:ext>
    </p:extLst>
  </p:cSld>
  <p:clrMapOvr>
    <a:masterClrMapping/>
  </p:clrMapOvr>
  <p:transition advClick="0"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73713" y="2100815"/>
            <a:ext cx="11007660" cy="1686801"/>
          </a:xfrm>
        </p:spPr>
        <p:txBody>
          <a:bodyPr/>
          <a:lstStyle>
            <a:lvl1pPr>
              <a:defRPr sz="8627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92393686"/>
      </p:ext>
    </p:extLst>
  </p:cSld>
  <p:clrMapOvr>
    <a:masterClrMapping/>
  </p:clrMapOvr>
  <p:transition advClick="0"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0" y="2646134"/>
            <a:ext cx="4140487" cy="1523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0987871"/>
      </p:ext>
    </p:extLst>
  </p:cSld>
  <p:clrMapOvr>
    <a:masterClrMapping/>
  </p:clrMapOvr>
  <p:transition advClick="0"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0" y="6477873"/>
            <a:ext cx="8381999" cy="380127"/>
          </a:xfrm>
          <a:prstGeom prst="rect">
            <a:avLst/>
          </a:prstGeom>
        </p:spPr>
        <p:txBody>
          <a:bodyPr/>
          <a:lstStyle/>
          <a:p>
            <a:pPr defTabSz="896386">
              <a:defRPr/>
            </a:pPr>
            <a:endParaRPr lang="en-US" sz="1765" kern="0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30001" y="6478587"/>
            <a:ext cx="761998" cy="379413"/>
          </a:xfrm>
          <a:prstGeom prst="rect">
            <a:avLst/>
          </a:prstGeom>
        </p:spPr>
        <p:txBody>
          <a:bodyPr/>
          <a:lstStyle/>
          <a:p>
            <a:pPr defTabSz="896386">
              <a:defRPr/>
            </a:pPr>
            <a:fld id="{6A4C1A4A-E5E6-4CC1-B72C-A20A4EB3E2D2}" type="slidenum">
              <a:rPr lang="en-US" sz="1765" kern="0" smtClean="0">
                <a:solidFill>
                  <a:srgbClr val="505050"/>
                </a:solidFill>
              </a:rPr>
              <a:pPr defTabSz="896386">
                <a:defRPr/>
              </a:pPr>
              <a:t>‹#›</a:t>
            </a:fld>
            <a:endParaRPr lang="en-US" sz="1765" kern="0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4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20" indent="0">
              <a:buNone/>
              <a:defRPr/>
            </a:lvl2pPr>
            <a:lvl3pPr marL="588363" indent="0">
              <a:buNone/>
              <a:defRPr/>
            </a:lvl3pPr>
            <a:lvl4pPr marL="869983" indent="0">
              <a:buNone/>
              <a:defRPr/>
            </a:lvl4pPr>
            <a:lvl5pPr marL="1105327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6467344"/>
      </p:ext>
    </p:extLst>
  </p:cSld>
  <p:clrMapOvr>
    <a:masterClrMapping/>
  </p:clrMapOvr>
  <p:transition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8212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51706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896386">
              <a:defRPr/>
            </a:pPr>
            <a:fld id="{40771E8B-6CA5-40B2-8038-0E112F3DAC1C}" type="datetimeFigureOut">
              <a:rPr lang="es-ES" sz="1765" kern="0" smtClean="0">
                <a:solidFill>
                  <a:sysClr val="windowText" lastClr="000000"/>
                </a:solidFill>
              </a:rPr>
              <a:pPr defTabSz="896386">
                <a:defRPr/>
              </a:pPr>
              <a:t>28/04/2020</a:t>
            </a:fld>
            <a:endParaRPr lang="es-ES" sz="1765" kern="0">
              <a:solidFill>
                <a:sysClr val="windowText" lastClr="000000"/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96386">
              <a:defRPr/>
            </a:pPr>
            <a:endParaRPr lang="es-ES" sz="1765" kern="0">
              <a:solidFill>
                <a:sysClr val="windowText" lastClr="000000"/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96386">
              <a:defRPr/>
            </a:pPr>
            <a:fld id="{0F1556C4-DFC3-4611-A7CC-780699185E26}" type="slidenum">
              <a:rPr lang="es-ES" sz="1765" kern="0" smtClean="0">
                <a:solidFill>
                  <a:sysClr val="windowText" lastClr="000000"/>
                </a:solidFill>
              </a:rPr>
              <a:pPr defTabSz="896386">
                <a:defRPr/>
              </a:pPr>
              <a:t>‹#›</a:t>
            </a:fld>
            <a:endParaRPr lang="es-ES" sz="1765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40872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5832603"/>
      </p:ext>
    </p:extLst>
  </p:cSld>
  <p:clrMapOvr>
    <a:masterClrMapping/>
  </p:clrMapOvr>
  <p:transition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whit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6274973" cy="2012859"/>
          </a:xfrm>
        </p:spPr>
        <p:txBody>
          <a:bodyPr wrap="square">
            <a:spAutoFit/>
          </a:bodyPr>
          <a:lstStyle>
            <a:lvl1pPr marL="392094" indent="-392094">
              <a:spcBef>
                <a:spcPts val="1200"/>
              </a:spcBef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defRPr sz="3136">
                <a:gradFill>
                  <a:gsLst>
                    <a:gs pos="7500">
                      <a:schemeClr val="bg1"/>
                    </a:gs>
                    <a:gs pos="43000">
                      <a:schemeClr val="bg1"/>
                    </a:gs>
                  </a:gsLst>
                  <a:lin ang="5400000" scaled="0"/>
                </a:gradFill>
              </a:defRPr>
            </a:lvl1pPr>
            <a:lvl2pPr marL="672161" indent="-280067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defRPr sz="2353">
                <a:gradFill>
                  <a:gsLst>
                    <a:gs pos="7500">
                      <a:schemeClr val="bg1"/>
                    </a:gs>
                    <a:gs pos="43000">
                      <a:schemeClr val="bg1"/>
                    </a:gs>
                  </a:gsLst>
                  <a:lin ang="5400000" scaled="0"/>
                </a:gradFill>
              </a:defRPr>
            </a:lvl2pPr>
            <a:lvl3pPr marL="684608" indent="267620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tabLst/>
              <a:defRPr sz="1961">
                <a:gradFill>
                  <a:gsLst>
                    <a:gs pos="7500">
                      <a:schemeClr val="bg1"/>
                    </a:gs>
                    <a:gs pos="43000">
                      <a:schemeClr val="bg1"/>
                    </a:gs>
                  </a:gsLst>
                  <a:lin ang="5400000" scaled="0"/>
                </a:gradFill>
              </a:defRPr>
            </a:lvl3pPr>
            <a:lvl4pPr marL="952227" indent="224054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defRPr>
                <a:gradFill>
                  <a:gsLst>
                    <a:gs pos="7500">
                      <a:schemeClr val="bg1"/>
                    </a:gs>
                    <a:gs pos="43000">
                      <a:schemeClr val="bg1"/>
                    </a:gs>
                  </a:gsLst>
                  <a:lin ang="5400000" scaled="0"/>
                </a:gradFill>
              </a:defRPr>
            </a:lvl4pPr>
            <a:lvl5pPr marL="1176281" indent="-224054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tabLst/>
              <a:defRPr>
                <a:gradFill>
                  <a:gsLst>
                    <a:gs pos="7500">
                      <a:schemeClr val="bg1"/>
                    </a:gs>
                    <a:gs pos="43000">
                      <a:schemeClr val="bg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558" y="5222104"/>
            <a:ext cx="12190443" cy="1635896"/>
          </a:xfrm>
          <a:prstGeom prst="rect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Freeform 99"/>
          <p:cNvSpPr>
            <a:spLocks noChangeAspect="1"/>
          </p:cNvSpPr>
          <p:nvPr userDrawn="1"/>
        </p:nvSpPr>
        <p:spPr bwMode="black">
          <a:xfrm>
            <a:off x="474670" y="5491048"/>
            <a:ext cx="564934" cy="414033"/>
          </a:xfrm>
          <a:custGeom>
            <a:avLst/>
            <a:gdLst>
              <a:gd name="T0" fmla="*/ 86 w 131"/>
              <a:gd name="T1" fmla="*/ 35 h 96"/>
              <a:gd name="T2" fmla="*/ 48 w 131"/>
              <a:gd name="T3" fmla="*/ 0 h 96"/>
              <a:gd name="T4" fmla="*/ 79 w 131"/>
              <a:gd name="T5" fmla="*/ 0 h 96"/>
              <a:gd name="T6" fmla="*/ 131 w 131"/>
              <a:gd name="T7" fmla="*/ 48 h 96"/>
              <a:gd name="T8" fmla="*/ 79 w 131"/>
              <a:gd name="T9" fmla="*/ 96 h 96"/>
              <a:gd name="T10" fmla="*/ 48 w 131"/>
              <a:gd name="T11" fmla="*/ 96 h 96"/>
              <a:gd name="T12" fmla="*/ 86 w 131"/>
              <a:gd name="T13" fmla="*/ 60 h 96"/>
              <a:gd name="T14" fmla="*/ 0 w 131"/>
              <a:gd name="T15" fmla="*/ 60 h 96"/>
              <a:gd name="T16" fmla="*/ 0 w 131"/>
              <a:gd name="T17" fmla="*/ 35 h 96"/>
              <a:gd name="T18" fmla="*/ 86 w 131"/>
              <a:gd name="T19" fmla="*/ 3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96">
                <a:moveTo>
                  <a:pt x="86" y="35"/>
                </a:moveTo>
                <a:lnTo>
                  <a:pt x="48" y="0"/>
                </a:lnTo>
                <a:lnTo>
                  <a:pt x="79" y="0"/>
                </a:lnTo>
                <a:lnTo>
                  <a:pt x="131" y="48"/>
                </a:lnTo>
                <a:lnTo>
                  <a:pt x="79" y="96"/>
                </a:lnTo>
                <a:lnTo>
                  <a:pt x="48" y="96"/>
                </a:lnTo>
                <a:lnTo>
                  <a:pt x="86" y="60"/>
                </a:lnTo>
                <a:lnTo>
                  <a:pt x="0" y="60"/>
                </a:lnTo>
                <a:lnTo>
                  <a:pt x="0" y="35"/>
                </a:lnTo>
                <a:lnTo>
                  <a:pt x="86" y="3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lIns="68568" tIns="34284" rIns="68568" bIns="34284"/>
          <a:lstStyle/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2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7500">
                      <a:schemeClr val="bg1"/>
                    </a:gs>
                    <a:gs pos="55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1039604" y="5403225"/>
            <a:ext cx="10883158" cy="627736"/>
          </a:xfrm>
        </p:spPr>
        <p:txBody>
          <a:bodyPr/>
          <a:lstStyle>
            <a:lvl1pPr marL="0" indent="0">
              <a:buFontTx/>
              <a:buNone/>
              <a:defRPr lang="en-US" sz="3136" kern="1200" spc="0" baseline="0" dirty="0" smtClean="0">
                <a:gradFill>
                  <a:gsLst>
                    <a:gs pos="15000">
                      <a:srgbClr val="1E1E1E"/>
                    </a:gs>
                    <a:gs pos="49000">
                      <a:srgbClr val="1E1E1E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</a:pPr>
            <a:r>
              <a:rPr lang="en-US"/>
              <a:t>Potential highlight or call to action goes here</a:t>
            </a:r>
          </a:p>
        </p:txBody>
      </p:sp>
      <p:sp>
        <p:nvSpPr>
          <p:cNvPr id="12" name="Freeform 82"/>
          <p:cNvSpPr>
            <a:spLocks/>
          </p:cNvSpPr>
          <p:nvPr userDrawn="1"/>
        </p:nvSpPr>
        <p:spPr bwMode="auto">
          <a:xfrm>
            <a:off x="6821138" y="1029109"/>
            <a:ext cx="3549571" cy="1990134"/>
          </a:xfrm>
          <a:custGeom>
            <a:avLst/>
            <a:gdLst>
              <a:gd name="T0" fmla="*/ 322 w 386"/>
              <a:gd name="T1" fmla="*/ 92 h 221"/>
              <a:gd name="T2" fmla="*/ 301 w 386"/>
              <a:gd name="T3" fmla="*/ 96 h 221"/>
              <a:gd name="T4" fmla="*/ 237 w 386"/>
              <a:gd name="T5" fmla="*/ 37 h 221"/>
              <a:gd name="T6" fmla="*/ 191 w 386"/>
              <a:gd name="T7" fmla="*/ 56 h 221"/>
              <a:gd name="T8" fmla="*/ 128 w 386"/>
              <a:gd name="T9" fmla="*/ 0 h 221"/>
              <a:gd name="T10" fmla="*/ 63 w 386"/>
              <a:gd name="T11" fmla="*/ 64 h 221"/>
              <a:gd name="T12" fmla="*/ 70 w 386"/>
              <a:gd name="T13" fmla="*/ 93 h 221"/>
              <a:gd name="T14" fmla="*/ 64 w 386"/>
              <a:gd name="T15" fmla="*/ 92 h 221"/>
              <a:gd name="T16" fmla="*/ 0 w 386"/>
              <a:gd name="T17" fmla="*/ 156 h 221"/>
              <a:gd name="T18" fmla="*/ 64 w 386"/>
              <a:gd name="T19" fmla="*/ 221 h 221"/>
              <a:gd name="T20" fmla="*/ 322 w 386"/>
              <a:gd name="T21" fmla="*/ 221 h 221"/>
              <a:gd name="T22" fmla="*/ 386 w 386"/>
              <a:gd name="T23" fmla="*/ 156 h 221"/>
              <a:gd name="T24" fmla="*/ 322 w 386"/>
              <a:gd name="T25" fmla="*/ 92 h 2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86" h="221">
                <a:moveTo>
                  <a:pt x="322" y="92"/>
                </a:moveTo>
                <a:cubicBezTo>
                  <a:pt x="315" y="92"/>
                  <a:pt x="307" y="94"/>
                  <a:pt x="301" y="96"/>
                </a:cubicBezTo>
                <a:cubicBezTo>
                  <a:pt x="298" y="63"/>
                  <a:pt x="270" y="37"/>
                  <a:pt x="237" y="37"/>
                </a:cubicBezTo>
                <a:cubicBezTo>
                  <a:pt x="219" y="37"/>
                  <a:pt x="203" y="44"/>
                  <a:pt x="191" y="56"/>
                </a:cubicBezTo>
                <a:cubicBezTo>
                  <a:pt x="187" y="24"/>
                  <a:pt x="160" y="0"/>
                  <a:pt x="128" y="0"/>
                </a:cubicBezTo>
                <a:cubicBezTo>
                  <a:pt x="92" y="0"/>
                  <a:pt x="63" y="28"/>
                  <a:pt x="63" y="64"/>
                </a:cubicBezTo>
                <a:cubicBezTo>
                  <a:pt x="63" y="74"/>
                  <a:pt x="66" y="84"/>
                  <a:pt x="70" y="93"/>
                </a:cubicBezTo>
                <a:cubicBezTo>
                  <a:pt x="68" y="92"/>
                  <a:pt x="66" y="92"/>
                  <a:pt x="64" y="92"/>
                </a:cubicBezTo>
                <a:cubicBezTo>
                  <a:pt x="29" y="92"/>
                  <a:pt x="0" y="121"/>
                  <a:pt x="0" y="156"/>
                </a:cubicBezTo>
                <a:cubicBezTo>
                  <a:pt x="0" y="192"/>
                  <a:pt x="29" y="221"/>
                  <a:pt x="64" y="221"/>
                </a:cubicBezTo>
                <a:cubicBezTo>
                  <a:pt x="322" y="221"/>
                  <a:pt x="322" y="221"/>
                  <a:pt x="322" y="221"/>
                </a:cubicBezTo>
                <a:cubicBezTo>
                  <a:pt x="357" y="221"/>
                  <a:pt x="386" y="192"/>
                  <a:pt x="386" y="156"/>
                </a:cubicBezTo>
                <a:cubicBezTo>
                  <a:pt x="386" y="121"/>
                  <a:pt x="357" y="92"/>
                  <a:pt x="322" y="92"/>
                </a:cubicBezTo>
                <a:close/>
              </a:path>
            </a:pathLst>
          </a:custGeom>
          <a:solidFill>
            <a:schemeClr val="tx1">
              <a:lumMod val="85000"/>
            </a:schemeClr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" name="Freeform 82"/>
          <p:cNvSpPr>
            <a:spLocks/>
          </p:cNvSpPr>
          <p:nvPr userDrawn="1"/>
        </p:nvSpPr>
        <p:spPr bwMode="auto">
          <a:xfrm>
            <a:off x="8693990" y="981280"/>
            <a:ext cx="2617150" cy="1501422"/>
          </a:xfrm>
          <a:custGeom>
            <a:avLst/>
            <a:gdLst>
              <a:gd name="T0" fmla="*/ 322 w 386"/>
              <a:gd name="T1" fmla="*/ 92 h 221"/>
              <a:gd name="T2" fmla="*/ 301 w 386"/>
              <a:gd name="T3" fmla="*/ 96 h 221"/>
              <a:gd name="T4" fmla="*/ 237 w 386"/>
              <a:gd name="T5" fmla="*/ 37 h 221"/>
              <a:gd name="T6" fmla="*/ 191 w 386"/>
              <a:gd name="T7" fmla="*/ 56 h 221"/>
              <a:gd name="T8" fmla="*/ 128 w 386"/>
              <a:gd name="T9" fmla="*/ 0 h 221"/>
              <a:gd name="T10" fmla="*/ 63 w 386"/>
              <a:gd name="T11" fmla="*/ 64 h 221"/>
              <a:gd name="T12" fmla="*/ 70 w 386"/>
              <a:gd name="T13" fmla="*/ 93 h 221"/>
              <a:gd name="T14" fmla="*/ 64 w 386"/>
              <a:gd name="T15" fmla="*/ 92 h 221"/>
              <a:gd name="T16" fmla="*/ 0 w 386"/>
              <a:gd name="T17" fmla="*/ 156 h 221"/>
              <a:gd name="T18" fmla="*/ 64 w 386"/>
              <a:gd name="T19" fmla="*/ 221 h 221"/>
              <a:gd name="T20" fmla="*/ 322 w 386"/>
              <a:gd name="T21" fmla="*/ 221 h 221"/>
              <a:gd name="T22" fmla="*/ 386 w 386"/>
              <a:gd name="T23" fmla="*/ 156 h 221"/>
              <a:gd name="T24" fmla="*/ 322 w 386"/>
              <a:gd name="T25" fmla="*/ 92 h 2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86" h="221">
                <a:moveTo>
                  <a:pt x="322" y="92"/>
                </a:moveTo>
                <a:cubicBezTo>
                  <a:pt x="315" y="92"/>
                  <a:pt x="307" y="94"/>
                  <a:pt x="301" y="96"/>
                </a:cubicBezTo>
                <a:cubicBezTo>
                  <a:pt x="298" y="63"/>
                  <a:pt x="270" y="37"/>
                  <a:pt x="237" y="37"/>
                </a:cubicBezTo>
                <a:cubicBezTo>
                  <a:pt x="219" y="37"/>
                  <a:pt x="203" y="44"/>
                  <a:pt x="191" y="56"/>
                </a:cubicBezTo>
                <a:cubicBezTo>
                  <a:pt x="187" y="24"/>
                  <a:pt x="160" y="0"/>
                  <a:pt x="128" y="0"/>
                </a:cubicBezTo>
                <a:cubicBezTo>
                  <a:pt x="92" y="0"/>
                  <a:pt x="63" y="28"/>
                  <a:pt x="63" y="64"/>
                </a:cubicBezTo>
                <a:cubicBezTo>
                  <a:pt x="63" y="74"/>
                  <a:pt x="66" y="84"/>
                  <a:pt x="70" y="93"/>
                </a:cubicBezTo>
                <a:cubicBezTo>
                  <a:pt x="68" y="92"/>
                  <a:pt x="66" y="92"/>
                  <a:pt x="64" y="92"/>
                </a:cubicBezTo>
                <a:cubicBezTo>
                  <a:pt x="29" y="92"/>
                  <a:pt x="0" y="121"/>
                  <a:pt x="0" y="156"/>
                </a:cubicBezTo>
                <a:cubicBezTo>
                  <a:pt x="0" y="192"/>
                  <a:pt x="29" y="221"/>
                  <a:pt x="64" y="221"/>
                </a:cubicBezTo>
                <a:cubicBezTo>
                  <a:pt x="322" y="221"/>
                  <a:pt x="322" y="221"/>
                  <a:pt x="322" y="221"/>
                </a:cubicBezTo>
                <a:cubicBezTo>
                  <a:pt x="357" y="221"/>
                  <a:pt x="386" y="192"/>
                  <a:pt x="386" y="156"/>
                </a:cubicBezTo>
                <a:cubicBezTo>
                  <a:pt x="386" y="121"/>
                  <a:pt x="357" y="92"/>
                  <a:pt x="322" y="92"/>
                </a:cubicBezTo>
                <a:close/>
              </a:path>
            </a:pathLst>
          </a:custGeom>
          <a:solidFill>
            <a:schemeClr val="tx1">
              <a:lumMod val="95000"/>
            </a:schemeClr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grpSp>
        <p:nvGrpSpPr>
          <p:cNvPr id="9" name="Group 8"/>
          <p:cNvGrpSpPr>
            <a:grpSpLocks/>
          </p:cNvGrpSpPr>
          <p:nvPr userDrawn="1"/>
        </p:nvGrpSpPr>
        <p:grpSpPr bwMode="auto">
          <a:xfrm flipH="1">
            <a:off x="7082692" y="1905173"/>
            <a:ext cx="4228448" cy="3343392"/>
            <a:chOff x="2348247" y="1709773"/>
            <a:chExt cx="7397345" cy="5322534"/>
          </a:xfrm>
        </p:grpSpPr>
        <p:pic>
          <p:nvPicPr>
            <p:cNvPr id="10" name="Picture 3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8247" y="1709773"/>
              <a:ext cx="3209061" cy="53225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3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0307" y="5211593"/>
              <a:ext cx="5615285" cy="1820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8482863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4" grpId="0" animBg="1"/>
    </p:bld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/>
          <p:cNvSpPr>
            <a:spLocks noChangeArrowheads="1"/>
          </p:cNvSpPr>
          <p:nvPr userDrawn="1"/>
        </p:nvSpPr>
        <p:spPr bwMode="auto">
          <a:xfrm>
            <a:off x="3114" y="4309989"/>
            <a:ext cx="12188887" cy="2551127"/>
          </a:xfrm>
          <a:prstGeom prst="rect">
            <a:avLst/>
          </a:prstGeom>
          <a:solidFill>
            <a:srgbClr val="4DA0E2"/>
          </a:solidFill>
          <a:ln>
            <a:noFill/>
          </a:ln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2" y="5729528"/>
            <a:ext cx="12188888" cy="1131586"/>
          </a:xfrm>
          <a:prstGeom prst="rect">
            <a:avLst/>
          </a:prstGeom>
          <a:solidFill>
            <a:srgbClr val="00188F"/>
          </a:solidFill>
          <a:ln>
            <a:noFill/>
          </a:ln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Rectangle 8"/>
          <p:cNvSpPr>
            <a:spLocks noChangeArrowheads="1"/>
          </p:cNvSpPr>
          <p:nvPr userDrawn="1"/>
        </p:nvSpPr>
        <p:spPr bwMode="auto">
          <a:xfrm>
            <a:off x="3114" y="3343393"/>
            <a:ext cx="12185777" cy="277059"/>
          </a:xfrm>
          <a:prstGeom prst="rect">
            <a:avLst/>
          </a:prstGeom>
          <a:solidFill>
            <a:srgbClr val="25B9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0" y="-312"/>
            <a:ext cx="12191377" cy="6858623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2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1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49322" y="6061767"/>
            <a:ext cx="1522404" cy="326167"/>
          </a:xfrm>
          <a:prstGeom prst="rect">
            <a:avLst/>
          </a:prstGeom>
        </p:spPr>
      </p:pic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3114" y="4309989"/>
            <a:ext cx="12188887" cy="2551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870537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24000" decel="76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24000" decel="76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24000" decel="76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17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24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9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1" dur="9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0" grpId="0" animBg="1"/>
      <p:bldP spid="11" grpId="0" animBg="1"/>
      <p:bldP spid="13" grpId="0" animBg="1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800"/>
                  </p:stCondLst>
                  <p:childTnLst>
                    <p:animMotion origin="layout" path="M -0.01455 -1.34362E-6 L -3.90605E-7 -1.34362E-6 " pathEditMode="relative" rAng="0" ptsTypes="AA">
                      <p:cBhvr>
                        <p:cTn dur="95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5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100"/>
                  </p:stCondLst>
                  <p:childTnLst>
                    <p:animScale>
                      <p:cBhvr>
                        <p:cTn dur="500" fill="hold"/>
                        <p:tgtEl>
                          <p:spTgt spid="5"/>
                        </p:tgtEl>
                      </p:cBhvr>
                      <p:by x="95000" y="95000"/>
                    </p:animScale>
                  </p:childTnLst>
                </p:cTn>
              </p:par>
            </p:tnLst>
          </p:tmpl>
        </p:tmplLst>
      </p:bldP>
      <p:bldP spid="9" grpId="0"/>
      <p:bldP spid="9" grpId="1"/>
      <p:bldP spid="9" grpId="2"/>
    </p:bldLst>
  </p:timing>
  <p:extLst>
    <p:ext uri="{DCECCB84-F9BA-43D5-87BE-67443E8EF086}">
      <p15:sldGuideLst xmlns:p15="http://schemas.microsoft.com/office/powerpoint/2012/main">
        <p15:guide id="1" orient="horz" pos="4494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7593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C39AAC9F-C8B8-422E-93FC-08A064104000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09379AA-B540-4886-8794-46BA10F3D91B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9E5BC201-014B-48F5-BAC0-4FBBACCBF586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F72CD027-1ABE-4E4A-BE9E-EF73250F92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52C85D91-63CC-4FF7-A826-BE886CDB017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55C67E6-D930-403F-9550-70EC2A102AB5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BDB9C074-A5A6-4082-9FCD-D487FD8013E5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E3D79EB-E5E0-4CA3-A7CE-50069CC73F1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42F892FB-2465-40CF-A81F-AC989DC09CE4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E8BADF38-50C7-4E4B-AA00-660BF4161C96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A51B782C-38CF-4C16-8A55-9C1BEA5AF3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61A234A0-3B09-4E85-880A-C885FBEE2401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B6516D46-39CD-420E-9263-03065B10F8F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B28F64C-F49A-4F09-A9C2-8502680A64D7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AE00412-2C1C-4CAB-B1D4-B046A4B37C24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01030AB7-3DE7-407A-98DE-751351FCBFB5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0074BD83-98DD-4084-9D1E-CDACFD005AFF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47C85498-5D07-457D-BA73-99E2EB50130B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3DF2CE11-90A6-43A8-B2DC-45295F10CB64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65F154A-ABA1-4F9A-97F8-C50108DD1A97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4AC8DFE-7BB0-4D98-AA21-405DB4B06225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F39938CF-5CFF-4707-BBDD-DD19FA0A50F1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73332E5E-0308-4370-A841-A20570A69BDF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9E46D602-7D42-411E-8BA6-6F74E13FE60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53F344C1-9929-4E86-BB1A-05E12D1570DF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6933AFD-19AA-49B8-BCF7-2D0EAA89273D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9FB75AC2-D122-402F-B448-B0118576BB4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213511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796217"/>
          </a:xfrm>
          <a:noFill/>
        </p:spPr>
        <p:txBody>
          <a:bodyPr tIns="91440" bIns="91440" anchor="t" anchorCtr="0"/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8626" b="0" kern="1200" cap="none" spc="-98" baseline="0" dirty="0">
                <a:ln w="3175">
                  <a:noFill/>
                </a:ln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50733076"/>
      </p:ext>
    </p:extLst>
  </p:cSld>
  <p:clrMapOvr>
    <a:masterClrMapping/>
  </p:clrMapOvr>
  <p:transition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0" y="1189177"/>
            <a:ext cx="11655840" cy="2018835"/>
          </a:xfrm>
        </p:spPr>
        <p:txBody>
          <a:bodyPr/>
          <a:lstStyle>
            <a:lvl1pPr marL="0" indent="0">
              <a:buNone/>
              <a:defRPr/>
            </a:lvl1pPr>
            <a:lvl2pPr marL="28006" indent="0">
              <a:buNone/>
              <a:defRPr sz="1961"/>
            </a:lvl2pPr>
            <a:lvl3pPr marL="219386" indent="0">
              <a:buNone/>
              <a:defRPr sz="1961"/>
            </a:lvl3pPr>
            <a:lvl4pPr marL="466779" indent="0">
              <a:buNone/>
              <a:defRPr sz="1765"/>
            </a:lvl4pPr>
            <a:lvl5pPr marL="725061" indent="0">
              <a:buNone/>
              <a:defRPr sz="1765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4306113"/>
      </p:ext>
    </p:extLst>
  </p:cSld>
  <p:clrMapOvr>
    <a:masterClrMapping/>
  </p:clrMapOvr>
  <p:transition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184808"/>
          </a:xfrm>
        </p:spPr>
        <p:txBody>
          <a:bodyPr>
            <a:sp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8510290"/>
      </p:ext>
    </p:extLst>
  </p:cSld>
  <p:clrMapOvr>
    <a:masterClrMapping/>
  </p:clrMapOvr>
  <p:transition>
    <p:fade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5378548" cy="20009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7"/>
            <a:ext cx="5378548" cy="20009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52172209"/>
      </p:ext>
    </p:extLst>
  </p:cSld>
  <p:clrMapOvr>
    <a:masterClrMapping/>
  </p:clrMapOvr>
  <p:transition>
    <p:fad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5378548" cy="2067361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3528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7"/>
            <a:ext cx="5378548" cy="2067361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3528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667657"/>
      </p:ext>
    </p:extLst>
  </p:cSld>
  <p:clrMapOvr>
    <a:masterClrMapping/>
  </p:clrMapOvr>
  <p:transition>
    <p:fade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7198338"/>
      </p:ext>
    </p:extLst>
  </p:cSld>
  <p:clrMapOvr>
    <a:masterClrMapping/>
  </p:clrMapOvr>
  <p:transition>
    <p:fade/>
  </p:transition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de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021" y="1187622"/>
            <a:ext cx="11655840" cy="899665"/>
          </a:xfrm>
        </p:spPr>
        <p:txBody>
          <a:bodyPr/>
          <a:lstStyle>
            <a:lvl1pPr>
              <a:defRPr sz="7056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0650915"/>
      </p:ext>
    </p:extLst>
  </p:cSld>
  <p:clrMapOvr>
    <a:masterClrMapping/>
  </p:clrMapOvr>
  <p:transition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1685" y="2084173"/>
            <a:ext cx="8058229" cy="1793104"/>
          </a:xfrm>
        </p:spPr>
        <p:txBody>
          <a:bodyPr/>
          <a:lstStyle>
            <a:lvl1pPr>
              <a:defRPr sz="5881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9098578"/>
      </p:ext>
    </p:extLst>
  </p:cSld>
  <p:clrMapOvr>
    <a:masterClrMapping/>
  </p:clrMapOvr>
  <p:transition>
    <p:fade/>
  </p:transition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65664" y="1178350"/>
            <a:ext cx="9860672" cy="899665"/>
          </a:xfrm>
        </p:spPr>
        <p:txBody>
          <a:bodyPr/>
          <a:lstStyle>
            <a:lvl1pPr marL="228722" indent="-228722">
              <a:defRPr sz="5881" baseline="0"/>
            </a:lvl1pPr>
          </a:lstStyle>
          <a:p>
            <a:r>
              <a:rPr lang="en-US"/>
              <a:t>“Sample quote goes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5025984"/>
            <a:ext cx="5378549" cy="105015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136" baseline="0">
                <a:latin typeface="+mj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865129958"/>
      </p:ext>
    </p:extLst>
  </p:cSld>
  <p:clrMapOvr>
    <a:masterClrMapping/>
  </p:clrMapOvr>
  <p:transition>
    <p:fade/>
  </p:transition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_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65664" y="2084174"/>
            <a:ext cx="9860672" cy="899665"/>
          </a:xfrm>
        </p:spPr>
        <p:txBody>
          <a:bodyPr/>
          <a:lstStyle>
            <a:lvl1pPr marL="276954" indent="-276954">
              <a:tabLst>
                <a:tab pos="276954" algn="l"/>
              </a:tabLst>
              <a:defRPr sz="5881" baseline="0"/>
            </a:lvl1pPr>
          </a:lstStyle>
          <a:p>
            <a:r>
              <a:rPr lang="en-US"/>
              <a:t>“	Add a quote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4773813"/>
            <a:ext cx="5378549" cy="105015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136" baseline="0">
                <a:latin typeface="+mj-lt"/>
              </a:defRPr>
            </a:lvl1pPr>
          </a:lstStyle>
          <a:p>
            <a:pPr lvl="0"/>
            <a:r>
              <a:rPr lang="en-US"/>
              <a:t>Author’s Name</a:t>
            </a:r>
          </a:p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59043757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3B08910-F1C3-47B2-8C69-1B107282064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FE7A031-B4AB-4071-98FF-24E766F9BB5C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6DC7067D-3957-4163-9442-C167A0A6216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9AE235F-4F6C-4565-AADC-752626D64B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EAADF52-7CC0-4715-8BAC-4186C7CE9B0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8AC140A-9DFB-45B7-82C2-CF25166A0D41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3436FDC7-3DF0-4E6A-B4A8-7EB4FF30AAF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D72FB5AA-3C69-4BB6-9C10-682E95EF1AAE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20321A7F-C5FC-4514-A3AC-41CC16FA85FD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3C4B3CE-95D2-45A5-917E-A5389B118222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A5270AF0-DA91-4FF8-9B1C-35937E49D88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1B4AB4EC-0302-4902-B797-9B84C91FDE1B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941D13F-2DD6-4121-8220-CC08400DD382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98F2381-17CE-4672-96D3-D3E4A8C1115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6A42BAE-DCEA-4A1A-8779-E499D67DA7B9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8D7995E7-6761-41BA-BE88-30DD0DF70D22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4D7B6AA-459B-44CF-9930-A05720C41315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0EBE7D0E-F0D6-4EA3-A151-C26BF3138977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118A379-1639-4C1C-9E5B-A39F1CD0A9D9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8DE972F-9FF1-4743-BF7F-15CC5403A6C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95596FA-D3B2-4953-81FC-9958337AF5DC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D57090A-B887-4CA7-A022-90564F12A9A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F9749B2E-C284-42A2-A061-B635FBBBD461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A74F4CD-889D-4E91-AB27-CCB11E8677AE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CE97AB5-F3D1-4D1A-8F2F-166F6F85A189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5281A29-9018-48AF-8B81-EB9F71FE5ABA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2B1B3F07-773E-4FC0-9A04-73F52683190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34277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dea &amp;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7022" y="2383024"/>
            <a:ext cx="11653523" cy="914360"/>
          </a:xfrm>
        </p:spPr>
        <p:txBody>
          <a:bodyPr/>
          <a:lstStyle>
            <a:lvl1pPr marL="0" indent="0">
              <a:buNone/>
              <a:defRPr sz="5293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77021" y="1187622"/>
            <a:ext cx="11655840" cy="899665"/>
          </a:xfrm>
        </p:spPr>
        <p:txBody>
          <a:bodyPr/>
          <a:lstStyle>
            <a:lvl1pPr>
              <a:defRPr sz="7056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61075"/>
      </p:ext>
    </p:extLst>
  </p:cSld>
  <p:clrMapOvr>
    <a:masterClrMapping/>
  </p:clrMapOvr>
  <p:transition>
    <p:fade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1217195"/>
            <a:ext cx="5378548" cy="1763530"/>
          </a:xfrm>
        </p:spPr>
        <p:txBody>
          <a:bodyPr/>
          <a:lstStyle>
            <a:lvl1pPr>
              <a:defRPr sz="646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7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29495474"/>
      </p:ext>
    </p:extLst>
  </p:cSld>
  <p:clrMapOvr>
    <a:masterClrMapping/>
  </p:clrMapOvr>
  <p:transition>
    <p:fade/>
  </p:transition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Lef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44214" y="1217196"/>
            <a:ext cx="5378548" cy="899665"/>
          </a:xfrm>
        </p:spPr>
        <p:txBody>
          <a:bodyPr/>
          <a:lstStyle>
            <a:lvl1pPr>
              <a:defRPr sz="646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0" y="0"/>
            <a:ext cx="6094444" cy="6852151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371" b="1">
                <a:gradFill>
                  <a:gsLst>
                    <a:gs pos="13139">
                      <a:srgbClr val="FFFFFF"/>
                    </a:gs>
                    <a:gs pos="38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51015006"/>
      </p:ext>
    </p:extLst>
  </p:cSld>
  <p:clrMapOvr>
    <a:masterClrMapping/>
  </p:clrMapOvr>
  <p:transition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0565004"/>
      </p:ext>
    </p:extLst>
  </p:cSld>
  <p:clrMapOvr>
    <a:masterClrMapping/>
  </p:clrMapOvr>
  <p:transition>
    <p:fade/>
  </p:transition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C9E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75768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924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5" y="3083652"/>
            <a:ext cx="3227129" cy="692059"/>
          </a:xfrm>
          <a:prstGeom prst="rect">
            <a:avLst/>
          </a:prstGeom>
        </p:spPr>
      </p:pic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6209" y="2394244"/>
            <a:ext cx="4605934" cy="2064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1497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269239" y="1187621"/>
            <a:ext cx="6274974" cy="2689656"/>
          </a:xfrm>
          <a:prstGeom prst="rect">
            <a:avLst/>
          </a:prstGeom>
          <a:solidFill>
            <a:schemeClr val="bg2">
              <a:alpha val="80000"/>
            </a:schemeClr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61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1208198"/>
            <a:ext cx="8368705" cy="1167217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84066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239" y="2110562"/>
            <a:ext cx="8368707" cy="2236058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585" y="6133828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78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679465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peaker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7072" y="1600201"/>
            <a:ext cx="11356757" cy="218784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speaker not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 slide topic</a:t>
            </a:r>
          </a:p>
        </p:txBody>
      </p:sp>
    </p:spTree>
    <p:extLst>
      <p:ext uri="{BB962C8B-B14F-4D97-AF65-F5344CB8AC3E}">
        <p14:creationId xmlns:p14="http://schemas.microsoft.com/office/powerpoint/2010/main" val="2683987903"/>
      </p:ext>
    </p:extLst>
  </p:cSld>
  <p:clrMapOvr>
    <a:masterClrMapping/>
  </p:clrMapOvr>
  <p:transition>
    <p:fade/>
  </p:transition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82"/>
            <a:ext cx="11653523" cy="2187843"/>
          </a:xfrm>
        </p:spPr>
        <p:txBody>
          <a:bodyPr>
            <a:sp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588394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867548-8B9A-436D-9AB6-D7EA0AC78267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298AA2D-C933-41C0-B3A0-5E1B5429C617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DE45CCA4-1611-4A15-8D76-0CD4304233D4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B20432D-F3B6-4212-B616-45AD62D0A8BA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CB285A8-E7EF-4B70-8B71-2D09BE26853D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D552378-B8A4-40F9-8A64-367F9EC304F0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DED4FF8-FEAE-4CC0-8F5B-9FC2B47E570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4DD2AD2-299E-4049-881B-2BC838B6DB02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430A103C-9EC8-479D-9AEA-2FA30D0B683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FF762A67-8800-4EDC-ACA0-235237807007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C1E21E3-4EFA-46DB-B62D-888B912FEC3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C90FB2C-AED4-45EF-B005-A6F9315E6638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69EFEACE-63D5-4DE9-AE7A-022D10CBBAD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183FC86B-2504-437F-9155-736D3776FBC0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4BE281D9-0C46-4685-8A97-79D102C868ED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0B982782-C326-41A6-88DF-60D0069AAC1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C69C78E5-CDD7-45AD-9FAC-A193057F255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5E678CA-56AB-4822-8F79-1B384711F464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4D454C8-0C5D-4654-B977-447674D5459E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FD26513-923A-4E4E-88AB-484CF7F390D1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75F3DAB6-E46E-498F-AC8D-245DB12E86FA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2FF22795-13BD-4A36-8B98-FAE4B2B9567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26E68192-BBC2-4E66-BC2E-A6F5E839A4EC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74CE4AB-E3EC-4485-A9DB-D3875DE15509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8D9197E-BD70-40A3-872D-2F635C47602A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DA35C218-6C8E-4E07-9EA7-15A37B43AD66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47F6A62-B1EC-420D-A385-9A9A03966E9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82462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21478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8611466"/>
      </p:ext>
    </p:extLst>
  </p:cSld>
  <p:clrMapOvr>
    <a:masterClrMapping/>
  </p:clrMapOvr>
  <p:transition>
    <p:fade/>
  </p:transition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12473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3781899" cy="6280621"/>
          </a:xfrm>
        </p:spPr>
        <p:txBody>
          <a:bodyPr anchor="ctr"/>
          <a:lstStyle>
            <a:lvl1pPr>
              <a:defRPr sz="5398" spc="-15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0112505"/>
      </p:ext>
    </p:extLst>
  </p:cSld>
  <p:clrMapOvr>
    <a:masterClrMapping/>
  </p:clrMapOvr>
  <p:transition>
    <p:fade/>
  </p:transition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1" y="228600"/>
            <a:ext cx="11582401" cy="863600"/>
          </a:xfrm>
        </p:spPr>
        <p:txBody>
          <a:bodyPr anchor="t" anchorCtr="0">
            <a:noAutofit/>
          </a:bodyPr>
          <a:lstStyle>
            <a:lvl1pPr>
              <a:defRPr sz="5330" cap="none" spc="-133" baseline="0">
                <a:solidFill>
                  <a:schemeClr val="accent1"/>
                </a:solidFill>
                <a:latin typeface="Segoe UI Light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8275062"/>
      </p:ext>
    </p:extLst>
  </p:cSld>
  <p:clrMapOvr>
    <a:masterClrMapping/>
  </p:clrMapOvr>
  <p:transition spd="slow">
    <p:push/>
  </p:transition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3985" y="484298"/>
            <a:ext cx="6995026" cy="13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61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88">
          <p15:clr>
            <a:srgbClr val="C35EA4"/>
          </p15:clr>
        </p15:guide>
        <p15:guide id="2" pos="7546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orient="horz" pos="4104">
          <p15:clr>
            <a:srgbClr val="C35EA4"/>
          </p15:clr>
        </p15:guide>
      </p15:sldGuideLst>
    </p:ext>
  </p:extLs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/>
          <p:cNvSpPr>
            <a:spLocks noChangeArrowheads="1"/>
          </p:cNvSpPr>
          <p:nvPr userDrawn="1"/>
        </p:nvSpPr>
        <p:spPr bwMode="auto">
          <a:xfrm>
            <a:off x="3114" y="4309989"/>
            <a:ext cx="12188887" cy="2551127"/>
          </a:xfrm>
          <a:prstGeom prst="rect">
            <a:avLst/>
          </a:prstGeom>
          <a:solidFill>
            <a:srgbClr val="4DA0E2"/>
          </a:solidFill>
          <a:ln>
            <a:noFill/>
          </a:ln>
        </p:spPr>
        <p:txBody>
          <a:bodyPr vert="horz" wrap="square" lIns="89606" tIns="44804" rIns="89606" bIns="44804" numCol="1" anchor="t" anchorCtr="0" compatLnSpc="1">
            <a:prstTxWarp prst="textNoShape">
              <a:avLst/>
            </a:prstTxWarp>
          </a:bodyPr>
          <a:lstStyle/>
          <a:p>
            <a:endParaRPr lang="en-US" sz="2156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2" y="5729528"/>
            <a:ext cx="12188888" cy="1131586"/>
          </a:xfrm>
          <a:prstGeom prst="rect">
            <a:avLst/>
          </a:prstGeom>
          <a:solidFill>
            <a:srgbClr val="00188F"/>
          </a:solidFill>
          <a:ln>
            <a:noFill/>
          </a:ln>
        </p:spPr>
        <p:txBody>
          <a:bodyPr vert="horz" wrap="square" lIns="89606" tIns="44804" rIns="89606" bIns="44804" numCol="1" anchor="t" anchorCtr="0" compatLnSpc="1">
            <a:prstTxWarp prst="textNoShape">
              <a:avLst/>
            </a:prstTxWarp>
          </a:bodyPr>
          <a:lstStyle/>
          <a:p>
            <a:endParaRPr lang="en-US" sz="2156" dirty="0"/>
          </a:p>
        </p:txBody>
      </p:sp>
      <p:sp>
        <p:nvSpPr>
          <p:cNvPr id="11" name="Rectangle 8"/>
          <p:cNvSpPr>
            <a:spLocks noChangeArrowheads="1"/>
          </p:cNvSpPr>
          <p:nvPr userDrawn="1"/>
        </p:nvSpPr>
        <p:spPr bwMode="auto">
          <a:xfrm>
            <a:off x="3114" y="3343393"/>
            <a:ext cx="12185777" cy="277059"/>
          </a:xfrm>
          <a:prstGeom prst="rect">
            <a:avLst/>
          </a:prstGeom>
          <a:solidFill>
            <a:srgbClr val="25B9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06" tIns="44804" rIns="89606" bIns="44804" numCol="1" anchor="t" anchorCtr="0" compatLnSpc="1">
            <a:prstTxWarp prst="textNoShape">
              <a:avLst/>
            </a:prstTxWarp>
          </a:bodyPr>
          <a:lstStyle/>
          <a:p>
            <a:endParaRPr lang="en-US" sz="2156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1" y="-312"/>
            <a:ext cx="12191377" cy="6858623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12" tIns="143371" rIns="179212" bIns="1433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5" y="3481915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1680485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0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3114" y="4309989"/>
            <a:ext cx="12188887" cy="2551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06" tIns="44804" rIns="89606" bIns="44804" numCol="1" anchor="t" anchorCtr="0" compatLnSpc="1">
            <a:prstTxWarp prst="textNoShape">
              <a:avLst/>
            </a:prstTxWarp>
          </a:bodyPr>
          <a:lstStyle/>
          <a:p>
            <a:endParaRPr lang="en-US" sz="2156" dirty="0"/>
          </a:p>
        </p:txBody>
      </p:sp>
      <p:sp>
        <p:nvSpPr>
          <p:cNvPr id="14" name="TextBox 7"/>
          <p:cNvSpPr txBox="1"/>
          <p:nvPr userDrawn="1"/>
        </p:nvSpPr>
        <p:spPr bwMode="white">
          <a:xfrm>
            <a:off x="6068140" y="6567021"/>
            <a:ext cx="55721" cy="15818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8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+mn-lt"/>
              </a:rPr>
              <a:t> 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15006" y="288561"/>
            <a:ext cx="3585699" cy="452654"/>
          </a:xfrm>
        </p:spPr>
        <p:txBody>
          <a:bodyPr/>
          <a:lstStyle>
            <a:lvl1pPr marL="0" indent="0" algn="r">
              <a:buNone/>
              <a:defRPr sz="1960">
                <a:latin typeface="+mn-lt"/>
              </a:defRPr>
            </a:lvl1pPr>
            <a:lvl2pPr marL="336012" indent="0">
              <a:buNone/>
              <a:defRPr sz="1960"/>
            </a:lvl2pPr>
            <a:lvl3pPr marL="560020" indent="0">
              <a:buNone/>
              <a:defRPr sz="1960"/>
            </a:lvl3pPr>
            <a:lvl4pPr marL="784027" indent="0">
              <a:buNone/>
              <a:defRPr sz="1960"/>
            </a:lvl4pPr>
            <a:lvl5pPr marL="1008036" indent="0">
              <a:buNone/>
              <a:defRPr sz="1960"/>
            </a:lvl5pPr>
          </a:lstStyle>
          <a:p>
            <a:pPr lvl="0"/>
            <a:r>
              <a:rPr lang="en-US" dirty="0"/>
              <a:t>Session Code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08814"/>
            <a:ext cx="3585699" cy="452654"/>
          </a:xfrm>
        </p:spPr>
        <p:txBody>
          <a:bodyPr/>
          <a:lstStyle>
            <a:lvl1pPr marL="0" indent="0" algn="l">
              <a:buNone/>
              <a:defRPr sz="1960">
                <a:latin typeface="+mn-lt"/>
              </a:defRPr>
            </a:lvl1pPr>
            <a:lvl2pPr marL="336012" indent="0">
              <a:buNone/>
              <a:defRPr sz="1960"/>
            </a:lvl2pPr>
            <a:lvl3pPr marL="560020" indent="0">
              <a:buNone/>
              <a:defRPr sz="1960"/>
            </a:lvl3pPr>
            <a:lvl4pPr marL="784027" indent="0">
              <a:buNone/>
              <a:defRPr sz="1960"/>
            </a:lvl4pPr>
            <a:lvl5pPr marL="1008036" indent="0">
              <a:buNone/>
              <a:defRPr sz="1960"/>
            </a:lvl5pPr>
          </a:lstStyle>
          <a:p>
            <a:pPr lvl="0"/>
            <a:r>
              <a:rPr lang="en-US" dirty="0"/>
              <a:t>Yammer hashtag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6966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24000" decel="76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24000" decel="76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24000" decel="76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4.96142E-6 L -4.34261E-6 4.96142E-6 " pathEditMode="relative" rAng="0" ptsTypes="AA">
                                      <p:cBhvr>
                                        <p:cTn id="17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2.42851E-6 L -3.02783E-6 2.42851E-6 " pathEditMode="relative" rAng="0" ptsTypes="AA">
                                      <p:cBhvr>
                                        <p:cTn id="24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9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1" dur="9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16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9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3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8" dur="9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6" presetClass="emph" presetSubtype="0" accel="100000" autoRev="1" fill="hold" grpId="2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40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9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2.13345E-6 L 1.62369E-6 2.13345E-6 " pathEditMode="relative" rAng="0" ptsTypes="AA">
                                      <p:cBhvr>
                                        <p:cTn id="45" dur="9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7" dur="500" fill="hold"/>
                                        <p:tgtEl>
                                          <p:spTgt spid="1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9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52" dur="9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4" dur="500" fill="hold"/>
                                        <p:tgtEl>
                                          <p:spTgt spid="1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0" grpId="0" animBg="1"/>
      <p:bldP spid="11" grpId="0" animBg="1"/>
      <p:bldP spid="13" grpId="0" animBg="1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800"/>
                  </p:stCondLst>
                  <p:childTnLst>
                    <p:animMotion origin="layout" path="M -0.01455 2.42851E-6 L -3.02783E-6 2.42851E-6 " pathEditMode="relative" rAng="0" ptsTypes="AA">
                      <p:cBhvr>
                        <p:cTn dur="95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5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100"/>
                  </p:stCondLst>
                  <p:childTnLst>
                    <p:animScale>
                      <p:cBhvr>
                        <p:cTn dur="500" fill="hold"/>
                        <p:tgtEl>
                          <p:spTgt spid="5"/>
                        </p:tgtEl>
                      </p:cBhvr>
                      <p:by x="95000" y="95000"/>
                    </p:animScale>
                  </p:childTnLst>
                </p:cTn>
              </p:par>
            </p:tnLst>
          </p:tmpl>
        </p:tmplLst>
      </p:bldP>
      <p:bldP spid="9" grpId="0"/>
      <p:bldP spid="9" grpId="1"/>
      <p:bldP spid="9" grpId="2"/>
      <p:bldP spid="14" grpId="0"/>
      <p:bldP spid="14" grpId="1"/>
      <p:bldP spid="14" grpId="2"/>
      <p:bldP spid="17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700"/>
                  </p:stCondLst>
                  <p:childTnLst>
                    <p:animMotion origin="layout" path="M -0.01455 2.13345E-6 L 1.62369E-6 2.13345E-6 " pathEditMode="relative" rAng="0" ptsTypes="AA">
                      <p:cBhvr>
                        <p:cTn dur="950" fill="hold"/>
                        <p:tgtEl>
                          <p:spTgt spid="1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17" grpId="2"/>
      <p:bldP spid="15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700"/>
                  </p:stCondLst>
                  <p:childTnLst>
                    <p:animMotion origin="layout" path="M -0.01455 -2.09714E-6 L -4.54174E-6 -2.09714E-6 " pathEditMode="relative" rAng="0" ptsTypes="AA">
                      <p:cBhvr>
                        <p:cTn dur="950" fill="hold"/>
                        <p:tgtEl>
                          <p:spTgt spid="1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15" grpId="2"/>
    </p:bldLst>
  </p:timing>
  <p:extLst>
    <p:ext uri="{DCECCB84-F9BA-43D5-87BE-67443E8EF086}">
      <p15:sldGuideLst xmlns:p15="http://schemas.microsoft.com/office/powerpoint/2012/main">
        <p15:guide id="4" orient="horz" pos="4406">
          <p15:clr>
            <a:srgbClr val="C35EA4"/>
          </p15:clr>
        </p15:guide>
      </p15:sldGuideLst>
    </p:ext>
  </p:extLs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STA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5" y="3437345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1635915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0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3114" y="4309989"/>
            <a:ext cx="12188887" cy="2551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06" tIns="44804" rIns="89606" bIns="44804" numCol="1" anchor="t" anchorCtr="0" compatLnSpc="1">
            <a:prstTxWarp prst="textNoShape">
              <a:avLst/>
            </a:prstTxWarp>
          </a:bodyPr>
          <a:lstStyle/>
          <a:p>
            <a:endParaRPr lang="en-US" sz="2156" dirty="0"/>
          </a:p>
        </p:txBody>
      </p:sp>
      <p:sp>
        <p:nvSpPr>
          <p:cNvPr id="14" name="TextBox 7"/>
          <p:cNvSpPr txBox="1"/>
          <p:nvPr userDrawn="1"/>
        </p:nvSpPr>
        <p:spPr bwMode="white">
          <a:xfrm>
            <a:off x="6068140" y="6567021"/>
            <a:ext cx="55721" cy="15818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ctr" defTabSz="895995" rtl="0" eaLnBrk="1" latinLnBrk="0" hangingPunct="1"/>
            <a:r>
              <a:rPr lang="en-US" sz="1028" b="0" kern="120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6911" y="280362"/>
            <a:ext cx="3585699" cy="452654"/>
          </a:xfrm>
        </p:spPr>
        <p:txBody>
          <a:bodyPr/>
          <a:lstStyle>
            <a:lvl1pPr marL="0" indent="0" algn="r">
              <a:buNone/>
              <a:defRPr sz="1960">
                <a:latin typeface="+mn-lt"/>
              </a:defRPr>
            </a:lvl1pPr>
            <a:lvl2pPr marL="336012" indent="0">
              <a:buNone/>
              <a:defRPr sz="1960"/>
            </a:lvl2pPr>
            <a:lvl3pPr marL="560020" indent="0">
              <a:buNone/>
              <a:defRPr sz="1960"/>
            </a:lvl3pPr>
            <a:lvl4pPr marL="784027" indent="0">
              <a:buNone/>
              <a:defRPr sz="1960"/>
            </a:lvl4pPr>
            <a:lvl5pPr marL="1008036" indent="0">
              <a:buNone/>
              <a:defRPr sz="1960"/>
            </a:lvl5pPr>
          </a:lstStyle>
          <a:p>
            <a:pPr lvl="0"/>
            <a:r>
              <a:rPr lang="en-US" dirty="0"/>
              <a:t>Session Code</a:t>
            </a: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74547" y="5927468"/>
            <a:ext cx="3585699" cy="452654"/>
          </a:xfrm>
        </p:spPr>
        <p:txBody>
          <a:bodyPr/>
          <a:lstStyle>
            <a:lvl1pPr marL="0" indent="0" algn="l">
              <a:buNone/>
              <a:defRPr sz="1960">
                <a:latin typeface="+mn-lt"/>
              </a:defRPr>
            </a:lvl1pPr>
            <a:lvl2pPr marL="336012" indent="0">
              <a:buNone/>
              <a:defRPr sz="1960"/>
            </a:lvl2pPr>
            <a:lvl3pPr marL="560020" indent="0">
              <a:buNone/>
              <a:defRPr sz="1960"/>
            </a:lvl3pPr>
            <a:lvl4pPr marL="784027" indent="0">
              <a:buNone/>
              <a:defRPr sz="1960"/>
            </a:lvl4pPr>
            <a:lvl5pPr marL="1008036" indent="0">
              <a:buNone/>
              <a:defRPr sz="1960"/>
            </a:lvl5pPr>
          </a:lstStyle>
          <a:p>
            <a:pPr lvl="0"/>
            <a:r>
              <a:rPr lang="en-US" dirty="0"/>
              <a:t>Yammer hashtag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2174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1673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4008" indent="0">
              <a:buNone/>
              <a:defRPr/>
            </a:lvl3pPr>
            <a:lvl4pPr marL="448016" indent="0">
              <a:buNone/>
              <a:defRPr/>
            </a:lvl4pPr>
            <a:lvl5pPr marL="672024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6068140" y="6567021"/>
            <a:ext cx="55721" cy="15818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8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14745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4008" indent="0">
              <a:buNone/>
              <a:defRPr/>
            </a:lvl3pPr>
            <a:lvl4pPr marL="448016" indent="0">
              <a:buNone/>
              <a:defRPr/>
            </a:lvl4pPr>
            <a:lvl5pPr marL="672024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6068140" y="6567021"/>
            <a:ext cx="55721" cy="15818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8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476254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BF7881-8D09-4F22-B10B-0916A242A2CD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5B1D67C-D600-4009-9F96-DBD9F692B67A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89ED409-83AE-42D1-A29E-F5ACE1D5379C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A47E83EE-C7AB-4851-AC1F-A2E965DE8A4F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17874BE-F982-46B6-83B3-569DB8A26C11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72B84FE-1FBD-4DB0-A1BB-1D393BABFD96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F0612185-AF46-47F9-B984-65C416463817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F4FE628-8992-4D3C-9177-54650A419B37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F0C1-51BC-433D-B643-499296AD9EB3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F95DA3E-A7A9-4898-8537-3057A04A80B1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A0885F40-F98C-4749-AF50-8D882201C7B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DF4BDA5-0196-465B-9592-AD537FCE4B9C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C953882-CF21-4072-808A-AFC6C6427081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4ACD3F6-35BF-4463-9A90-5F5B9025D6D9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6E0228F-415B-4662-977D-90C5D263A103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BA85FE8-C6CE-42AD-9924-C426CEBA2C5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0FBB4D3-1D1C-41F7-856E-89287C5609D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F5EE762-48D4-46D8-8ECD-7595053F7D6E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5602528A-0204-4F83-A3CC-B19E5ED41C75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70E694A-2FDE-4ED0-B17A-283BAEEEBC3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014F876-92BB-450A-A3A6-EB7B6C2CB558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AFE4E51-6693-4C7C-9EE7-633EA9AAA2AC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522550D5-A578-4C33-B405-092D50801565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A5C88A0-A89F-42B9-B5E5-623E0E0D755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4AD7328-AEE6-43BE-8744-DE52D5F8CC2E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0DC1356-0D84-4394-B0FF-A91903B8585E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CA4391C-EE34-4D39-AC03-6D3272F213DC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84692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1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6068140" y="6567021"/>
            <a:ext cx="55721" cy="15818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8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0040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19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6068140" y="6567021"/>
            <a:ext cx="55721" cy="15818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8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928220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5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0"/>
            </a:lvl2pPr>
            <a:lvl3pPr marL="227120" indent="0">
              <a:buNone/>
              <a:tabLst/>
              <a:defRPr sz="1960"/>
            </a:lvl3pPr>
            <a:lvl4pPr marL="451127" indent="0">
              <a:buNone/>
              <a:defRPr/>
            </a:lvl4pPr>
            <a:lvl5pPr marL="672024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5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0"/>
            </a:lvl2pPr>
            <a:lvl3pPr marL="227120" indent="0">
              <a:buNone/>
              <a:tabLst/>
              <a:defRPr sz="1960"/>
            </a:lvl3pPr>
            <a:lvl4pPr marL="451127" indent="0">
              <a:buNone/>
              <a:defRPr/>
            </a:lvl4pPr>
            <a:lvl5pPr marL="672024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6068140" y="6567021"/>
            <a:ext cx="55721" cy="15818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8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633855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5"/>
            </a:lvl1pPr>
            <a:lvl2pPr marL="0" indent="0">
              <a:buNone/>
              <a:defRPr sz="1960"/>
            </a:lvl2pPr>
            <a:lvl3pPr marL="227120" indent="0">
              <a:buNone/>
              <a:tabLst/>
              <a:defRPr sz="1960"/>
            </a:lvl3pPr>
            <a:lvl4pPr marL="451127" indent="0">
              <a:buNone/>
              <a:defRPr/>
            </a:lvl4pPr>
            <a:lvl5pPr marL="672024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5"/>
            </a:lvl1pPr>
            <a:lvl2pPr marL="0" indent="0">
              <a:buNone/>
              <a:defRPr sz="1960"/>
            </a:lvl2pPr>
            <a:lvl3pPr marL="227120" indent="0">
              <a:buNone/>
              <a:tabLst/>
              <a:defRPr sz="1960"/>
            </a:lvl3pPr>
            <a:lvl4pPr marL="451127" indent="0">
              <a:buNone/>
              <a:defRPr/>
            </a:lvl4pPr>
            <a:lvl5pPr marL="672024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6068140" y="6567021"/>
            <a:ext cx="55721" cy="15818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8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901793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566" indent="-281566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5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96" indent="-228510">
              <a:defRPr sz="2352"/>
            </a:lvl2pPr>
            <a:lvl3pPr marL="685532" indent="-165035">
              <a:tabLst/>
              <a:defRPr sz="1960"/>
            </a:lvl3pPr>
            <a:lvl4pPr marL="863261" indent="-177731">
              <a:defRPr/>
            </a:lvl4pPr>
            <a:lvl5pPr marL="1028296" indent="-165035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6"/>
            <a:ext cx="5378548" cy="2377940"/>
          </a:xfrm>
        </p:spPr>
        <p:txBody>
          <a:bodyPr wrap="square">
            <a:spAutoFit/>
          </a:bodyPr>
          <a:lstStyle>
            <a:lvl1pPr marL="281566" indent="-281566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5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96" indent="-228510">
              <a:defRPr sz="2352"/>
            </a:lvl2pPr>
            <a:lvl3pPr marL="685532" indent="-165035">
              <a:tabLst/>
              <a:defRPr sz="1960"/>
            </a:lvl3pPr>
            <a:lvl4pPr marL="863261" indent="-177731">
              <a:defRPr/>
            </a:lvl4pPr>
            <a:lvl5pPr marL="1028296" indent="-165035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6068140" y="6567021"/>
            <a:ext cx="55721" cy="15818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8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053453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566" indent="-281566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5"/>
            </a:lvl1pPr>
            <a:lvl2pPr marL="520496" indent="-228510">
              <a:defRPr sz="2352"/>
            </a:lvl2pPr>
            <a:lvl3pPr marL="685532" indent="-165035">
              <a:tabLst/>
              <a:defRPr sz="1960"/>
            </a:lvl3pPr>
            <a:lvl4pPr marL="863261" indent="-177731">
              <a:defRPr/>
            </a:lvl4pPr>
            <a:lvl5pPr marL="1028296" indent="-165035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6"/>
            <a:ext cx="5378548" cy="2377940"/>
          </a:xfrm>
        </p:spPr>
        <p:txBody>
          <a:bodyPr wrap="square">
            <a:spAutoFit/>
          </a:bodyPr>
          <a:lstStyle>
            <a:lvl1pPr marL="281566" indent="-281566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5"/>
            </a:lvl1pPr>
            <a:lvl2pPr marL="520496" indent="-228510">
              <a:defRPr sz="2352"/>
            </a:lvl2pPr>
            <a:lvl3pPr marL="685532" indent="-165035">
              <a:tabLst/>
              <a:defRPr sz="1960"/>
            </a:lvl3pPr>
            <a:lvl4pPr marL="863261" indent="-177731">
              <a:defRPr/>
            </a:lvl4pPr>
            <a:lvl5pPr marL="1028296" indent="-165035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6068140" y="6567021"/>
            <a:ext cx="55721" cy="15818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8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099347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6068140" y="6567021"/>
            <a:ext cx="55721" cy="15818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8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79143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717139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5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4773829"/>
            <a:ext cx="7171397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5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4953" y="298255"/>
            <a:ext cx="4322760" cy="6275864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 bwMode="white">
          <a:xfrm>
            <a:off x="6068140" y="6567021"/>
            <a:ext cx="55721" cy="15818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ctr" defTabSz="895995" rtl="0" eaLnBrk="1" latinLnBrk="0" hangingPunct="1"/>
            <a:r>
              <a:rPr lang="en-US" sz="1028" b="0" kern="120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226361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4481416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5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" y="3343635"/>
            <a:ext cx="12191377" cy="3043622"/>
          </a:xfrm>
          <a:prstGeom prst="rect">
            <a:avLst/>
          </a:prstGeom>
        </p:spPr>
      </p:pic>
      <p:sp>
        <p:nvSpPr>
          <p:cNvPr id="5" name="TextBox 7"/>
          <p:cNvSpPr txBox="1"/>
          <p:nvPr userDrawn="1"/>
        </p:nvSpPr>
        <p:spPr bwMode="white">
          <a:xfrm>
            <a:off x="6068140" y="6567021"/>
            <a:ext cx="55721" cy="15818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ctr" defTabSz="895995" rtl="0" eaLnBrk="1" latinLnBrk="0" hangingPunct="1"/>
            <a:r>
              <a:rPr lang="en-US" sz="1028" b="0" kern="120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833410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5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129986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67841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5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376691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Layout_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1685" y="2084173"/>
            <a:ext cx="8058229" cy="1793104"/>
          </a:xfrm>
        </p:spPr>
        <p:txBody>
          <a:bodyPr/>
          <a:lstStyle>
            <a:lvl1pPr>
              <a:defRPr sz="588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6068140" y="6567021"/>
            <a:ext cx="55721" cy="15818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ctr" defTabSz="895995" rtl="0" eaLnBrk="1" latinLnBrk="0" hangingPunct="1"/>
            <a:r>
              <a:rPr lang="en-US" sz="1028" b="0" kern="120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18970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_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65665" y="2084174"/>
            <a:ext cx="9860672" cy="899665"/>
          </a:xfrm>
        </p:spPr>
        <p:txBody>
          <a:bodyPr/>
          <a:lstStyle>
            <a:lvl1pPr marL="276898" indent="-276898">
              <a:tabLst>
                <a:tab pos="276898" algn="l"/>
              </a:tabLst>
              <a:defRPr sz="5880" baseline="0"/>
            </a:lvl1pPr>
          </a:lstStyle>
          <a:p>
            <a:r>
              <a:rPr lang="en-US" dirty="0"/>
              <a:t>“	Add a quote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4773813"/>
            <a:ext cx="5378549" cy="1050156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3135" baseline="0">
                <a:latin typeface="+mj-lt"/>
              </a:defRPr>
            </a:lvl1pPr>
          </a:lstStyle>
          <a:p>
            <a:pPr lvl="0"/>
            <a:r>
              <a:rPr lang="en-US" dirty="0"/>
              <a:t>Author’s Name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6068140" y="6567021"/>
            <a:ext cx="55721" cy="15818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8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523564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1217195"/>
            <a:ext cx="5378548" cy="1973570"/>
          </a:xfrm>
        </p:spPr>
        <p:txBody>
          <a:bodyPr>
            <a:spAutoFit/>
          </a:bodyPr>
          <a:lstStyle>
            <a:lvl1pPr>
              <a:defRPr sz="6468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7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325472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6068140" y="6567021"/>
            <a:ext cx="55721" cy="15818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8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460910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6068140" y="6567021"/>
            <a:ext cx="55721" cy="15818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8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219284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2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4" tIns="45704" rIns="45704" bIns="457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741" fontAlgn="base">
              <a:spcBef>
                <a:spcPct val="0"/>
              </a:spcBef>
              <a:spcAft>
                <a:spcPct val="0"/>
              </a:spcAft>
            </a:pPr>
            <a:endParaRPr lang="en-US" sz="2156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0" y="1197323"/>
            <a:ext cx="11653522" cy="1956973"/>
          </a:xfrm>
        </p:spPr>
        <p:txBody>
          <a:bodyPr/>
          <a:lstStyle>
            <a:lvl1pPr marL="0" indent="0">
              <a:buNone/>
              <a:defRPr sz="3233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5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8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19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88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943162"/>
      </p:ext>
    </p:extLst>
  </p:cSld>
  <p:clrMapOvr>
    <a:masterClrMapping/>
  </p:clrMapOvr>
  <p:transition>
    <p:fade/>
  </p:transition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12" tIns="143371" rIns="179212" bIns="143371" numCol="1" anchor="t" anchorCtr="0" compatLnSpc="1">
            <a:prstTxWarp prst="textNoShape">
              <a:avLst/>
            </a:prstTxWarp>
            <a:spAutoFit/>
          </a:bodyPr>
          <a:lstStyle/>
          <a:p>
            <a:pPr defTabSz="913561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5160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677" indent="-284677">
              <a:buClr>
                <a:schemeClr val="tx1"/>
              </a:buClr>
              <a:buSzPct val="90000"/>
              <a:buFont typeface="Arial" pitchFamily="34" charset="0"/>
              <a:buChar char="•"/>
              <a:defRPr sz="352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20" indent="-275343">
              <a:buClr>
                <a:schemeClr val="tx1"/>
              </a:buClr>
              <a:buSzPct val="90000"/>
              <a:buFont typeface="Arial" pitchFamily="34" charset="0"/>
              <a:buChar char="•"/>
              <a:defRPr sz="313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697" indent="-284677">
              <a:buClr>
                <a:schemeClr val="tx1"/>
              </a:buClr>
              <a:buSzPct val="90000"/>
              <a:buFont typeface="Arial" pitchFamily="34" charset="0"/>
              <a:buChar char="•"/>
              <a:defRPr sz="274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704" indent="-224008">
              <a:buClr>
                <a:schemeClr val="tx1"/>
              </a:buClr>
              <a:buSzPct val="90000"/>
              <a:buFont typeface="Arial" pitchFamily="34" charset="0"/>
              <a:buChar char="•"/>
              <a:defRPr sz="235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713" indent="-224008">
              <a:buClr>
                <a:schemeClr val="tx1"/>
              </a:buClr>
              <a:buSzPct val="90000"/>
              <a:buFont typeface="Arial" pitchFamily="34" charset="0"/>
              <a:buChar char="•"/>
              <a:defRPr sz="196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5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470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6595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4571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7126226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1" y="2021398"/>
            <a:ext cx="12192000" cy="3765518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12" tIns="143371" rIns="179212" bIns="1433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74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2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6860" y="79373"/>
            <a:ext cx="4555141" cy="6791497"/>
          </a:xfrm>
          <a:prstGeom prst="rect">
            <a:avLst/>
          </a:prstGeom>
        </p:spPr>
      </p:pic>
      <p:pic>
        <p:nvPicPr>
          <p:cNvPr id="4" name="Picture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invGray">
          <a:xfrm>
            <a:off x="449770" y="471626"/>
            <a:ext cx="1702585" cy="364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71105" y="4263287"/>
            <a:ext cx="6273418" cy="1239992"/>
          </a:xfrm>
          <a:noFill/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527" spc="0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69304" y="2291187"/>
            <a:ext cx="6491234" cy="1972099"/>
          </a:xfrm>
          <a:noFill/>
        </p:spPr>
        <p:txBody>
          <a:bodyPr anchorCtr="0"/>
          <a:lstStyle>
            <a:lvl1pPr>
              <a:defRPr sz="5880" spc="-98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8171613"/>
      </p:ext>
    </p:extLst>
  </p:cSld>
  <p:clrMapOvr>
    <a:masterClrMapping/>
  </p:clrMapOvr>
  <p:transition spd="slow"/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Europ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tangle 99"/>
          <p:cNvSpPr/>
          <p:nvPr userDrawn="1"/>
        </p:nvSpPr>
        <p:spPr bwMode="auto">
          <a:xfrm>
            <a:off x="269239" y="3866380"/>
            <a:ext cx="8964248" cy="179310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12" tIns="143371" rIns="179212" bIns="1433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65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6220647" y="3866380"/>
            <a:ext cx="3012841" cy="1793104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12" tIns="143371" rIns="179212" bIns="1433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65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 bwMode="ltGray">
          <a:xfrm>
            <a:off x="269239" y="2084175"/>
            <a:ext cx="8964248" cy="179310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12" tIns="143371" rIns="179212" bIns="1433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65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84188"/>
            <a:ext cx="8964185" cy="999056"/>
          </a:xfrm>
          <a:noFill/>
        </p:spPr>
        <p:txBody>
          <a:bodyPr lIns="146304" tIns="91440" rIns="146304" bIns="91440" anchor="t" anchorCtr="0"/>
          <a:lstStyle>
            <a:lvl1pPr>
              <a:defRPr sz="5879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3" y="3878574"/>
            <a:ext cx="5951344" cy="1792326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7" spc="0" baseline="0">
                <a:gradFill>
                  <a:gsLst>
                    <a:gs pos="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9323" y="6087148"/>
            <a:ext cx="1522405" cy="326167"/>
          </a:xfrm>
          <a:prstGeom prst="rect">
            <a:avLst/>
          </a:prstGeom>
        </p:spPr>
      </p:pic>
      <p:grpSp>
        <p:nvGrpSpPr>
          <p:cNvPr id="98" name="Group 97"/>
          <p:cNvGrpSpPr/>
          <p:nvPr userDrawn="1"/>
        </p:nvGrpSpPr>
        <p:grpSpPr>
          <a:xfrm>
            <a:off x="6996387" y="4030595"/>
            <a:ext cx="1461360" cy="1486471"/>
            <a:chOff x="18853150" y="1957388"/>
            <a:chExt cx="1490663" cy="1516063"/>
          </a:xfrm>
        </p:grpSpPr>
        <p:sp>
          <p:nvSpPr>
            <p:cNvPr id="58" name="Freeform 51"/>
            <p:cNvSpPr>
              <a:spLocks noEditPoints="1"/>
            </p:cNvSpPr>
            <p:nvPr userDrawn="1"/>
          </p:nvSpPr>
          <p:spPr bwMode="auto">
            <a:xfrm>
              <a:off x="18875375" y="2527300"/>
              <a:ext cx="1468438" cy="909638"/>
            </a:xfrm>
            <a:custGeom>
              <a:avLst/>
              <a:gdLst>
                <a:gd name="T0" fmla="*/ 475 w 529"/>
                <a:gd name="T1" fmla="*/ 128 h 328"/>
                <a:gd name="T2" fmla="*/ 449 w 529"/>
                <a:gd name="T3" fmla="*/ 95 h 328"/>
                <a:gd name="T4" fmla="*/ 400 w 529"/>
                <a:gd name="T5" fmla="*/ 48 h 328"/>
                <a:gd name="T6" fmla="*/ 377 w 529"/>
                <a:gd name="T7" fmla="*/ 1 h 328"/>
                <a:gd name="T8" fmla="*/ 328 w 529"/>
                <a:gd name="T9" fmla="*/ 43 h 328"/>
                <a:gd name="T10" fmla="*/ 305 w 529"/>
                <a:gd name="T11" fmla="*/ 82 h 328"/>
                <a:gd name="T12" fmla="*/ 220 w 529"/>
                <a:gd name="T13" fmla="*/ 82 h 328"/>
                <a:gd name="T14" fmla="*/ 216 w 529"/>
                <a:gd name="T15" fmla="*/ 41 h 328"/>
                <a:gd name="T16" fmla="*/ 203 w 529"/>
                <a:gd name="T17" fmla="*/ 89 h 328"/>
                <a:gd name="T18" fmla="*/ 141 w 529"/>
                <a:gd name="T19" fmla="*/ 126 h 328"/>
                <a:gd name="T20" fmla="*/ 71 w 529"/>
                <a:gd name="T21" fmla="*/ 162 h 328"/>
                <a:gd name="T22" fmla="*/ 86 w 529"/>
                <a:gd name="T23" fmla="*/ 236 h 328"/>
                <a:gd name="T24" fmla="*/ 18 w 529"/>
                <a:gd name="T25" fmla="*/ 317 h 328"/>
                <a:gd name="T26" fmla="*/ 105 w 529"/>
                <a:gd name="T27" fmla="*/ 294 h 328"/>
                <a:gd name="T28" fmla="*/ 192 w 529"/>
                <a:gd name="T29" fmla="*/ 229 h 328"/>
                <a:gd name="T30" fmla="*/ 274 w 529"/>
                <a:gd name="T31" fmla="*/ 304 h 328"/>
                <a:gd name="T32" fmla="*/ 250 w 529"/>
                <a:gd name="T33" fmla="*/ 205 h 328"/>
                <a:gd name="T34" fmla="*/ 310 w 529"/>
                <a:gd name="T35" fmla="*/ 259 h 328"/>
                <a:gd name="T36" fmla="*/ 344 w 529"/>
                <a:gd name="T37" fmla="*/ 311 h 328"/>
                <a:gd name="T38" fmla="*/ 357 w 529"/>
                <a:gd name="T39" fmla="*/ 267 h 328"/>
                <a:gd name="T40" fmla="*/ 395 w 529"/>
                <a:gd name="T41" fmla="*/ 242 h 328"/>
                <a:gd name="T42" fmla="*/ 461 w 529"/>
                <a:gd name="T43" fmla="*/ 199 h 328"/>
                <a:gd name="T44" fmla="*/ 507 w 529"/>
                <a:gd name="T45" fmla="*/ 185 h 328"/>
                <a:gd name="T46" fmla="*/ 343 w 529"/>
                <a:gd name="T47" fmla="*/ 151 h 328"/>
                <a:gd name="T48" fmla="*/ 342 w 529"/>
                <a:gd name="T49" fmla="*/ 224 h 328"/>
                <a:gd name="T50" fmla="*/ 341 w 529"/>
                <a:gd name="T51" fmla="*/ 221 h 328"/>
                <a:gd name="T52" fmla="*/ 326 w 529"/>
                <a:gd name="T53" fmla="*/ 196 h 328"/>
                <a:gd name="T54" fmla="*/ 345 w 529"/>
                <a:gd name="T55" fmla="*/ 172 h 328"/>
                <a:gd name="T56" fmla="*/ 352 w 529"/>
                <a:gd name="T57" fmla="*/ 122 h 328"/>
                <a:gd name="T58" fmla="*/ 352 w 529"/>
                <a:gd name="T59" fmla="*/ 118 h 328"/>
                <a:gd name="T60" fmla="*/ 383 w 529"/>
                <a:gd name="T61" fmla="*/ 170 h 328"/>
                <a:gd name="T62" fmla="*/ 393 w 529"/>
                <a:gd name="T63" fmla="*/ 166 h 328"/>
                <a:gd name="T64" fmla="*/ 346 w 529"/>
                <a:gd name="T65" fmla="*/ 83 h 328"/>
                <a:gd name="T66" fmla="*/ 340 w 529"/>
                <a:gd name="T67" fmla="*/ 168 h 328"/>
                <a:gd name="T68" fmla="*/ 277 w 529"/>
                <a:gd name="T69" fmla="*/ 189 h 328"/>
                <a:gd name="T70" fmla="*/ 279 w 529"/>
                <a:gd name="T71" fmla="*/ 193 h 328"/>
                <a:gd name="T72" fmla="*/ 249 w 529"/>
                <a:gd name="T73" fmla="*/ 166 h 328"/>
                <a:gd name="T74" fmla="*/ 277 w 529"/>
                <a:gd name="T75" fmla="*/ 194 h 328"/>
                <a:gd name="T76" fmla="*/ 274 w 529"/>
                <a:gd name="T77" fmla="*/ 196 h 328"/>
                <a:gd name="T78" fmla="*/ 308 w 529"/>
                <a:gd name="T79" fmla="*/ 215 h 328"/>
                <a:gd name="T80" fmla="*/ 308 w 529"/>
                <a:gd name="T81" fmla="*/ 231 h 328"/>
                <a:gd name="T82" fmla="*/ 309 w 529"/>
                <a:gd name="T83" fmla="*/ 225 h 328"/>
                <a:gd name="T84" fmla="*/ 309 w 529"/>
                <a:gd name="T85" fmla="*/ 219 h 328"/>
                <a:gd name="T86" fmla="*/ 318 w 529"/>
                <a:gd name="T87" fmla="*/ 248 h 328"/>
                <a:gd name="T88" fmla="*/ 383 w 529"/>
                <a:gd name="T89" fmla="*/ 255 h 328"/>
                <a:gd name="T90" fmla="*/ 403 w 529"/>
                <a:gd name="T91" fmla="*/ 207 h 328"/>
                <a:gd name="T92" fmla="*/ 408 w 529"/>
                <a:gd name="T93" fmla="*/ 199 h 328"/>
                <a:gd name="T94" fmla="*/ 404 w 529"/>
                <a:gd name="T95" fmla="*/ 206 h 328"/>
                <a:gd name="T96" fmla="*/ 303 w 529"/>
                <a:gd name="T97" fmla="*/ 152 h 328"/>
                <a:gd name="T98" fmla="*/ 265 w 529"/>
                <a:gd name="T99" fmla="*/ 126 h 328"/>
                <a:gd name="T100" fmla="*/ 210 w 529"/>
                <a:gd name="T101" fmla="*/ 180 h 328"/>
                <a:gd name="T102" fmla="*/ 187 w 529"/>
                <a:gd name="T103" fmla="*/ 174 h 328"/>
                <a:gd name="T104" fmla="*/ 176 w 529"/>
                <a:gd name="T105" fmla="*/ 154 h 328"/>
                <a:gd name="T106" fmla="*/ 182 w 529"/>
                <a:gd name="T107" fmla="*/ 208 h 328"/>
                <a:gd name="T108" fmla="*/ 171 w 529"/>
                <a:gd name="T109" fmla="*/ 126 h 328"/>
                <a:gd name="T110" fmla="*/ 219 w 529"/>
                <a:gd name="T111" fmla="*/ 189 h 328"/>
                <a:gd name="T112" fmla="*/ 315 w 529"/>
                <a:gd name="T113" fmla="*/ 246 h 328"/>
                <a:gd name="T114" fmla="*/ 332 w 529"/>
                <a:gd name="T115" fmla="*/ 267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29" h="328">
                  <a:moveTo>
                    <a:pt x="525" y="158"/>
                  </a:moveTo>
                  <a:cubicBezTo>
                    <a:pt x="525" y="157"/>
                    <a:pt x="529" y="155"/>
                    <a:pt x="529" y="153"/>
                  </a:cubicBezTo>
                  <a:cubicBezTo>
                    <a:pt x="528" y="152"/>
                    <a:pt x="525" y="151"/>
                    <a:pt x="522" y="150"/>
                  </a:cubicBezTo>
                  <a:cubicBezTo>
                    <a:pt x="519" y="148"/>
                    <a:pt x="516" y="149"/>
                    <a:pt x="513" y="147"/>
                  </a:cubicBezTo>
                  <a:cubicBezTo>
                    <a:pt x="511" y="146"/>
                    <a:pt x="505" y="147"/>
                    <a:pt x="505" y="146"/>
                  </a:cubicBezTo>
                  <a:cubicBezTo>
                    <a:pt x="505" y="145"/>
                    <a:pt x="501" y="142"/>
                    <a:pt x="500" y="140"/>
                  </a:cubicBezTo>
                  <a:cubicBezTo>
                    <a:pt x="499" y="139"/>
                    <a:pt x="496" y="140"/>
                    <a:pt x="494" y="141"/>
                  </a:cubicBezTo>
                  <a:cubicBezTo>
                    <a:pt x="492" y="142"/>
                    <a:pt x="490" y="142"/>
                    <a:pt x="489" y="141"/>
                  </a:cubicBezTo>
                  <a:cubicBezTo>
                    <a:pt x="487" y="140"/>
                    <a:pt x="485" y="138"/>
                    <a:pt x="483" y="139"/>
                  </a:cubicBezTo>
                  <a:cubicBezTo>
                    <a:pt x="482" y="140"/>
                    <a:pt x="479" y="139"/>
                    <a:pt x="479" y="137"/>
                  </a:cubicBezTo>
                  <a:cubicBezTo>
                    <a:pt x="480" y="134"/>
                    <a:pt x="476" y="129"/>
                    <a:pt x="475" y="128"/>
                  </a:cubicBezTo>
                  <a:cubicBezTo>
                    <a:pt x="473" y="128"/>
                    <a:pt x="468" y="129"/>
                    <a:pt x="467" y="126"/>
                  </a:cubicBezTo>
                  <a:cubicBezTo>
                    <a:pt x="466" y="124"/>
                    <a:pt x="463" y="122"/>
                    <a:pt x="464" y="121"/>
                  </a:cubicBezTo>
                  <a:cubicBezTo>
                    <a:pt x="465" y="119"/>
                    <a:pt x="464" y="114"/>
                    <a:pt x="463" y="113"/>
                  </a:cubicBezTo>
                  <a:cubicBezTo>
                    <a:pt x="462" y="111"/>
                    <a:pt x="456" y="111"/>
                    <a:pt x="454" y="112"/>
                  </a:cubicBezTo>
                  <a:cubicBezTo>
                    <a:pt x="453" y="112"/>
                    <a:pt x="449" y="111"/>
                    <a:pt x="447" y="112"/>
                  </a:cubicBezTo>
                  <a:cubicBezTo>
                    <a:pt x="445" y="113"/>
                    <a:pt x="444" y="114"/>
                    <a:pt x="442" y="114"/>
                  </a:cubicBezTo>
                  <a:cubicBezTo>
                    <a:pt x="441" y="114"/>
                    <a:pt x="440" y="114"/>
                    <a:pt x="439" y="113"/>
                  </a:cubicBezTo>
                  <a:cubicBezTo>
                    <a:pt x="439" y="112"/>
                    <a:pt x="438" y="111"/>
                    <a:pt x="438" y="109"/>
                  </a:cubicBezTo>
                  <a:cubicBezTo>
                    <a:pt x="436" y="104"/>
                    <a:pt x="435" y="100"/>
                    <a:pt x="436" y="99"/>
                  </a:cubicBezTo>
                  <a:cubicBezTo>
                    <a:pt x="437" y="97"/>
                    <a:pt x="441" y="101"/>
                    <a:pt x="444" y="100"/>
                  </a:cubicBezTo>
                  <a:cubicBezTo>
                    <a:pt x="446" y="99"/>
                    <a:pt x="449" y="97"/>
                    <a:pt x="449" y="95"/>
                  </a:cubicBezTo>
                  <a:cubicBezTo>
                    <a:pt x="449" y="93"/>
                    <a:pt x="445" y="90"/>
                    <a:pt x="443" y="90"/>
                  </a:cubicBezTo>
                  <a:cubicBezTo>
                    <a:pt x="441" y="89"/>
                    <a:pt x="440" y="85"/>
                    <a:pt x="437" y="84"/>
                  </a:cubicBezTo>
                  <a:cubicBezTo>
                    <a:pt x="434" y="82"/>
                    <a:pt x="435" y="79"/>
                    <a:pt x="432" y="77"/>
                  </a:cubicBezTo>
                  <a:cubicBezTo>
                    <a:pt x="429" y="75"/>
                    <a:pt x="431" y="72"/>
                    <a:pt x="431" y="69"/>
                  </a:cubicBezTo>
                  <a:cubicBezTo>
                    <a:pt x="431" y="67"/>
                    <a:pt x="431" y="63"/>
                    <a:pt x="430" y="62"/>
                  </a:cubicBezTo>
                  <a:cubicBezTo>
                    <a:pt x="428" y="61"/>
                    <a:pt x="422" y="58"/>
                    <a:pt x="420" y="59"/>
                  </a:cubicBezTo>
                  <a:cubicBezTo>
                    <a:pt x="417" y="60"/>
                    <a:pt x="415" y="61"/>
                    <a:pt x="414" y="59"/>
                  </a:cubicBezTo>
                  <a:cubicBezTo>
                    <a:pt x="413" y="57"/>
                    <a:pt x="411" y="56"/>
                    <a:pt x="409" y="57"/>
                  </a:cubicBezTo>
                  <a:cubicBezTo>
                    <a:pt x="406" y="57"/>
                    <a:pt x="404" y="56"/>
                    <a:pt x="403" y="55"/>
                  </a:cubicBezTo>
                  <a:cubicBezTo>
                    <a:pt x="403" y="55"/>
                    <a:pt x="403" y="54"/>
                    <a:pt x="402" y="54"/>
                  </a:cubicBezTo>
                  <a:cubicBezTo>
                    <a:pt x="402" y="52"/>
                    <a:pt x="402" y="49"/>
                    <a:pt x="400" y="48"/>
                  </a:cubicBezTo>
                  <a:cubicBezTo>
                    <a:pt x="399" y="46"/>
                    <a:pt x="396" y="43"/>
                    <a:pt x="397" y="41"/>
                  </a:cubicBezTo>
                  <a:cubicBezTo>
                    <a:pt x="398" y="40"/>
                    <a:pt x="398" y="37"/>
                    <a:pt x="396" y="36"/>
                  </a:cubicBezTo>
                  <a:cubicBezTo>
                    <a:pt x="395" y="35"/>
                    <a:pt x="394" y="34"/>
                    <a:pt x="394" y="33"/>
                  </a:cubicBezTo>
                  <a:cubicBezTo>
                    <a:pt x="393" y="32"/>
                    <a:pt x="393" y="31"/>
                    <a:pt x="394" y="30"/>
                  </a:cubicBezTo>
                  <a:cubicBezTo>
                    <a:pt x="396" y="29"/>
                    <a:pt x="399" y="29"/>
                    <a:pt x="397" y="26"/>
                  </a:cubicBezTo>
                  <a:cubicBezTo>
                    <a:pt x="395" y="24"/>
                    <a:pt x="395" y="23"/>
                    <a:pt x="395" y="21"/>
                  </a:cubicBezTo>
                  <a:cubicBezTo>
                    <a:pt x="395" y="18"/>
                    <a:pt x="394" y="16"/>
                    <a:pt x="394" y="14"/>
                  </a:cubicBezTo>
                  <a:cubicBezTo>
                    <a:pt x="394" y="13"/>
                    <a:pt x="396" y="12"/>
                    <a:pt x="398" y="9"/>
                  </a:cubicBezTo>
                  <a:cubicBezTo>
                    <a:pt x="399" y="6"/>
                    <a:pt x="402" y="6"/>
                    <a:pt x="400" y="2"/>
                  </a:cubicBezTo>
                  <a:cubicBezTo>
                    <a:pt x="399" y="2"/>
                    <a:pt x="399" y="3"/>
                    <a:pt x="397" y="3"/>
                  </a:cubicBezTo>
                  <a:cubicBezTo>
                    <a:pt x="393" y="4"/>
                    <a:pt x="383" y="0"/>
                    <a:pt x="377" y="1"/>
                  </a:cubicBezTo>
                  <a:cubicBezTo>
                    <a:pt x="372" y="2"/>
                    <a:pt x="360" y="2"/>
                    <a:pt x="357" y="5"/>
                  </a:cubicBezTo>
                  <a:cubicBezTo>
                    <a:pt x="355" y="8"/>
                    <a:pt x="348" y="9"/>
                    <a:pt x="351" y="11"/>
                  </a:cubicBezTo>
                  <a:cubicBezTo>
                    <a:pt x="354" y="14"/>
                    <a:pt x="351" y="15"/>
                    <a:pt x="353" y="18"/>
                  </a:cubicBezTo>
                  <a:cubicBezTo>
                    <a:pt x="355" y="21"/>
                    <a:pt x="356" y="22"/>
                    <a:pt x="359" y="22"/>
                  </a:cubicBezTo>
                  <a:cubicBezTo>
                    <a:pt x="362" y="21"/>
                    <a:pt x="365" y="23"/>
                    <a:pt x="362" y="26"/>
                  </a:cubicBezTo>
                  <a:cubicBezTo>
                    <a:pt x="362" y="26"/>
                    <a:pt x="361" y="26"/>
                    <a:pt x="361" y="26"/>
                  </a:cubicBezTo>
                  <a:cubicBezTo>
                    <a:pt x="359" y="29"/>
                    <a:pt x="361" y="32"/>
                    <a:pt x="360" y="37"/>
                  </a:cubicBezTo>
                  <a:cubicBezTo>
                    <a:pt x="360" y="42"/>
                    <a:pt x="355" y="41"/>
                    <a:pt x="352" y="41"/>
                  </a:cubicBezTo>
                  <a:cubicBezTo>
                    <a:pt x="349" y="41"/>
                    <a:pt x="344" y="32"/>
                    <a:pt x="342" y="30"/>
                  </a:cubicBezTo>
                  <a:cubicBezTo>
                    <a:pt x="341" y="28"/>
                    <a:pt x="336" y="32"/>
                    <a:pt x="332" y="34"/>
                  </a:cubicBezTo>
                  <a:cubicBezTo>
                    <a:pt x="328" y="37"/>
                    <a:pt x="330" y="41"/>
                    <a:pt x="328" y="43"/>
                  </a:cubicBezTo>
                  <a:cubicBezTo>
                    <a:pt x="325" y="45"/>
                    <a:pt x="324" y="48"/>
                    <a:pt x="326" y="53"/>
                  </a:cubicBezTo>
                  <a:cubicBezTo>
                    <a:pt x="326" y="53"/>
                    <a:pt x="326" y="53"/>
                    <a:pt x="326" y="54"/>
                  </a:cubicBezTo>
                  <a:cubicBezTo>
                    <a:pt x="329" y="58"/>
                    <a:pt x="328" y="62"/>
                    <a:pt x="325" y="65"/>
                  </a:cubicBezTo>
                  <a:cubicBezTo>
                    <a:pt x="324" y="67"/>
                    <a:pt x="325" y="67"/>
                    <a:pt x="326" y="68"/>
                  </a:cubicBezTo>
                  <a:cubicBezTo>
                    <a:pt x="329" y="68"/>
                    <a:pt x="331" y="67"/>
                    <a:pt x="332" y="69"/>
                  </a:cubicBezTo>
                  <a:cubicBezTo>
                    <a:pt x="334" y="70"/>
                    <a:pt x="337" y="72"/>
                    <a:pt x="339" y="71"/>
                  </a:cubicBezTo>
                  <a:cubicBezTo>
                    <a:pt x="340" y="70"/>
                    <a:pt x="345" y="73"/>
                    <a:pt x="345" y="75"/>
                  </a:cubicBezTo>
                  <a:cubicBezTo>
                    <a:pt x="345" y="76"/>
                    <a:pt x="344" y="80"/>
                    <a:pt x="344" y="82"/>
                  </a:cubicBezTo>
                  <a:cubicBezTo>
                    <a:pt x="337" y="83"/>
                    <a:pt x="318" y="81"/>
                    <a:pt x="317" y="81"/>
                  </a:cubicBezTo>
                  <a:cubicBezTo>
                    <a:pt x="316" y="80"/>
                    <a:pt x="313" y="79"/>
                    <a:pt x="311" y="79"/>
                  </a:cubicBezTo>
                  <a:cubicBezTo>
                    <a:pt x="310" y="80"/>
                    <a:pt x="308" y="82"/>
                    <a:pt x="305" y="82"/>
                  </a:cubicBezTo>
                  <a:cubicBezTo>
                    <a:pt x="301" y="82"/>
                    <a:pt x="300" y="77"/>
                    <a:pt x="300" y="75"/>
                  </a:cubicBezTo>
                  <a:cubicBezTo>
                    <a:pt x="300" y="73"/>
                    <a:pt x="282" y="77"/>
                    <a:pt x="277" y="82"/>
                  </a:cubicBezTo>
                  <a:cubicBezTo>
                    <a:pt x="272" y="86"/>
                    <a:pt x="261" y="85"/>
                    <a:pt x="260" y="87"/>
                  </a:cubicBezTo>
                  <a:cubicBezTo>
                    <a:pt x="260" y="89"/>
                    <a:pt x="258" y="90"/>
                    <a:pt x="257" y="90"/>
                  </a:cubicBezTo>
                  <a:cubicBezTo>
                    <a:pt x="257" y="89"/>
                    <a:pt x="257" y="89"/>
                    <a:pt x="256" y="88"/>
                  </a:cubicBezTo>
                  <a:cubicBezTo>
                    <a:pt x="256" y="86"/>
                    <a:pt x="254" y="85"/>
                    <a:pt x="250" y="85"/>
                  </a:cubicBezTo>
                  <a:cubicBezTo>
                    <a:pt x="246" y="85"/>
                    <a:pt x="253" y="81"/>
                    <a:pt x="251" y="79"/>
                  </a:cubicBezTo>
                  <a:cubicBezTo>
                    <a:pt x="249" y="77"/>
                    <a:pt x="245" y="83"/>
                    <a:pt x="242" y="81"/>
                  </a:cubicBezTo>
                  <a:cubicBezTo>
                    <a:pt x="238" y="80"/>
                    <a:pt x="233" y="86"/>
                    <a:pt x="230" y="88"/>
                  </a:cubicBezTo>
                  <a:cubicBezTo>
                    <a:pt x="226" y="91"/>
                    <a:pt x="222" y="88"/>
                    <a:pt x="224" y="84"/>
                  </a:cubicBezTo>
                  <a:cubicBezTo>
                    <a:pt x="227" y="80"/>
                    <a:pt x="224" y="81"/>
                    <a:pt x="220" y="82"/>
                  </a:cubicBezTo>
                  <a:cubicBezTo>
                    <a:pt x="216" y="84"/>
                    <a:pt x="212" y="82"/>
                    <a:pt x="212" y="78"/>
                  </a:cubicBezTo>
                  <a:cubicBezTo>
                    <a:pt x="212" y="78"/>
                    <a:pt x="212" y="77"/>
                    <a:pt x="212" y="76"/>
                  </a:cubicBezTo>
                  <a:cubicBezTo>
                    <a:pt x="210" y="74"/>
                    <a:pt x="207" y="72"/>
                    <a:pt x="207" y="70"/>
                  </a:cubicBezTo>
                  <a:cubicBezTo>
                    <a:pt x="208" y="68"/>
                    <a:pt x="211" y="69"/>
                    <a:pt x="213" y="71"/>
                  </a:cubicBezTo>
                  <a:cubicBezTo>
                    <a:pt x="215" y="73"/>
                    <a:pt x="220" y="74"/>
                    <a:pt x="221" y="71"/>
                  </a:cubicBezTo>
                  <a:cubicBezTo>
                    <a:pt x="221" y="70"/>
                    <a:pt x="220" y="63"/>
                    <a:pt x="217" y="65"/>
                  </a:cubicBezTo>
                  <a:cubicBezTo>
                    <a:pt x="214" y="66"/>
                    <a:pt x="213" y="65"/>
                    <a:pt x="212" y="64"/>
                  </a:cubicBezTo>
                  <a:cubicBezTo>
                    <a:pt x="211" y="62"/>
                    <a:pt x="214" y="60"/>
                    <a:pt x="215" y="57"/>
                  </a:cubicBezTo>
                  <a:cubicBezTo>
                    <a:pt x="216" y="55"/>
                    <a:pt x="221" y="56"/>
                    <a:pt x="222" y="54"/>
                  </a:cubicBezTo>
                  <a:cubicBezTo>
                    <a:pt x="222" y="52"/>
                    <a:pt x="218" y="49"/>
                    <a:pt x="217" y="49"/>
                  </a:cubicBezTo>
                  <a:cubicBezTo>
                    <a:pt x="215" y="48"/>
                    <a:pt x="214" y="43"/>
                    <a:pt x="216" y="41"/>
                  </a:cubicBezTo>
                  <a:cubicBezTo>
                    <a:pt x="218" y="40"/>
                    <a:pt x="219" y="34"/>
                    <a:pt x="217" y="32"/>
                  </a:cubicBezTo>
                  <a:cubicBezTo>
                    <a:pt x="216" y="30"/>
                    <a:pt x="210" y="32"/>
                    <a:pt x="210" y="36"/>
                  </a:cubicBezTo>
                  <a:cubicBezTo>
                    <a:pt x="209" y="41"/>
                    <a:pt x="205" y="39"/>
                    <a:pt x="203" y="40"/>
                  </a:cubicBezTo>
                  <a:cubicBezTo>
                    <a:pt x="202" y="41"/>
                    <a:pt x="206" y="42"/>
                    <a:pt x="204" y="44"/>
                  </a:cubicBezTo>
                  <a:cubicBezTo>
                    <a:pt x="202" y="46"/>
                    <a:pt x="201" y="41"/>
                    <a:pt x="198" y="41"/>
                  </a:cubicBezTo>
                  <a:cubicBezTo>
                    <a:pt x="194" y="41"/>
                    <a:pt x="194" y="46"/>
                    <a:pt x="192" y="49"/>
                  </a:cubicBezTo>
                  <a:cubicBezTo>
                    <a:pt x="191" y="52"/>
                    <a:pt x="192" y="57"/>
                    <a:pt x="192" y="61"/>
                  </a:cubicBezTo>
                  <a:cubicBezTo>
                    <a:pt x="193" y="65"/>
                    <a:pt x="198" y="67"/>
                    <a:pt x="196" y="70"/>
                  </a:cubicBezTo>
                  <a:cubicBezTo>
                    <a:pt x="196" y="72"/>
                    <a:pt x="197" y="73"/>
                    <a:pt x="198" y="75"/>
                  </a:cubicBezTo>
                  <a:cubicBezTo>
                    <a:pt x="199" y="77"/>
                    <a:pt x="201" y="79"/>
                    <a:pt x="200" y="80"/>
                  </a:cubicBezTo>
                  <a:cubicBezTo>
                    <a:pt x="198" y="83"/>
                    <a:pt x="201" y="85"/>
                    <a:pt x="203" y="89"/>
                  </a:cubicBezTo>
                  <a:cubicBezTo>
                    <a:pt x="205" y="93"/>
                    <a:pt x="198" y="91"/>
                    <a:pt x="198" y="94"/>
                  </a:cubicBezTo>
                  <a:cubicBezTo>
                    <a:pt x="198" y="96"/>
                    <a:pt x="192" y="93"/>
                    <a:pt x="190" y="92"/>
                  </a:cubicBezTo>
                  <a:cubicBezTo>
                    <a:pt x="188" y="92"/>
                    <a:pt x="182" y="92"/>
                    <a:pt x="182" y="94"/>
                  </a:cubicBezTo>
                  <a:cubicBezTo>
                    <a:pt x="182" y="94"/>
                    <a:pt x="182" y="95"/>
                    <a:pt x="182" y="96"/>
                  </a:cubicBezTo>
                  <a:cubicBezTo>
                    <a:pt x="181" y="97"/>
                    <a:pt x="181" y="98"/>
                    <a:pt x="179" y="97"/>
                  </a:cubicBezTo>
                  <a:cubicBezTo>
                    <a:pt x="177" y="96"/>
                    <a:pt x="173" y="96"/>
                    <a:pt x="168" y="97"/>
                  </a:cubicBezTo>
                  <a:cubicBezTo>
                    <a:pt x="164" y="98"/>
                    <a:pt x="162" y="103"/>
                    <a:pt x="164" y="105"/>
                  </a:cubicBezTo>
                  <a:cubicBezTo>
                    <a:pt x="166" y="107"/>
                    <a:pt x="159" y="108"/>
                    <a:pt x="159" y="105"/>
                  </a:cubicBezTo>
                  <a:cubicBezTo>
                    <a:pt x="159" y="103"/>
                    <a:pt x="154" y="104"/>
                    <a:pt x="154" y="108"/>
                  </a:cubicBezTo>
                  <a:cubicBezTo>
                    <a:pt x="154" y="111"/>
                    <a:pt x="149" y="112"/>
                    <a:pt x="149" y="116"/>
                  </a:cubicBezTo>
                  <a:cubicBezTo>
                    <a:pt x="150" y="120"/>
                    <a:pt x="144" y="124"/>
                    <a:pt x="141" y="126"/>
                  </a:cubicBezTo>
                  <a:cubicBezTo>
                    <a:pt x="140" y="127"/>
                    <a:pt x="140" y="127"/>
                    <a:pt x="139" y="127"/>
                  </a:cubicBezTo>
                  <a:cubicBezTo>
                    <a:pt x="137" y="129"/>
                    <a:pt x="134" y="130"/>
                    <a:pt x="132" y="130"/>
                  </a:cubicBezTo>
                  <a:cubicBezTo>
                    <a:pt x="131" y="130"/>
                    <a:pt x="130" y="131"/>
                    <a:pt x="129" y="131"/>
                  </a:cubicBezTo>
                  <a:cubicBezTo>
                    <a:pt x="126" y="130"/>
                    <a:pt x="122" y="133"/>
                    <a:pt x="123" y="140"/>
                  </a:cubicBezTo>
                  <a:cubicBezTo>
                    <a:pt x="124" y="146"/>
                    <a:pt x="118" y="147"/>
                    <a:pt x="112" y="147"/>
                  </a:cubicBezTo>
                  <a:cubicBezTo>
                    <a:pt x="105" y="148"/>
                    <a:pt x="108" y="153"/>
                    <a:pt x="105" y="155"/>
                  </a:cubicBezTo>
                  <a:cubicBezTo>
                    <a:pt x="102" y="157"/>
                    <a:pt x="93" y="154"/>
                    <a:pt x="92" y="150"/>
                  </a:cubicBezTo>
                  <a:cubicBezTo>
                    <a:pt x="90" y="147"/>
                    <a:pt x="82" y="150"/>
                    <a:pt x="85" y="154"/>
                  </a:cubicBezTo>
                  <a:cubicBezTo>
                    <a:pt x="89" y="158"/>
                    <a:pt x="89" y="164"/>
                    <a:pt x="87" y="166"/>
                  </a:cubicBezTo>
                  <a:cubicBezTo>
                    <a:pt x="85" y="167"/>
                    <a:pt x="80" y="163"/>
                    <a:pt x="78" y="165"/>
                  </a:cubicBezTo>
                  <a:cubicBezTo>
                    <a:pt x="75" y="167"/>
                    <a:pt x="75" y="163"/>
                    <a:pt x="71" y="162"/>
                  </a:cubicBezTo>
                  <a:cubicBezTo>
                    <a:pt x="68" y="161"/>
                    <a:pt x="66" y="164"/>
                    <a:pt x="61" y="163"/>
                  </a:cubicBezTo>
                  <a:cubicBezTo>
                    <a:pt x="55" y="163"/>
                    <a:pt x="52" y="166"/>
                    <a:pt x="54" y="168"/>
                  </a:cubicBezTo>
                  <a:cubicBezTo>
                    <a:pt x="56" y="170"/>
                    <a:pt x="54" y="173"/>
                    <a:pt x="55" y="175"/>
                  </a:cubicBezTo>
                  <a:cubicBezTo>
                    <a:pt x="57" y="177"/>
                    <a:pt x="64" y="176"/>
                    <a:pt x="69" y="179"/>
                  </a:cubicBezTo>
                  <a:cubicBezTo>
                    <a:pt x="75" y="182"/>
                    <a:pt x="76" y="180"/>
                    <a:pt x="79" y="182"/>
                  </a:cubicBezTo>
                  <a:cubicBezTo>
                    <a:pt x="81" y="184"/>
                    <a:pt x="82" y="183"/>
                    <a:pt x="82" y="187"/>
                  </a:cubicBezTo>
                  <a:cubicBezTo>
                    <a:pt x="82" y="191"/>
                    <a:pt x="85" y="194"/>
                    <a:pt x="91" y="196"/>
                  </a:cubicBezTo>
                  <a:cubicBezTo>
                    <a:pt x="96" y="197"/>
                    <a:pt x="92" y="201"/>
                    <a:pt x="93" y="204"/>
                  </a:cubicBezTo>
                  <a:cubicBezTo>
                    <a:pt x="95" y="208"/>
                    <a:pt x="91" y="213"/>
                    <a:pt x="92" y="217"/>
                  </a:cubicBezTo>
                  <a:cubicBezTo>
                    <a:pt x="93" y="221"/>
                    <a:pt x="89" y="235"/>
                    <a:pt x="87" y="236"/>
                  </a:cubicBezTo>
                  <a:cubicBezTo>
                    <a:pt x="87" y="236"/>
                    <a:pt x="86" y="236"/>
                    <a:pt x="86" y="236"/>
                  </a:cubicBezTo>
                  <a:cubicBezTo>
                    <a:pt x="83" y="237"/>
                    <a:pt x="74" y="234"/>
                    <a:pt x="68" y="234"/>
                  </a:cubicBezTo>
                  <a:cubicBezTo>
                    <a:pt x="61" y="235"/>
                    <a:pt x="41" y="233"/>
                    <a:pt x="33" y="234"/>
                  </a:cubicBezTo>
                  <a:cubicBezTo>
                    <a:pt x="24" y="235"/>
                    <a:pt x="24" y="231"/>
                    <a:pt x="20" y="231"/>
                  </a:cubicBezTo>
                  <a:cubicBezTo>
                    <a:pt x="15" y="231"/>
                    <a:pt x="17" y="236"/>
                    <a:pt x="11" y="236"/>
                  </a:cubicBezTo>
                  <a:cubicBezTo>
                    <a:pt x="4" y="236"/>
                    <a:pt x="4" y="240"/>
                    <a:pt x="8" y="244"/>
                  </a:cubicBezTo>
                  <a:cubicBezTo>
                    <a:pt x="11" y="246"/>
                    <a:pt x="11" y="250"/>
                    <a:pt x="10" y="254"/>
                  </a:cubicBezTo>
                  <a:cubicBezTo>
                    <a:pt x="10" y="257"/>
                    <a:pt x="10" y="260"/>
                    <a:pt x="11" y="262"/>
                  </a:cubicBezTo>
                  <a:cubicBezTo>
                    <a:pt x="13" y="265"/>
                    <a:pt x="8" y="282"/>
                    <a:pt x="4" y="287"/>
                  </a:cubicBezTo>
                  <a:cubicBezTo>
                    <a:pt x="0" y="292"/>
                    <a:pt x="4" y="293"/>
                    <a:pt x="8" y="296"/>
                  </a:cubicBezTo>
                  <a:cubicBezTo>
                    <a:pt x="12" y="300"/>
                    <a:pt x="9" y="312"/>
                    <a:pt x="9" y="315"/>
                  </a:cubicBezTo>
                  <a:cubicBezTo>
                    <a:pt x="9" y="317"/>
                    <a:pt x="13" y="317"/>
                    <a:pt x="18" y="317"/>
                  </a:cubicBezTo>
                  <a:cubicBezTo>
                    <a:pt x="20" y="317"/>
                    <a:pt x="23" y="316"/>
                    <a:pt x="26" y="315"/>
                  </a:cubicBezTo>
                  <a:cubicBezTo>
                    <a:pt x="28" y="315"/>
                    <a:pt x="30" y="315"/>
                    <a:pt x="32" y="315"/>
                  </a:cubicBezTo>
                  <a:cubicBezTo>
                    <a:pt x="36" y="317"/>
                    <a:pt x="39" y="328"/>
                    <a:pt x="45" y="328"/>
                  </a:cubicBezTo>
                  <a:cubicBezTo>
                    <a:pt x="47" y="327"/>
                    <a:pt x="46" y="326"/>
                    <a:pt x="47" y="324"/>
                  </a:cubicBezTo>
                  <a:cubicBezTo>
                    <a:pt x="49" y="323"/>
                    <a:pt x="51" y="324"/>
                    <a:pt x="54" y="324"/>
                  </a:cubicBezTo>
                  <a:cubicBezTo>
                    <a:pt x="56" y="324"/>
                    <a:pt x="57" y="320"/>
                    <a:pt x="63" y="320"/>
                  </a:cubicBezTo>
                  <a:cubicBezTo>
                    <a:pt x="69" y="320"/>
                    <a:pt x="73" y="320"/>
                    <a:pt x="77" y="320"/>
                  </a:cubicBezTo>
                  <a:cubicBezTo>
                    <a:pt x="81" y="320"/>
                    <a:pt x="84" y="319"/>
                    <a:pt x="85" y="316"/>
                  </a:cubicBezTo>
                  <a:cubicBezTo>
                    <a:pt x="86" y="313"/>
                    <a:pt x="89" y="311"/>
                    <a:pt x="93" y="310"/>
                  </a:cubicBezTo>
                  <a:cubicBezTo>
                    <a:pt x="97" y="310"/>
                    <a:pt x="97" y="305"/>
                    <a:pt x="97" y="303"/>
                  </a:cubicBezTo>
                  <a:cubicBezTo>
                    <a:pt x="97" y="300"/>
                    <a:pt x="104" y="296"/>
                    <a:pt x="105" y="294"/>
                  </a:cubicBezTo>
                  <a:cubicBezTo>
                    <a:pt x="105" y="293"/>
                    <a:pt x="101" y="285"/>
                    <a:pt x="105" y="279"/>
                  </a:cubicBezTo>
                  <a:cubicBezTo>
                    <a:pt x="109" y="272"/>
                    <a:pt x="114" y="272"/>
                    <a:pt x="114" y="268"/>
                  </a:cubicBezTo>
                  <a:cubicBezTo>
                    <a:pt x="114" y="265"/>
                    <a:pt x="118" y="264"/>
                    <a:pt x="124" y="263"/>
                  </a:cubicBezTo>
                  <a:cubicBezTo>
                    <a:pt x="129" y="263"/>
                    <a:pt x="131" y="259"/>
                    <a:pt x="135" y="257"/>
                  </a:cubicBezTo>
                  <a:cubicBezTo>
                    <a:pt x="139" y="255"/>
                    <a:pt x="141" y="253"/>
                    <a:pt x="140" y="248"/>
                  </a:cubicBezTo>
                  <a:cubicBezTo>
                    <a:pt x="140" y="247"/>
                    <a:pt x="139" y="246"/>
                    <a:pt x="139" y="245"/>
                  </a:cubicBezTo>
                  <a:cubicBezTo>
                    <a:pt x="137" y="239"/>
                    <a:pt x="143" y="236"/>
                    <a:pt x="148" y="235"/>
                  </a:cubicBezTo>
                  <a:cubicBezTo>
                    <a:pt x="153" y="234"/>
                    <a:pt x="165" y="237"/>
                    <a:pt x="168" y="239"/>
                  </a:cubicBezTo>
                  <a:cubicBezTo>
                    <a:pt x="171" y="241"/>
                    <a:pt x="175" y="240"/>
                    <a:pt x="180" y="235"/>
                  </a:cubicBezTo>
                  <a:cubicBezTo>
                    <a:pt x="182" y="232"/>
                    <a:pt x="185" y="231"/>
                    <a:pt x="187" y="231"/>
                  </a:cubicBezTo>
                  <a:cubicBezTo>
                    <a:pt x="188" y="230"/>
                    <a:pt x="190" y="230"/>
                    <a:pt x="192" y="229"/>
                  </a:cubicBezTo>
                  <a:cubicBezTo>
                    <a:pt x="195" y="227"/>
                    <a:pt x="194" y="224"/>
                    <a:pt x="199" y="223"/>
                  </a:cubicBezTo>
                  <a:cubicBezTo>
                    <a:pt x="205" y="221"/>
                    <a:pt x="212" y="226"/>
                    <a:pt x="214" y="229"/>
                  </a:cubicBezTo>
                  <a:cubicBezTo>
                    <a:pt x="216" y="232"/>
                    <a:pt x="217" y="233"/>
                    <a:pt x="217" y="235"/>
                  </a:cubicBezTo>
                  <a:cubicBezTo>
                    <a:pt x="218" y="238"/>
                    <a:pt x="220" y="243"/>
                    <a:pt x="228" y="248"/>
                  </a:cubicBezTo>
                  <a:cubicBezTo>
                    <a:pt x="235" y="253"/>
                    <a:pt x="238" y="259"/>
                    <a:pt x="242" y="261"/>
                  </a:cubicBezTo>
                  <a:cubicBezTo>
                    <a:pt x="246" y="263"/>
                    <a:pt x="250" y="262"/>
                    <a:pt x="252" y="265"/>
                  </a:cubicBezTo>
                  <a:cubicBezTo>
                    <a:pt x="255" y="268"/>
                    <a:pt x="258" y="270"/>
                    <a:pt x="262" y="271"/>
                  </a:cubicBezTo>
                  <a:cubicBezTo>
                    <a:pt x="265" y="273"/>
                    <a:pt x="266" y="277"/>
                    <a:pt x="269" y="278"/>
                  </a:cubicBezTo>
                  <a:cubicBezTo>
                    <a:pt x="273" y="278"/>
                    <a:pt x="270" y="281"/>
                    <a:pt x="273" y="284"/>
                  </a:cubicBezTo>
                  <a:cubicBezTo>
                    <a:pt x="275" y="287"/>
                    <a:pt x="276" y="292"/>
                    <a:pt x="273" y="296"/>
                  </a:cubicBezTo>
                  <a:cubicBezTo>
                    <a:pt x="271" y="299"/>
                    <a:pt x="272" y="304"/>
                    <a:pt x="274" y="304"/>
                  </a:cubicBezTo>
                  <a:cubicBezTo>
                    <a:pt x="275" y="304"/>
                    <a:pt x="279" y="298"/>
                    <a:pt x="279" y="295"/>
                  </a:cubicBezTo>
                  <a:cubicBezTo>
                    <a:pt x="279" y="292"/>
                    <a:pt x="283" y="292"/>
                    <a:pt x="285" y="289"/>
                  </a:cubicBezTo>
                  <a:cubicBezTo>
                    <a:pt x="288" y="286"/>
                    <a:pt x="281" y="285"/>
                    <a:pt x="280" y="281"/>
                  </a:cubicBezTo>
                  <a:cubicBezTo>
                    <a:pt x="279" y="276"/>
                    <a:pt x="285" y="272"/>
                    <a:pt x="291" y="276"/>
                  </a:cubicBezTo>
                  <a:cubicBezTo>
                    <a:pt x="296" y="279"/>
                    <a:pt x="298" y="282"/>
                    <a:pt x="299" y="276"/>
                  </a:cubicBezTo>
                  <a:cubicBezTo>
                    <a:pt x="299" y="271"/>
                    <a:pt x="282" y="264"/>
                    <a:pt x="277" y="261"/>
                  </a:cubicBezTo>
                  <a:cubicBezTo>
                    <a:pt x="273" y="259"/>
                    <a:pt x="276" y="255"/>
                    <a:pt x="270" y="255"/>
                  </a:cubicBezTo>
                  <a:cubicBezTo>
                    <a:pt x="263" y="255"/>
                    <a:pt x="255" y="247"/>
                    <a:pt x="253" y="238"/>
                  </a:cubicBezTo>
                  <a:cubicBezTo>
                    <a:pt x="251" y="229"/>
                    <a:pt x="240" y="228"/>
                    <a:pt x="238" y="223"/>
                  </a:cubicBezTo>
                  <a:cubicBezTo>
                    <a:pt x="235" y="217"/>
                    <a:pt x="240" y="217"/>
                    <a:pt x="238" y="212"/>
                  </a:cubicBezTo>
                  <a:cubicBezTo>
                    <a:pt x="236" y="207"/>
                    <a:pt x="246" y="204"/>
                    <a:pt x="250" y="205"/>
                  </a:cubicBezTo>
                  <a:cubicBezTo>
                    <a:pt x="251" y="206"/>
                    <a:pt x="251" y="207"/>
                    <a:pt x="251" y="208"/>
                  </a:cubicBezTo>
                  <a:cubicBezTo>
                    <a:pt x="252" y="210"/>
                    <a:pt x="252" y="213"/>
                    <a:pt x="253" y="213"/>
                  </a:cubicBezTo>
                  <a:cubicBezTo>
                    <a:pt x="256" y="213"/>
                    <a:pt x="261" y="212"/>
                    <a:pt x="262" y="216"/>
                  </a:cubicBezTo>
                  <a:cubicBezTo>
                    <a:pt x="262" y="220"/>
                    <a:pt x="269" y="228"/>
                    <a:pt x="271" y="231"/>
                  </a:cubicBezTo>
                  <a:cubicBezTo>
                    <a:pt x="274" y="234"/>
                    <a:pt x="279" y="233"/>
                    <a:pt x="280" y="236"/>
                  </a:cubicBezTo>
                  <a:cubicBezTo>
                    <a:pt x="280" y="238"/>
                    <a:pt x="284" y="240"/>
                    <a:pt x="289" y="241"/>
                  </a:cubicBezTo>
                  <a:cubicBezTo>
                    <a:pt x="290" y="241"/>
                    <a:pt x="292" y="242"/>
                    <a:pt x="293" y="243"/>
                  </a:cubicBezTo>
                  <a:cubicBezTo>
                    <a:pt x="295" y="244"/>
                    <a:pt x="297" y="245"/>
                    <a:pt x="299" y="247"/>
                  </a:cubicBezTo>
                  <a:cubicBezTo>
                    <a:pt x="302" y="249"/>
                    <a:pt x="304" y="251"/>
                    <a:pt x="306" y="252"/>
                  </a:cubicBezTo>
                  <a:cubicBezTo>
                    <a:pt x="307" y="252"/>
                    <a:pt x="307" y="252"/>
                    <a:pt x="307" y="253"/>
                  </a:cubicBezTo>
                  <a:cubicBezTo>
                    <a:pt x="311" y="255"/>
                    <a:pt x="313" y="256"/>
                    <a:pt x="310" y="259"/>
                  </a:cubicBezTo>
                  <a:cubicBezTo>
                    <a:pt x="307" y="262"/>
                    <a:pt x="306" y="272"/>
                    <a:pt x="309" y="275"/>
                  </a:cubicBezTo>
                  <a:cubicBezTo>
                    <a:pt x="313" y="278"/>
                    <a:pt x="314" y="283"/>
                    <a:pt x="317" y="284"/>
                  </a:cubicBezTo>
                  <a:cubicBezTo>
                    <a:pt x="317" y="284"/>
                    <a:pt x="317" y="284"/>
                    <a:pt x="317" y="284"/>
                  </a:cubicBezTo>
                  <a:cubicBezTo>
                    <a:pt x="321" y="285"/>
                    <a:pt x="323" y="290"/>
                    <a:pt x="323" y="293"/>
                  </a:cubicBezTo>
                  <a:cubicBezTo>
                    <a:pt x="322" y="297"/>
                    <a:pt x="328" y="299"/>
                    <a:pt x="330" y="296"/>
                  </a:cubicBezTo>
                  <a:cubicBezTo>
                    <a:pt x="333" y="293"/>
                    <a:pt x="340" y="298"/>
                    <a:pt x="340" y="299"/>
                  </a:cubicBezTo>
                  <a:cubicBezTo>
                    <a:pt x="340" y="301"/>
                    <a:pt x="333" y="297"/>
                    <a:pt x="329" y="300"/>
                  </a:cubicBezTo>
                  <a:cubicBezTo>
                    <a:pt x="324" y="303"/>
                    <a:pt x="332" y="306"/>
                    <a:pt x="331" y="309"/>
                  </a:cubicBezTo>
                  <a:cubicBezTo>
                    <a:pt x="330" y="313"/>
                    <a:pt x="333" y="317"/>
                    <a:pt x="336" y="317"/>
                  </a:cubicBezTo>
                  <a:cubicBezTo>
                    <a:pt x="340" y="317"/>
                    <a:pt x="344" y="323"/>
                    <a:pt x="346" y="322"/>
                  </a:cubicBezTo>
                  <a:cubicBezTo>
                    <a:pt x="348" y="320"/>
                    <a:pt x="344" y="312"/>
                    <a:pt x="344" y="311"/>
                  </a:cubicBezTo>
                  <a:cubicBezTo>
                    <a:pt x="345" y="310"/>
                    <a:pt x="350" y="313"/>
                    <a:pt x="352" y="311"/>
                  </a:cubicBezTo>
                  <a:cubicBezTo>
                    <a:pt x="354" y="308"/>
                    <a:pt x="350" y="306"/>
                    <a:pt x="347" y="306"/>
                  </a:cubicBezTo>
                  <a:cubicBezTo>
                    <a:pt x="344" y="306"/>
                    <a:pt x="347" y="302"/>
                    <a:pt x="351" y="304"/>
                  </a:cubicBezTo>
                  <a:cubicBezTo>
                    <a:pt x="355" y="307"/>
                    <a:pt x="357" y="304"/>
                    <a:pt x="358" y="303"/>
                  </a:cubicBezTo>
                  <a:cubicBezTo>
                    <a:pt x="360" y="303"/>
                    <a:pt x="361" y="296"/>
                    <a:pt x="355" y="295"/>
                  </a:cubicBezTo>
                  <a:cubicBezTo>
                    <a:pt x="349" y="293"/>
                    <a:pt x="350" y="299"/>
                    <a:pt x="346" y="295"/>
                  </a:cubicBezTo>
                  <a:cubicBezTo>
                    <a:pt x="342" y="291"/>
                    <a:pt x="350" y="293"/>
                    <a:pt x="350" y="289"/>
                  </a:cubicBezTo>
                  <a:cubicBezTo>
                    <a:pt x="350" y="286"/>
                    <a:pt x="344" y="281"/>
                    <a:pt x="341" y="277"/>
                  </a:cubicBezTo>
                  <a:cubicBezTo>
                    <a:pt x="338" y="273"/>
                    <a:pt x="345" y="271"/>
                    <a:pt x="346" y="274"/>
                  </a:cubicBezTo>
                  <a:cubicBezTo>
                    <a:pt x="348" y="277"/>
                    <a:pt x="352" y="277"/>
                    <a:pt x="355" y="275"/>
                  </a:cubicBezTo>
                  <a:cubicBezTo>
                    <a:pt x="358" y="274"/>
                    <a:pt x="352" y="269"/>
                    <a:pt x="357" y="267"/>
                  </a:cubicBezTo>
                  <a:cubicBezTo>
                    <a:pt x="362" y="266"/>
                    <a:pt x="362" y="269"/>
                    <a:pt x="363" y="269"/>
                  </a:cubicBezTo>
                  <a:cubicBezTo>
                    <a:pt x="365" y="270"/>
                    <a:pt x="366" y="266"/>
                    <a:pt x="372" y="266"/>
                  </a:cubicBezTo>
                  <a:cubicBezTo>
                    <a:pt x="374" y="266"/>
                    <a:pt x="376" y="267"/>
                    <a:pt x="379" y="269"/>
                  </a:cubicBezTo>
                  <a:cubicBezTo>
                    <a:pt x="381" y="270"/>
                    <a:pt x="383" y="272"/>
                    <a:pt x="385" y="272"/>
                  </a:cubicBezTo>
                  <a:cubicBezTo>
                    <a:pt x="386" y="272"/>
                    <a:pt x="387" y="272"/>
                    <a:pt x="388" y="271"/>
                  </a:cubicBezTo>
                  <a:cubicBezTo>
                    <a:pt x="407" y="265"/>
                    <a:pt x="407" y="265"/>
                    <a:pt x="407" y="265"/>
                  </a:cubicBezTo>
                  <a:cubicBezTo>
                    <a:pt x="408" y="265"/>
                    <a:pt x="409" y="265"/>
                    <a:pt x="409" y="264"/>
                  </a:cubicBezTo>
                  <a:cubicBezTo>
                    <a:pt x="411" y="263"/>
                    <a:pt x="404" y="260"/>
                    <a:pt x="401" y="258"/>
                  </a:cubicBezTo>
                  <a:cubicBezTo>
                    <a:pt x="400" y="257"/>
                    <a:pt x="399" y="254"/>
                    <a:pt x="399" y="252"/>
                  </a:cubicBezTo>
                  <a:cubicBezTo>
                    <a:pt x="398" y="251"/>
                    <a:pt x="398" y="250"/>
                    <a:pt x="397" y="250"/>
                  </a:cubicBezTo>
                  <a:cubicBezTo>
                    <a:pt x="395" y="250"/>
                    <a:pt x="393" y="242"/>
                    <a:pt x="395" y="242"/>
                  </a:cubicBezTo>
                  <a:cubicBezTo>
                    <a:pt x="397" y="241"/>
                    <a:pt x="400" y="234"/>
                    <a:pt x="403" y="233"/>
                  </a:cubicBezTo>
                  <a:cubicBezTo>
                    <a:pt x="405" y="232"/>
                    <a:pt x="405" y="231"/>
                    <a:pt x="406" y="230"/>
                  </a:cubicBezTo>
                  <a:cubicBezTo>
                    <a:pt x="406" y="229"/>
                    <a:pt x="406" y="227"/>
                    <a:pt x="406" y="225"/>
                  </a:cubicBezTo>
                  <a:cubicBezTo>
                    <a:pt x="406" y="221"/>
                    <a:pt x="408" y="216"/>
                    <a:pt x="411" y="216"/>
                  </a:cubicBezTo>
                  <a:cubicBezTo>
                    <a:pt x="414" y="216"/>
                    <a:pt x="417" y="216"/>
                    <a:pt x="417" y="210"/>
                  </a:cubicBezTo>
                  <a:cubicBezTo>
                    <a:pt x="417" y="210"/>
                    <a:pt x="417" y="210"/>
                    <a:pt x="416" y="210"/>
                  </a:cubicBezTo>
                  <a:cubicBezTo>
                    <a:pt x="416" y="205"/>
                    <a:pt x="417" y="205"/>
                    <a:pt x="422" y="202"/>
                  </a:cubicBezTo>
                  <a:cubicBezTo>
                    <a:pt x="426" y="198"/>
                    <a:pt x="427" y="192"/>
                    <a:pt x="431" y="191"/>
                  </a:cubicBezTo>
                  <a:cubicBezTo>
                    <a:pt x="435" y="190"/>
                    <a:pt x="437" y="188"/>
                    <a:pt x="443" y="189"/>
                  </a:cubicBezTo>
                  <a:cubicBezTo>
                    <a:pt x="449" y="190"/>
                    <a:pt x="440" y="194"/>
                    <a:pt x="444" y="196"/>
                  </a:cubicBezTo>
                  <a:cubicBezTo>
                    <a:pt x="448" y="198"/>
                    <a:pt x="460" y="196"/>
                    <a:pt x="461" y="199"/>
                  </a:cubicBezTo>
                  <a:cubicBezTo>
                    <a:pt x="462" y="202"/>
                    <a:pt x="447" y="205"/>
                    <a:pt x="447" y="207"/>
                  </a:cubicBezTo>
                  <a:cubicBezTo>
                    <a:pt x="447" y="208"/>
                    <a:pt x="455" y="210"/>
                    <a:pt x="458" y="212"/>
                  </a:cubicBezTo>
                  <a:cubicBezTo>
                    <a:pt x="460" y="213"/>
                    <a:pt x="457" y="218"/>
                    <a:pt x="458" y="220"/>
                  </a:cubicBezTo>
                  <a:cubicBezTo>
                    <a:pt x="459" y="221"/>
                    <a:pt x="463" y="220"/>
                    <a:pt x="467" y="218"/>
                  </a:cubicBezTo>
                  <a:cubicBezTo>
                    <a:pt x="470" y="215"/>
                    <a:pt x="473" y="216"/>
                    <a:pt x="477" y="213"/>
                  </a:cubicBezTo>
                  <a:cubicBezTo>
                    <a:pt x="481" y="210"/>
                    <a:pt x="490" y="213"/>
                    <a:pt x="491" y="211"/>
                  </a:cubicBezTo>
                  <a:cubicBezTo>
                    <a:pt x="492" y="209"/>
                    <a:pt x="489" y="208"/>
                    <a:pt x="480" y="208"/>
                  </a:cubicBezTo>
                  <a:cubicBezTo>
                    <a:pt x="472" y="209"/>
                    <a:pt x="472" y="201"/>
                    <a:pt x="472" y="200"/>
                  </a:cubicBezTo>
                  <a:cubicBezTo>
                    <a:pt x="472" y="198"/>
                    <a:pt x="480" y="192"/>
                    <a:pt x="485" y="191"/>
                  </a:cubicBezTo>
                  <a:cubicBezTo>
                    <a:pt x="490" y="191"/>
                    <a:pt x="494" y="189"/>
                    <a:pt x="499" y="187"/>
                  </a:cubicBezTo>
                  <a:cubicBezTo>
                    <a:pt x="501" y="186"/>
                    <a:pt x="504" y="185"/>
                    <a:pt x="507" y="185"/>
                  </a:cubicBezTo>
                  <a:cubicBezTo>
                    <a:pt x="507" y="182"/>
                    <a:pt x="506" y="180"/>
                    <a:pt x="508" y="180"/>
                  </a:cubicBezTo>
                  <a:cubicBezTo>
                    <a:pt x="509" y="179"/>
                    <a:pt x="514" y="174"/>
                    <a:pt x="516" y="174"/>
                  </a:cubicBezTo>
                  <a:cubicBezTo>
                    <a:pt x="518" y="174"/>
                    <a:pt x="525" y="175"/>
                    <a:pt x="525" y="174"/>
                  </a:cubicBezTo>
                  <a:cubicBezTo>
                    <a:pt x="525" y="173"/>
                    <a:pt x="527" y="169"/>
                    <a:pt x="527" y="168"/>
                  </a:cubicBezTo>
                  <a:cubicBezTo>
                    <a:pt x="526" y="167"/>
                    <a:pt x="524" y="165"/>
                    <a:pt x="524" y="164"/>
                  </a:cubicBezTo>
                  <a:cubicBezTo>
                    <a:pt x="525" y="162"/>
                    <a:pt x="528" y="162"/>
                    <a:pt x="528" y="161"/>
                  </a:cubicBezTo>
                  <a:cubicBezTo>
                    <a:pt x="528" y="160"/>
                    <a:pt x="525" y="159"/>
                    <a:pt x="525" y="158"/>
                  </a:cubicBezTo>
                  <a:moveTo>
                    <a:pt x="343" y="151"/>
                  </a:moveTo>
                  <a:cubicBezTo>
                    <a:pt x="343" y="153"/>
                    <a:pt x="344" y="157"/>
                    <a:pt x="343" y="158"/>
                  </a:cubicBezTo>
                  <a:cubicBezTo>
                    <a:pt x="343" y="157"/>
                    <a:pt x="343" y="157"/>
                    <a:pt x="343" y="157"/>
                  </a:cubicBezTo>
                  <a:cubicBezTo>
                    <a:pt x="344" y="156"/>
                    <a:pt x="343" y="153"/>
                    <a:pt x="343" y="151"/>
                  </a:cubicBezTo>
                  <a:moveTo>
                    <a:pt x="340" y="248"/>
                  </a:moveTo>
                  <a:cubicBezTo>
                    <a:pt x="340" y="248"/>
                    <a:pt x="340" y="248"/>
                    <a:pt x="340" y="248"/>
                  </a:cubicBezTo>
                  <a:cubicBezTo>
                    <a:pt x="340" y="248"/>
                    <a:pt x="340" y="248"/>
                    <a:pt x="340" y="248"/>
                  </a:cubicBezTo>
                  <a:close/>
                  <a:moveTo>
                    <a:pt x="343" y="171"/>
                  </a:moveTo>
                  <a:cubicBezTo>
                    <a:pt x="343" y="171"/>
                    <a:pt x="344" y="171"/>
                    <a:pt x="344" y="171"/>
                  </a:cubicBezTo>
                  <a:cubicBezTo>
                    <a:pt x="344" y="171"/>
                    <a:pt x="343" y="171"/>
                    <a:pt x="343" y="171"/>
                  </a:cubicBezTo>
                  <a:moveTo>
                    <a:pt x="341" y="245"/>
                  </a:moveTo>
                  <a:cubicBezTo>
                    <a:pt x="341" y="244"/>
                    <a:pt x="341" y="244"/>
                    <a:pt x="341" y="244"/>
                  </a:cubicBezTo>
                  <a:cubicBezTo>
                    <a:pt x="341" y="244"/>
                    <a:pt x="341" y="244"/>
                    <a:pt x="341" y="245"/>
                  </a:cubicBezTo>
                  <a:moveTo>
                    <a:pt x="342" y="224"/>
                  </a:moveTo>
                  <a:cubicBezTo>
                    <a:pt x="342" y="224"/>
                    <a:pt x="342" y="224"/>
                    <a:pt x="342" y="224"/>
                  </a:cubicBezTo>
                  <a:cubicBezTo>
                    <a:pt x="342" y="224"/>
                    <a:pt x="342" y="224"/>
                    <a:pt x="342" y="224"/>
                  </a:cubicBezTo>
                  <a:moveTo>
                    <a:pt x="341" y="225"/>
                  </a:moveTo>
                  <a:cubicBezTo>
                    <a:pt x="341" y="225"/>
                    <a:pt x="341" y="225"/>
                    <a:pt x="341" y="225"/>
                  </a:cubicBezTo>
                  <a:cubicBezTo>
                    <a:pt x="341" y="225"/>
                    <a:pt x="341" y="225"/>
                    <a:pt x="341" y="225"/>
                  </a:cubicBezTo>
                  <a:moveTo>
                    <a:pt x="342" y="224"/>
                  </a:moveTo>
                  <a:cubicBezTo>
                    <a:pt x="342" y="224"/>
                    <a:pt x="342" y="224"/>
                    <a:pt x="342" y="224"/>
                  </a:cubicBezTo>
                  <a:cubicBezTo>
                    <a:pt x="342" y="224"/>
                    <a:pt x="342" y="224"/>
                    <a:pt x="342" y="224"/>
                  </a:cubicBezTo>
                  <a:cubicBezTo>
                    <a:pt x="342" y="224"/>
                    <a:pt x="342" y="224"/>
                    <a:pt x="342" y="224"/>
                  </a:cubicBezTo>
                  <a:moveTo>
                    <a:pt x="341" y="221"/>
                  </a:moveTo>
                  <a:cubicBezTo>
                    <a:pt x="341" y="221"/>
                    <a:pt x="341" y="221"/>
                    <a:pt x="341" y="221"/>
                  </a:cubicBezTo>
                  <a:cubicBezTo>
                    <a:pt x="341" y="221"/>
                    <a:pt x="341" y="221"/>
                    <a:pt x="341" y="221"/>
                  </a:cubicBezTo>
                  <a:moveTo>
                    <a:pt x="345" y="172"/>
                  </a:moveTo>
                  <a:cubicBezTo>
                    <a:pt x="345" y="172"/>
                    <a:pt x="345" y="172"/>
                    <a:pt x="345" y="172"/>
                  </a:cubicBezTo>
                  <a:close/>
                  <a:moveTo>
                    <a:pt x="344" y="174"/>
                  </a:moveTo>
                  <a:cubicBezTo>
                    <a:pt x="345" y="173"/>
                    <a:pt x="345" y="173"/>
                    <a:pt x="345" y="173"/>
                  </a:cubicBezTo>
                  <a:cubicBezTo>
                    <a:pt x="345" y="173"/>
                    <a:pt x="345" y="173"/>
                    <a:pt x="344" y="174"/>
                  </a:cubicBezTo>
                  <a:moveTo>
                    <a:pt x="345" y="173"/>
                  </a:moveTo>
                  <a:cubicBezTo>
                    <a:pt x="345" y="173"/>
                    <a:pt x="345" y="173"/>
                    <a:pt x="345" y="173"/>
                  </a:cubicBezTo>
                  <a:cubicBezTo>
                    <a:pt x="345" y="173"/>
                    <a:pt x="345" y="173"/>
                    <a:pt x="345" y="173"/>
                  </a:cubicBezTo>
                  <a:moveTo>
                    <a:pt x="326" y="196"/>
                  </a:moveTo>
                  <a:cubicBezTo>
                    <a:pt x="326" y="196"/>
                    <a:pt x="326" y="196"/>
                    <a:pt x="326" y="196"/>
                  </a:cubicBezTo>
                  <a:cubicBezTo>
                    <a:pt x="326" y="196"/>
                    <a:pt x="326" y="196"/>
                    <a:pt x="326" y="196"/>
                  </a:cubicBezTo>
                  <a:moveTo>
                    <a:pt x="324" y="197"/>
                  </a:moveTo>
                  <a:cubicBezTo>
                    <a:pt x="325" y="197"/>
                    <a:pt x="325" y="197"/>
                    <a:pt x="325" y="197"/>
                  </a:cubicBezTo>
                  <a:cubicBezTo>
                    <a:pt x="325" y="197"/>
                    <a:pt x="325" y="197"/>
                    <a:pt x="324" y="197"/>
                  </a:cubicBezTo>
                  <a:moveTo>
                    <a:pt x="341" y="245"/>
                  </a:moveTo>
                  <a:cubicBezTo>
                    <a:pt x="341" y="245"/>
                    <a:pt x="341" y="245"/>
                    <a:pt x="340" y="245"/>
                  </a:cubicBezTo>
                  <a:cubicBezTo>
                    <a:pt x="341" y="245"/>
                    <a:pt x="341" y="245"/>
                    <a:pt x="341" y="245"/>
                  </a:cubicBezTo>
                  <a:moveTo>
                    <a:pt x="341" y="249"/>
                  </a:moveTo>
                  <a:cubicBezTo>
                    <a:pt x="340" y="249"/>
                    <a:pt x="340" y="249"/>
                    <a:pt x="340" y="249"/>
                  </a:cubicBezTo>
                  <a:cubicBezTo>
                    <a:pt x="340" y="249"/>
                    <a:pt x="340" y="249"/>
                    <a:pt x="341" y="249"/>
                  </a:cubicBezTo>
                  <a:moveTo>
                    <a:pt x="345" y="172"/>
                  </a:moveTo>
                  <a:cubicBezTo>
                    <a:pt x="345" y="172"/>
                    <a:pt x="345" y="172"/>
                    <a:pt x="345" y="172"/>
                  </a:cubicBezTo>
                  <a:cubicBezTo>
                    <a:pt x="345" y="172"/>
                    <a:pt x="345" y="172"/>
                    <a:pt x="345" y="172"/>
                  </a:cubicBezTo>
                  <a:cubicBezTo>
                    <a:pt x="345" y="172"/>
                    <a:pt x="345" y="172"/>
                    <a:pt x="345" y="172"/>
                  </a:cubicBezTo>
                  <a:moveTo>
                    <a:pt x="344" y="171"/>
                  </a:moveTo>
                  <a:cubicBezTo>
                    <a:pt x="344" y="171"/>
                    <a:pt x="344" y="171"/>
                    <a:pt x="344" y="171"/>
                  </a:cubicBezTo>
                  <a:cubicBezTo>
                    <a:pt x="344" y="171"/>
                    <a:pt x="344" y="171"/>
                    <a:pt x="344" y="171"/>
                  </a:cubicBezTo>
                  <a:moveTo>
                    <a:pt x="345" y="171"/>
                  </a:moveTo>
                  <a:cubicBezTo>
                    <a:pt x="345" y="171"/>
                    <a:pt x="345" y="171"/>
                    <a:pt x="345" y="171"/>
                  </a:cubicBezTo>
                  <a:cubicBezTo>
                    <a:pt x="345" y="171"/>
                    <a:pt x="345" y="171"/>
                    <a:pt x="345" y="171"/>
                  </a:cubicBezTo>
                  <a:moveTo>
                    <a:pt x="353" y="123"/>
                  </a:moveTo>
                  <a:cubicBezTo>
                    <a:pt x="352" y="122"/>
                    <a:pt x="352" y="122"/>
                    <a:pt x="352" y="121"/>
                  </a:cubicBezTo>
                  <a:cubicBezTo>
                    <a:pt x="352" y="121"/>
                    <a:pt x="352" y="122"/>
                    <a:pt x="352" y="122"/>
                  </a:cubicBezTo>
                  <a:cubicBezTo>
                    <a:pt x="352" y="123"/>
                    <a:pt x="352" y="123"/>
                    <a:pt x="353" y="123"/>
                  </a:cubicBezTo>
                  <a:moveTo>
                    <a:pt x="353" y="125"/>
                  </a:moveTo>
                  <a:cubicBezTo>
                    <a:pt x="353" y="125"/>
                    <a:pt x="353" y="125"/>
                    <a:pt x="353" y="125"/>
                  </a:cubicBezTo>
                  <a:cubicBezTo>
                    <a:pt x="353" y="125"/>
                    <a:pt x="353" y="125"/>
                    <a:pt x="353" y="125"/>
                  </a:cubicBezTo>
                  <a:moveTo>
                    <a:pt x="353" y="124"/>
                  </a:moveTo>
                  <a:cubicBezTo>
                    <a:pt x="353" y="124"/>
                    <a:pt x="353" y="124"/>
                    <a:pt x="353" y="123"/>
                  </a:cubicBezTo>
                  <a:cubicBezTo>
                    <a:pt x="353" y="124"/>
                    <a:pt x="353" y="124"/>
                    <a:pt x="353" y="124"/>
                  </a:cubicBezTo>
                  <a:moveTo>
                    <a:pt x="352" y="117"/>
                  </a:moveTo>
                  <a:cubicBezTo>
                    <a:pt x="352" y="117"/>
                    <a:pt x="352" y="117"/>
                    <a:pt x="353" y="116"/>
                  </a:cubicBezTo>
                  <a:cubicBezTo>
                    <a:pt x="352" y="117"/>
                    <a:pt x="352" y="117"/>
                    <a:pt x="352" y="117"/>
                  </a:cubicBezTo>
                  <a:moveTo>
                    <a:pt x="352" y="118"/>
                  </a:moveTo>
                  <a:cubicBezTo>
                    <a:pt x="352" y="118"/>
                    <a:pt x="352" y="118"/>
                    <a:pt x="352" y="119"/>
                  </a:cubicBezTo>
                  <a:cubicBezTo>
                    <a:pt x="352" y="118"/>
                    <a:pt x="352" y="118"/>
                    <a:pt x="352" y="118"/>
                  </a:cubicBezTo>
                  <a:moveTo>
                    <a:pt x="352" y="119"/>
                  </a:moveTo>
                  <a:cubicBezTo>
                    <a:pt x="352" y="120"/>
                    <a:pt x="352" y="120"/>
                    <a:pt x="352" y="121"/>
                  </a:cubicBezTo>
                  <a:cubicBezTo>
                    <a:pt x="352" y="120"/>
                    <a:pt x="352" y="120"/>
                    <a:pt x="352" y="119"/>
                  </a:cubicBezTo>
                  <a:moveTo>
                    <a:pt x="353" y="88"/>
                  </a:moveTo>
                  <a:cubicBezTo>
                    <a:pt x="353" y="88"/>
                    <a:pt x="353" y="88"/>
                    <a:pt x="353" y="88"/>
                  </a:cubicBezTo>
                  <a:cubicBezTo>
                    <a:pt x="353" y="88"/>
                    <a:pt x="353" y="88"/>
                    <a:pt x="353" y="88"/>
                  </a:cubicBezTo>
                  <a:moveTo>
                    <a:pt x="383" y="170"/>
                  </a:moveTo>
                  <a:cubicBezTo>
                    <a:pt x="383" y="170"/>
                    <a:pt x="382" y="170"/>
                    <a:pt x="382" y="170"/>
                  </a:cubicBezTo>
                  <a:cubicBezTo>
                    <a:pt x="382" y="170"/>
                    <a:pt x="383" y="170"/>
                    <a:pt x="383" y="170"/>
                  </a:cubicBezTo>
                  <a:moveTo>
                    <a:pt x="393" y="166"/>
                  </a:moveTo>
                  <a:cubicBezTo>
                    <a:pt x="391" y="167"/>
                    <a:pt x="389" y="167"/>
                    <a:pt x="387" y="168"/>
                  </a:cubicBezTo>
                  <a:cubicBezTo>
                    <a:pt x="385" y="168"/>
                    <a:pt x="384" y="169"/>
                    <a:pt x="383" y="170"/>
                  </a:cubicBezTo>
                  <a:cubicBezTo>
                    <a:pt x="385" y="168"/>
                    <a:pt x="389" y="167"/>
                    <a:pt x="393" y="166"/>
                  </a:cubicBezTo>
                  <a:moveTo>
                    <a:pt x="395" y="166"/>
                  </a:moveTo>
                  <a:cubicBezTo>
                    <a:pt x="395" y="166"/>
                    <a:pt x="395" y="166"/>
                    <a:pt x="395" y="166"/>
                  </a:cubicBezTo>
                  <a:cubicBezTo>
                    <a:pt x="395" y="166"/>
                    <a:pt x="395" y="166"/>
                    <a:pt x="395" y="166"/>
                  </a:cubicBezTo>
                  <a:moveTo>
                    <a:pt x="394" y="166"/>
                  </a:moveTo>
                  <a:cubicBezTo>
                    <a:pt x="394" y="166"/>
                    <a:pt x="394" y="166"/>
                    <a:pt x="394" y="166"/>
                  </a:cubicBezTo>
                  <a:cubicBezTo>
                    <a:pt x="394" y="166"/>
                    <a:pt x="394" y="166"/>
                    <a:pt x="394" y="166"/>
                  </a:cubicBezTo>
                  <a:moveTo>
                    <a:pt x="393" y="166"/>
                  </a:moveTo>
                  <a:cubicBezTo>
                    <a:pt x="393" y="166"/>
                    <a:pt x="393" y="166"/>
                    <a:pt x="393" y="166"/>
                  </a:cubicBezTo>
                  <a:cubicBezTo>
                    <a:pt x="393" y="166"/>
                    <a:pt x="393" y="166"/>
                    <a:pt x="393" y="166"/>
                  </a:cubicBezTo>
                  <a:moveTo>
                    <a:pt x="387" y="61"/>
                  </a:moveTo>
                  <a:cubicBezTo>
                    <a:pt x="387" y="61"/>
                    <a:pt x="388" y="60"/>
                    <a:pt x="388" y="60"/>
                  </a:cubicBezTo>
                  <a:cubicBezTo>
                    <a:pt x="388" y="60"/>
                    <a:pt x="387" y="61"/>
                    <a:pt x="387" y="61"/>
                  </a:cubicBezTo>
                  <a:moveTo>
                    <a:pt x="346" y="82"/>
                  </a:moveTo>
                  <a:cubicBezTo>
                    <a:pt x="346" y="82"/>
                    <a:pt x="346" y="82"/>
                    <a:pt x="346" y="82"/>
                  </a:cubicBezTo>
                  <a:cubicBezTo>
                    <a:pt x="346" y="82"/>
                    <a:pt x="346" y="82"/>
                    <a:pt x="346" y="82"/>
                  </a:cubicBezTo>
                  <a:moveTo>
                    <a:pt x="346" y="83"/>
                  </a:moveTo>
                  <a:cubicBezTo>
                    <a:pt x="346" y="83"/>
                    <a:pt x="346" y="83"/>
                    <a:pt x="347" y="83"/>
                  </a:cubicBezTo>
                  <a:cubicBezTo>
                    <a:pt x="346" y="83"/>
                    <a:pt x="346" y="83"/>
                    <a:pt x="346" y="83"/>
                  </a:cubicBezTo>
                  <a:moveTo>
                    <a:pt x="347" y="83"/>
                  </a:moveTo>
                  <a:cubicBezTo>
                    <a:pt x="347" y="83"/>
                    <a:pt x="347" y="83"/>
                    <a:pt x="347" y="83"/>
                  </a:cubicBezTo>
                  <a:close/>
                  <a:moveTo>
                    <a:pt x="339" y="166"/>
                  </a:moveTo>
                  <a:cubicBezTo>
                    <a:pt x="339" y="166"/>
                    <a:pt x="339" y="166"/>
                    <a:pt x="339" y="166"/>
                  </a:cubicBezTo>
                  <a:cubicBezTo>
                    <a:pt x="339" y="166"/>
                    <a:pt x="339" y="166"/>
                    <a:pt x="339" y="166"/>
                  </a:cubicBezTo>
                  <a:moveTo>
                    <a:pt x="339" y="167"/>
                  </a:moveTo>
                  <a:cubicBezTo>
                    <a:pt x="339" y="167"/>
                    <a:pt x="339" y="167"/>
                    <a:pt x="339" y="167"/>
                  </a:cubicBezTo>
                  <a:cubicBezTo>
                    <a:pt x="339" y="167"/>
                    <a:pt x="339" y="167"/>
                    <a:pt x="339" y="167"/>
                  </a:cubicBezTo>
                  <a:moveTo>
                    <a:pt x="340" y="168"/>
                  </a:moveTo>
                  <a:cubicBezTo>
                    <a:pt x="340" y="168"/>
                    <a:pt x="340" y="168"/>
                    <a:pt x="340" y="168"/>
                  </a:cubicBezTo>
                  <a:cubicBezTo>
                    <a:pt x="340" y="168"/>
                    <a:pt x="340" y="168"/>
                    <a:pt x="340" y="168"/>
                  </a:cubicBezTo>
                  <a:moveTo>
                    <a:pt x="340" y="169"/>
                  </a:moveTo>
                  <a:cubicBezTo>
                    <a:pt x="341" y="169"/>
                    <a:pt x="341" y="169"/>
                    <a:pt x="341" y="169"/>
                  </a:cubicBezTo>
                  <a:cubicBezTo>
                    <a:pt x="341" y="169"/>
                    <a:pt x="341" y="169"/>
                    <a:pt x="341" y="169"/>
                  </a:cubicBezTo>
                  <a:cubicBezTo>
                    <a:pt x="341" y="169"/>
                    <a:pt x="341" y="169"/>
                    <a:pt x="340" y="169"/>
                  </a:cubicBezTo>
                  <a:moveTo>
                    <a:pt x="342" y="170"/>
                  </a:moveTo>
                  <a:cubicBezTo>
                    <a:pt x="342" y="170"/>
                    <a:pt x="342" y="170"/>
                    <a:pt x="342" y="170"/>
                  </a:cubicBezTo>
                  <a:cubicBezTo>
                    <a:pt x="342" y="170"/>
                    <a:pt x="342" y="170"/>
                    <a:pt x="342" y="170"/>
                  </a:cubicBezTo>
                  <a:moveTo>
                    <a:pt x="284" y="165"/>
                  </a:moveTo>
                  <a:cubicBezTo>
                    <a:pt x="284" y="165"/>
                    <a:pt x="284" y="165"/>
                    <a:pt x="284" y="165"/>
                  </a:cubicBezTo>
                  <a:cubicBezTo>
                    <a:pt x="284" y="165"/>
                    <a:pt x="284" y="165"/>
                    <a:pt x="284" y="165"/>
                  </a:cubicBezTo>
                  <a:moveTo>
                    <a:pt x="277" y="189"/>
                  </a:moveTo>
                  <a:cubicBezTo>
                    <a:pt x="276" y="189"/>
                    <a:pt x="276" y="189"/>
                    <a:pt x="276" y="189"/>
                  </a:cubicBezTo>
                  <a:cubicBezTo>
                    <a:pt x="276" y="189"/>
                    <a:pt x="276" y="189"/>
                    <a:pt x="277" y="189"/>
                  </a:cubicBezTo>
                  <a:moveTo>
                    <a:pt x="277" y="189"/>
                  </a:moveTo>
                  <a:cubicBezTo>
                    <a:pt x="277" y="189"/>
                    <a:pt x="277" y="189"/>
                    <a:pt x="277" y="189"/>
                  </a:cubicBezTo>
                  <a:cubicBezTo>
                    <a:pt x="277" y="189"/>
                    <a:pt x="277" y="189"/>
                    <a:pt x="277" y="189"/>
                  </a:cubicBezTo>
                  <a:moveTo>
                    <a:pt x="277" y="190"/>
                  </a:moveTo>
                  <a:cubicBezTo>
                    <a:pt x="277" y="190"/>
                    <a:pt x="277" y="190"/>
                    <a:pt x="277" y="190"/>
                  </a:cubicBezTo>
                  <a:cubicBezTo>
                    <a:pt x="277" y="190"/>
                    <a:pt x="277" y="190"/>
                    <a:pt x="277" y="190"/>
                  </a:cubicBezTo>
                  <a:moveTo>
                    <a:pt x="278" y="193"/>
                  </a:moveTo>
                  <a:cubicBezTo>
                    <a:pt x="278" y="193"/>
                    <a:pt x="278" y="193"/>
                    <a:pt x="277" y="194"/>
                  </a:cubicBezTo>
                  <a:cubicBezTo>
                    <a:pt x="278" y="193"/>
                    <a:pt x="278" y="193"/>
                    <a:pt x="279" y="193"/>
                  </a:cubicBezTo>
                  <a:cubicBezTo>
                    <a:pt x="278" y="193"/>
                    <a:pt x="278" y="193"/>
                    <a:pt x="278" y="193"/>
                  </a:cubicBezTo>
                  <a:moveTo>
                    <a:pt x="303" y="151"/>
                  </a:moveTo>
                  <a:cubicBezTo>
                    <a:pt x="303" y="151"/>
                    <a:pt x="303" y="151"/>
                    <a:pt x="303" y="151"/>
                  </a:cubicBezTo>
                  <a:cubicBezTo>
                    <a:pt x="303" y="151"/>
                    <a:pt x="303" y="151"/>
                    <a:pt x="303" y="151"/>
                  </a:cubicBezTo>
                  <a:cubicBezTo>
                    <a:pt x="303" y="151"/>
                    <a:pt x="303" y="151"/>
                    <a:pt x="303" y="151"/>
                  </a:cubicBezTo>
                  <a:moveTo>
                    <a:pt x="283" y="163"/>
                  </a:moveTo>
                  <a:cubicBezTo>
                    <a:pt x="283" y="163"/>
                    <a:pt x="283" y="164"/>
                    <a:pt x="283" y="165"/>
                  </a:cubicBezTo>
                  <a:cubicBezTo>
                    <a:pt x="283" y="164"/>
                    <a:pt x="283" y="163"/>
                    <a:pt x="283" y="163"/>
                  </a:cubicBezTo>
                  <a:moveTo>
                    <a:pt x="249" y="166"/>
                  </a:moveTo>
                  <a:cubicBezTo>
                    <a:pt x="249" y="166"/>
                    <a:pt x="249" y="167"/>
                    <a:pt x="249" y="167"/>
                  </a:cubicBezTo>
                  <a:cubicBezTo>
                    <a:pt x="249" y="167"/>
                    <a:pt x="249" y="166"/>
                    <a:pt x="249" y="166"/>
                  </a:cubicBezTo>
                  <a:moveTo>
                    <a:pt x="249" y="167"/>
                  </a:moveTo>
                  <a:cubicBezTo>
                    <a:pt x="249" y="167"/>
                    <a:pt x="248" y="167"/>
                    <a:pt x="248" y="167"/>
                  </a:cubicBezTo>
                  <a:cubicBezTo>
                    <a:pt x="248" y="167"/>
                    <a:pt x="249" y="167"/>
                    <a:pt x="249" y="167"/>
                  </a:cubicBezTo>
                  <a:moveTo>
                    <a:pt x="248" y="167"/>
                  </a:moveTo>
                  <a:cubicBezTo>
                    <a:pt x="248" y="168"/>
                    <a:pt x="248" y="168"/>
                    <a:pt x="248" y="168"/>
                  </a:cubicBezTo>
                  <a:cubicBezTo>
                    <a:pt x="248" y="168"/>
                    <a:pt x="248" y="168"/>
                    <a:pt x="248" y="167"/>
                  </a:cubicBezTo>
                  <a:moveTo>
                    <a:pt x="276" y="189"/>
                  </a:moveTo>
                  <a:cubicBezTo>
                    <a:pt x="276" y="189"/>
                    <a:pt x="276" y="189"/>
                    <a:pt x="276" y="189"/>
                  </a:cubicBezTo>
                  <a:cubicBezTo>
                    <a:pt x="276" y="189"/>
                    <a:pt x="276" y="189"/>
                    <a:pt x="276" y="189"/>
                  </a:cubicBezTo>
                  <a:cubicBezTo>
                    <a:pt x="276" y="189"/>
                    <a:pt x="276" y="189"/>
                    <a:pt x="276" y="189"/>
                  </a:cubicBezTo>
                  <a:moveTo>
                    <a:pt x="277" y="194"/>
                  </a:moveTo>
                  <a:cubicBezTo>
                    <a:pt x="277" y="194"/>
                    <a:pt x="276" y="194"/>
                    <a:pt x="276" y="195"/>
                  </a:cubicBezTo>
                  <a:cubicBezTo>
                    <a:pt x="276" y="194"/>
                    <a:pt x="277" y="194"/>
                    <a:pt x="277" y="194"/>
                  </a:cubicBezTo>
                  <a:moveTo>
                    <a:pt x="276" y="195"/>
                  </a:moveTo>
                  <a:cubicBezTo>
                    <a:pt x="276" y="195"/>
                    <a:pt x="275" y="195"/>
                    <a:pt x="275" y="195"/>
                  </a:cubicBezTo>
                  <a:lnTo>
                    <a:pt x="276" y="195"/>
                  </a:lnTo>
                  <a:close/>
                  <a:moveTo>
                    <a:pt x="275" y="196"/>
                  </a:moveTo>
                  <a:cubicBezTo>
                    <a:pt x="275" y="196"/>
                    <a:pt x="274" y="196"/>
                    <a:pt x="274" y="196"/>
                  </a:cubicBezTo>
                  <a:cubicBezTo>
                    <a:pt x="274" y="196"/>
                    <a:pt x="275" y="196"/>
                    <a:pt x="275" y="196"/>
                  </a:cubicBezTo>
                  <a:moveTo>
                    <a:pt x="274" y="196"/>
                  </a:moveTo>
                  <a:cubicBezTo>
                    <a:pt x="274" y="196"/>
                    <a:pt x="273" y="197"/>
                    <a:pt x="273" y="197"/>
                  </a:cubicBezTo>
                  <a:cubicBezTo>
                    <a:pt x="273" y="197"/>
                    <a:pt x="274" y="196"/>
                    <a:pt x="274" y="196"/>
                  </a:cubicBezTo>
                  <a:moveTo>
                    <a:pt x="273" y="197"/>
                  </a:moveTo>
                  <a:cubicBezTo>
                    <a:pt x="273" y="197"/>
                    <a:pt x="272" y="197"/>
                    <a:pt x="272" y="197"/>
                  </a:cubicBezTo>
                  <a:cubicBezTo>
                    <a:pt x="272" y="197"/>
                    <a:pt x="273" y="197"/>
                    <a:pt x="273" y="197"/>
                  </a:cubicBezTo>
                  <a:moveTo>
                    <a:pt x="299" y="202"/>
                  </a:moveTo>
                  <a:cubicBezTo>
                    <a:pt x="300" y="202"/>
                    <a:pt x="300" y="201"/>
                    <a:pt x="301" y="201"/>
                  </a:cubicBezTo>
                  <a:cubicBezTo>
                    <a:pt x="300" y="201"/>
                    <a:pt x="300" y="202"/>
                    <a:pt x="299" y="202"/>
                  </a:cubicBezTo>
                  <a:moveTo>
                    <a:pt x="308" y="216"/>
                  </a:moveTo>
                  <a:cubicBezTo>
                    <a:pt x="309" y="217"/>
                    <a:pt x="309" y="217"/>
                    <a:pt x="309" y="218"/>
                  </a:cubicBezTo>
                  <a:cubicBezTo>
                    <a:pt x="309" y="218"/>
                    <a:pt x="309" y="217"/>
                    <a:pt x="309" y="217"/>
                  </a:cubicBezTo>
                  <a:cubicBezTo>
                    <a:pt x="309" y="217"/>
                    <a:pt x="309" y="216"/>
                    <a:pt x="308" y="216"/>
                  </a:cubicBezTo>
                  <a:moveTo>
                    <a:pt x="308" y="215"/>
                  </a:moveTo>
                  <a:cubicBezTo>
                    <a:pt x="308" y="216"/>
                    <a:pt x="308" y="216"/>
                    <a:pt x="308" y="216"/>
                  </a:cubicBezTo>
                  <a:cubicBezTo>
                    <a:pt x="308" y="216"/>
                    <a:pt x="308" y="216"/>
                    <a:pt x="308" y="215"/>
                  </a:cubicBezTo>
                  <a:moveTo>
                    <a:pt x="308" y="229"/>
                  </a:moveTo>
                  <a:cubicBezTo>
                    <a:pt x="308" y="229"/>
                    <a:pt x="308" y="229"/>
                    <a:pt x="308" y="229"/>
                  </a:cubicBezTo>
                  <a:cubicBezTo>
                    <a:pt x="308" y="229"/>
                    <a:pt x="308" y="229"/>
                    <a:pt x="308" y="229"/>
                  </a:cubicBezTo>
                  <a:moveTo>
                    <a:pt x="308" y="230"/>
                  </a:moveTo>
                  <a:cubicBezTo>
                    <a:pt x="308" y="230"/>
                    <a:pt x="308" y="230"/>
                    <a:pt x="308" y="230"/>
                  </a:cubicBezTo>
                  <a:cubicBezTo>
                    <a:pt x="308" y="230"/>
                    <a:pt x="308" y="230"/>
                    <a:pt x="308" y="230"/>
                  </a:cubicBezTo>
                  <a:moveTo>
                    <a:pt x="308" y="231"/>
                  </a:moveTo>
                  <a:cubicBezTo>
                    <a:pt x="308" y="231"/>
                    <a:pt x="308" y="231"/>
                    <a:pt x="308" y="231"/>
                  </a:cubicBezTo>
                  <a:cubicBezTo>
                    <a:pt x="308" y="231"/>
                    <a:pt x="308" y="231"/>
                    <a:pt x="308" y="231"/>
                  </a:cubicBezTo>
                  <a:moveTo>
                    <a:pt x="308" y="231"/>
                  </a:moveTo>
                  <a:cubicBezTo>
                    <a:pt x="308" y="231"/>
                    <a:pt x="308" y="231"/>
                    <a:pt x="308" y="231"/>
                  </a:cubicBezTo>
                  <a:cubicBezTo>
                    <a:pt x="308" y="231"/>
                    <a:pt x="308" y="231"/>
                    <a:pt x="308" y="231"/>
                  </a:cubicBezTo>
                  <a:moveTo>
                    <a:pt x="309" y="221"/>
                  </a:moveTo>
                  <a:cubicBezTo>
                    <a:pt x="309" y="221"/>
                    <a:pt x="309" y="222"/>
                    <a:pt x="309" y="222"/>
                  </a:cubicBezTo>
                  <a:cubicBezTo>
                    <a:pt x="309" y="222"/>
                    <a:pt x="309" y="221"/>
                    <a:pt x="309" y="221"/>
                  </a:cubicBezTo>
                  <a:moveTo>
                    <a:pt x="309" y="223"/>
                  </a:moveTo>
                  <a:cubicBezTo>
                    <a:pt x="309" y="223"/>
                    <a:pt x="309" y="223"/>
                    <a:pt x="309" y="223"/>
                  </a:cubicBezTo>
                  <a:cubicBezTo>
                    <a:pt x="309" y="223"/>
                    <a:pt x="309" y="223"/>
                    <a:pt x="309" y="223"/>
                  </a:cubicBezTo>
                  <a:moveTo>
                    <a:pt x="309" y="224"/>
                  </a:moveTo>
                  <a:cubicBezTo>
                    <a:pt x="309" y="224"/>
                    <a:pt x="309" y="224"/>
                    <a:pt x="309" y="225"/>
                  </a:cubicBezTo>
                  <a:cubicBezTo>
                    <a:pt x="309" y="224"/>
                    <a:pt x="309" y="224"/>
                    <a:pt x="309" y="224"/>
                  </a:cubicBezTo>
                  <a:moveTo>
                    <a:pt x="309" y="225"/>
                  </a:moveTo>
                  <a:cubicBezTo>
                    <a:pt x="309" y="226"/>
                    <a:pt x="309" y="226"/>
                    <a:pt x="309" y="226"/>
                  </a:cubicBezTo>
                  <a:cubicBezTo>
                    <a:pt x="309" y="226"/>
                    <a:pt x="309" y="226"/>
                    <a:pt x="309" y="225"/>
                  </a:cubicBezTo>
                  <a:moveTo>
                    <a:pt x="309" y="227"/>
                  </a:moveTo>
                  <a:cubicBezTo>
                    <a:pt x="309" y="227"/>
                    <a:pt x="309" y="227"/>
                    <a:pt x="309" y="227"/>
                  </a:cubicBezTo>
                  <a:cubicBezTo>
                    <a:pt x="309" y="227"/>
                    <a:pt x="309" y="227"/>
                    <a:pt x="309" y="227"/>
                  </a:cubicBezTo>
                  <a:moveTo>
                    <a:pt x="309" y="218"/>
                  </a:moveTo>
                  <a:cubicBezTo>
                    <a:pt x="309" y="219"/>
                    <a:pt x="309" y="219"/>
                    <a:pt x="309" y="219"/>
                  </a:cubicBezTo>
                  <a:cubicBezTo>
                    <a:pt x="309" y="219"/>
                    <a:pt x="309" y="219"/>
                    <a:pt x="309" y="218"/>
                  </a:cubicBezTo>
                  <a:moveTo>
                    <a:pt x="309" y="219"/>
                  </a:moveTo>
                  <a:cubicBezTo>
                    <a:pt x="309" y="220"/>
                    <a:pt x="309" y="220"/>
                    <a:pt x="309" y="220"/>
                  </a:cubicBezTo>
                  <a:cubicBezTo>
                    <a:pt x="309" y="220"/>
                    <a:pt x="309" y="220"/>
                    <a:pt x="309" y="219"/>
                  </a:cubicBezTo>
                  <a:moveTo>
                    <a:pt x="302" y="201"/>
                  </a:moveTo>
                  <a:cubicBezTo>
                    <a:pt x="302" y="201"/>
                    <a:pt x="302" y="201"/>
                    <a:pt x="302" y="201"/>
                  </a:cubicBezTo>
                  <a:cubicBezTo>
                    <a:pt x="302" y="201"/>
                    <a:pt x="302" y="201"/>
                    <a:pt x="302" y="201"/>
                  </a:cubicBezTo>
                  <a:cubicBezTo>
                    <a:pt x="302" y="201"/>
                    <a:pt x="302" y="201"/>
                    <a:pt x="302" y="201"/>
                  </a:cubicBezTo>
                  <a:moveTo>
                    <a:pt x="320" y="249"/>
                  </a:moveTo>
                  <a:cubicBezTo>
                    <a:pt x="320" y="249"/>
                    <a:pt x="320" y="249"/>
                    <a:pt x="320" y="249"/>
                  </a:cubicBezTo>
                  <a:cubicBezTo>
                    <a:pt x="320" y="249"/>
                    <a:pt x="320" y="249"/>
                    <a:pt x="320" y="249"/>
                  </a:cubicBezTo>
                  <a:moveTo>
                    <a:pt x="319" y="249"/>
                  </a:moveTo>
                  <a:cubicBezTo>
                    <a:pt x="319" y="248"/>
                    <a:pt x="319" y="248"/>
                    <a:pt x="318" y="248"/>
                  </a:cubicBezTo>
                  <a:cubicBezTo>
                    <a:pt x="319" y="248"/>
                    <a:pt x="319" y="248"/>
                    <a:pt x="319" y="249"/>
                  </a:cubicBezTo>
                  <a:moveTo>
                    <a:pt x="318" y="248"/>
                  </a:moveTo>
                  <a:cubicBezTo>
                    <a:pt x="317" y="248"/>
                    <a:pt x="317" y="247"/>
                    <a:pt x="317" y="247"/>
                  </a:cubicBezTo>
                  <a:cubicBezTo>
                    <a:pt x="317" y="247"/>
                    <a:pt x="317" y="248"/>
                    <a:pt x="318" y="248"/>
                  </a:cubicBezTo>
                  <a:moveTo>
                    <a:pt x="340" y="247"/>
                  </a:moveTo>
                  <a:cubicBezTo>
                    <a:pt x="340" y="247"/>
                    <a:pt x="340" y="247"/>
                    <a:pt x="340" y="247"/>
                  </a:cubicBezTo>
                  <a:cubicBezTo>
                    <a:pt x="340" y="247"/>
                    <a:pt x="340" y="247"/>
                    <a:pt x="340" y="247"/>
                  </a:cubicBezTo>
                  <a:close/>
                  <a:moveTo>
                    <a:pt x="383" y="254"/>
                  </a:moveTo>
                  <a:cubicBezTo>
                    <a:pt x="383" y="254"/>
                    <a:pt x="383" y="254"/>
                    <a:pt x="383" y="254"/>
                  </a:cubicBezTo>
                  <a:cubicBezTo>
                    <a:pt x="383" y="254"/>
                    <a:pt x="383" y="254"/>
                    <a:pt x="383" y="254"/>
                  </a:cubicBezTo>
                  <a:moveTo>
                    <a:pt x="383" y="255"/>
                  </a:moveTo>
                  <a:cubicBezTo>
                    <a:pt x="383" y="255"/>
                    <a:pt x="383" y="255"/>
                    <a:pt x="383" y="256"/>
                  </a:cubicBezTo>
                  <a:cubicBezTo>
                    <a:pt x="383" y="255"/>
                    <a:pt x="383" y="255"/>
                    <a:pt x="383" y="255"/>
                  </a:cubicBezTo>
                  <a:moveTo>
                    <a:pt x="383" y="256"/>
                  </a:moveTo>
                  <a:cubicBezTo>
                    <a:pt x="384" y="256"/>
                    <a:pt x="384" y="257"/>
                    <a:pt x="384" y="257"/>
                  </a:cubicBezTo>
                  <a:cubicBezTo>
                    <a:pt x="384" y="257"/>
                    <a:pt x="384" y="256"/>
                    <a:pt x="383" y="256"/>
                  </a:cubicBezTo>
                  <a:cubicBezTo>
                    <a:pt x="383" y="256"/>
                    <a:pt x="383" y="256"/>
                    <a:pt x="383" y="256"/>
                  </a:cubicBezTo>
                  <a:moveTo>
                    <a:pt x="383" y="254"/>
                  </a:moveTo>
                  <a:cubicBezTo>
                    <a:pt x="383" y="254"/>
                    <a:pt x="383" y="254"/>
                    <a:pt x="383" y="254"/>
                  </a:cubicBezTo>
                  <a:cubicBezTo>
                    <a:pt x="383" y="254"/>
                    <a:pt x="383" y="254"/>
                    <a:pt x="383" y="254"/>
                  </a:cubicBezTo>
                  <a:moveTo>
                    <a:pt x="403" y="207"/>
                  </a:moveTo>
                  <a:cubicBezTo>
                    <a:pt x="403" y="207"/>
                    <a:pt x="403" y="207"/>
                    <a:pt x="403" y="207"/>
                  </a:cubicBezTo>
                  <a:cubicBezTo>
                    <a:pt x="403" y="207"/>
                    <a:pt x="403" y="206"/>
                    <a:pt x="403" y="206"/>
                  </a:cubicBezTo>
                  <a:cubicBezTo>
                    <a:pt x="403" y="206"/>
                    <a:pt x="403" y="207"/>
                    <a:pt x="403" y="207"/>
                  </a:cubicBezTo>
                  <a:moveTo>
                    <a:pt x="409" y="197"/>
                  </a:moveTo>
                  <a:cubicBezTo>
                    <a:pt x="409" y="198"/>
                    <a:pt x="409" y="198"/>
                    <a:pt x="409" y="198"/>
                  </a:cubicBezTo>
                  <a:cubicBezTo>
                    <a:pt x="409" y="198"/>
                    <a:pt x="409" y="198"/>
                    <a:pt x="409" y="197"/>
                  </a:cubicBezTo>
                  <a:moveTo>
                    <a:pt x="409" y="198"/>
                  </a:moveTo>
                  <a:cubicBezTo>
                    <a:pt x="409" y="198"/>
                    <a:pt x="408" y="199"/>
                    <a:pt x="408" y="199"/>
                  </a:cubicBezTo>
                  <a:cubicBezTo>
                    <a:pt x="408" y="199"/>
                    <a:pt x="409" y="198"/>
                    <a:pt x="409" y="198"/>
                  </a:cubicBezTo>
                  <a:moveTo>
                    <a:pt x="408" y="199"/>
                  </a:moveTo>
                  <a:cubicBezTo>
                    <a:pt x="408" y="200"/>
                    <a:pt x="408" y="200"/>
                    <a:pt x="408" y="200"/>
                  </a:cubicBezTo>
                  <a:cubicBezTo>
                    <a:pt x="408" y="200"/>
                    <a:pt x="408" y="200"/>
                    <a:pt x="408" y="199"/>
                  </a:cubicBezTo>
                  <a:moveTo>
                    <a:pt x="407" y="201"/>
                  </a:moveTo>
                  <a:cubicBezTo>
                    <a:pt x="407" y="201"/>
                    <a:pt x="407" y="201"/>
                    <a:pt x="407" y="202"/>
                  </a:cubicBezTo>
                  <a:cubicBezTo>
                    <a:pt x="407" y="201"/>
                    <a:pt x="407" y="201"/>
                    <a:pt x="407" y="201"/>
                  </a:cubicBezTo>
                  <a:moveTo>
                    <a:pt x="406" y="202"/>
                  </a:moveTo>
                  <a:cubicBezTo>
                    <a:pt x="406" y="203"/>
                    <a:pt x="406" y="203"/>
                    <a:pt x="406" y="203"/>
                  </a:cubicBezTo>
                  <a:cubicBezTo>
                    <a:pt x="406" y="203"/>
                    <a:pt x="406" y="203"/>
                    <a:pt x="406" y="202"/>
                  </a:cubicBezTo>
                  <a:moveTo>
                    <a:pt x="405" y="204"/>
                  </a:moveTo>
                  <a:cubicBezTo>
                    <a:pt x="405" y="204"/>
                    <a:pt x="405" y="204"/>
                    <a:pt x="405" y="204"/>
                  </a:cubicBezTo>
                  <a:cubicBezTo>
                    <a:pt x="405" y="204"/>
                    <a:pt x="405" y="204"/>
                    <a:pt x="405" y="204"/>
                  </a:cubicBezTo>
                  <a:moveTo>
                    <a:pt x="404" y="205"/>
                  </a:moveTo>
                  <a:cubicBezTo>
                    <a:pt x="404" y="205"/>
                    <a:pt x="404" y="206"/>
                    <a:pt x="404" y="206"/>
                  </a:cubicBezTo>
                  <a:cubicBezTo>
                    <a:pt x="404" y="206"/>
                    <a:pt x="404" y="205"/>
                    <a:pt x="404" y="205"/>
                  </a:cubicBezTo>
                  <a:moveTo>
                    <a:pt x="345" y="82"/>
                  </a:moveTo>
                  <a:cubicBezTo>
                    <a:pt x="345" y="82"/>
                    <a:pt x="345" y="82"/>
                    <a:pt x="345" y="82"/>
                  </a:cubicBezTo>
                  <a:cubicBezTo>
                    <a:pt x="345" y="82"/>
                    <a:pt x="345" y="82"/>
                    <a:pt x="345" y="82"/>
                  </a:cubicBezTo>
                  <a:moveTo>
                    <a:pt x="345" y="82"/>
                  </a:moveTo>
                  <a:cubicBezTo>
                    <a:pt x="345" y="82"/>
                    <a:pt x="345" y="82"/>
                    <a:pt x="345" y="82"/>
                  </a:cubicBezTo>
                  <a:cubicBezTo>
                    <a:pt x="345" y="82"/>
                    <a:pt x="345" y="82"/>
                    <a:pt x="345" y="82"/>
                  </a:cubicBezTo>
                  <a:moveTo>
                    <a:pt x="343" y="150"/>
                  </a:moveTo>
                  <a:cubicBezTo>
                    <a:pt x="343" y="150"/>
                    <a:pt x="343" y="151"/>
                    <a:pt x="343" y="151"/>
                  </a:cubicBezTo>
                  <a:cubicBezTo>
                    <a:pt x="343" y="151"/>
                    <a:pt x="343" y="150"/>
                    <a:pt x="343" y="150"/>
                  </a:cubicBezTo>
                  <a:moveTo>
                    <a:pt x="303" y="152"/>
                  </a:moveTo>
                  <a:cubicBezTo>
                    <a:pt x="304" y="152"/>
                    <a:pt x="304" y="152"/>
                    <a:pt x="304" y="152"/>
                  </a:cubicBezTo>
                  <a:cubicBezTo>
                    <a:pt x="304" y="152"/>
                    <a:pt x="304" y="152"/>
                    <a:pt x="303" y="152"/>
                  </a:cubicBezTo>
                  <a:moveTo>
                    <a:pt x="301" y="147"/>
                  </a:moveTo>
                  <a:cubicBezTo>
                    <a:pt x="300" y="147"/>
                    <a:pt x="300" y="147"/>
                    <a:pt x="300" y="147"/>
                  </a:cubicBezTo>
                  <a:cubicBezTo>
                    <a:pt x="300" y="147"/>
                    <a:pt x="300" y="147"/>
                    <a:pt x="301" y="147"/>
                  </a:cubicBezTo>
                  <a:moveTo>
                    <a:pt x="300" y="147"/>
                  </a:moveTo>
                  <a:cubicBezTo>
                    <a:pt x="300" y="147"/>
                    <a:pt x="300" y="147"/>
                    <a:pt x="300" y="147"/>
                  </a:cubicBezTo>
                  <a:cubicBezTo>
                    <a:pt x="300" y="147"/>
                    <a:pt x="300" y="147"/>
                    <a:pt x="300" y="147"/>
                  </a:cubicBezTo>
                  <a:moveTo>
                    <a:pt x="265" y="126"/>
                  </a:moveTo>
                  <a:cubicBezTo>
                    <a:pt x="265" y="126"/>
                    <a:pt x="264" y="126"/>
                    <a:pt x="264" y="126"/>
                  </a:cubicBezTo>
                  <a:cubicBezTo>
                    <a:pt x="264" y="126"/>
                    <a:pt x="265" y="126"/>
                    <a:pt x="265" y="126"/>
                  </a:cubicBezTo>
                  <a:moveTo>
                    <a:pt x="265" y="128"/>
                  </a:moveTo>
                  <a:cubicBezTo>
                    <a:pt x="265" y="128"/>
                    <a:pt x="265" y="127"/>
                    <a:pt x="265" y="127"/>
                  </a:cubicBezTo>
                  <a:cubicBezTo>
                    <a:pt x="265" y="127"/>
                    <a:pt x="265" y="128"/>
                    <a:pt x="265" y="128"/>
                  </a:cubicBezTo>
                  <a:moveTo>
                    <a:pt x="265" y="127"/>
                  </a:moveTo>
                  <a:cubicBezTo>
                    <a:pt x="265" y="127"/>
                    <a:pt x="265" y="127"/>
                    <a:pt x="265" y="127"/>
                  </a:cubicBezTo>
                  <a:cubicBezTo>
                    <a:pt x="265" y="127"/>
                    <a:pt x="265" y="127"/>
                    <a:pt x="265" y="127"/>
                  </a:cubicBezTo>
                  <a:moveTo>
                    <a:pt x="209" y="180"/>
                  </a:moveTo>
                  <a:cubicBezTo>
                    <a:pt x="209" y="180"/>
                    <a:pt x="209" y="180"/>
                    <a:pt x="209" y="180"/>
                  </a:cubicBezTo>
                  <a:cubicBezTo>
                    <a:pt x="209" y="180"/>
                    <a:pt x="209" y="180"/>
                    <a:pt x="209" y="180"/>
                  </a:cubicBezTo>
                  <a:moveTo>
                    <a:pt x="209" y="180"/>
                  </a:moveTo>
                  <a:cubicBezTo>
                    <a:pt x="209" y="180"/>
                    <a:pt x="210" y="180"/>
                    <a:pt x="210" y="180"/>
                  </a:cubicBezTo>
                  <a:cubicBezTo>
                    <a:pt x="210" y="180"/>
                    <a:pt x="209" y="180"/>
                    <a:pt x="209" y="180"/>
                  </a:cubicBezTo>
                  <a:moveTo>
                    <a:pt x="217" y="188"/>
                  </a:moveTo>
                  <a:cubicBezTo>
                    <a:pt x="217" y="188"/>
                    <a:pt x="216" y="188"/>
                    <a:pt x="216" y="188"/>
                  </a:cubicBezTo>
                  <a:cubicBezTo>
                    <a:pt x="216" y="188"/>
                    <a:pt x="217" y="188"/>
                    <a:pt x="217" y="188"/>
                  </a:cubicBezTo>
                  <a:moveTo>
                    <a:pt x="216" y="190"/>
                  </a:moveTo>
                  <a:cubicBezTo>
                    <a:pt x="216" y="190"/>
                    <a:pt x="216" y="190"/>
                    <a:pt x="216" y="190"/>
                  </a:cubicBezTo>
                  <a:close/>
                  <a:moveTo>
                    <a:pt x="215" y="188"/>
                  </a:moveTo>
                  <a:cubicBezTo>
                    <a:pt x="215" y="188"/>
                    <a:pt x="215" y="188"/>
                    <a:pt x="215" y="188"/>
                  </a:cubicBezTo>
                  <a:cubicBezTo>
                    <a:pt x="215" y="188"/>
                    <a:pt x="215" y="188"/>
                    <a:pt x="215" y="188"/>
                  </a:cubicBezTo>
                  <a:moveTo>
                    <a:pt x="187" y="172"/>
                  </a:moveTo>
                  <a:cubicBezTo>
                    <a:pt x="187" y="173"/>
                    <a:pt x="187" y="173"/>
                    <a:pt x="187" y="174"/>
                  </a:cubicBezTo>
                  <a:cubicBezTo>
                    <a:pt x="187" y="173"/>
                    <a:pt x="187" y="173"/>
                    <a:pt x="187" y="172"/>
                  </a:cubicBezTo>
                  <a:moveTo>
                    <a:pt x="187" y="174"/>
                  </a:moveTo>
                  <a:cubicBezTo>
                    <a:pt x="187" y="174"/>
                    <a:pt x="187" y="175"/>
                    <a:pt x="187" y="175"/>
                  </a:cubicBezTo>
                  <a:cubicBezTo>
                    <a:pt x="187" y="175"/>
                    <a:pt x="187" y="174"/>
                    <a:pt x="187" y="174"/>
                  </a:cubicBezTo>
                  <a:moveTo>
                    <a:pt x="185" y="180"/>
                  </a:moveTo>
                  <a:cubicBezTo>
                    <a:pt x="185" y="180"/>
                    <a:pt x="185" y="180"/>
                    <a:pt x="185" y="180"/>
                  </a:cubicBezTo>
                  <a:cubicBezTo>
                    <a:pt x="185" y="180"/>
                    <a:pt x="185" y="180"/>
                    <a:pt x="185" y="180"/>
                  </a:cubicBezTo>
                  <a:moveTo>
                    <a:pt x="169" y="144"/>
                  </a:moveTo>
                  <a:cubicBezTo>
                    <a:pt x="169" y="144"/>
                    <a:pt x="169" y="144"/>
                    <a:pt x="169" y="144"/>
                  </a:cubicBezTo>
                  <a:close/>
                  <a:moveTo>
                    <a:pt x="176" y="154"/>
                  </a:moveTo>
                  <a:cubicBezTo>
                    <a:pt x="176" y="154"/>
                    <a:pt x="176" y="154"/>
                    <a:pt x="176" y="154"/>
                  </a:cubicBezTo>
                  <a:cubicBezTo>
                    <a:pt x="176" y="154"/>
                    <a:pt x="176" y="154"/>
                    <a:pt x="176" y="154"/>
                  </a:cubicBezTo>
                  <a:moveTo>
                    <a:pt x="171" y="143"/>
                  </a:moveTo>
                  <a:cubicBezTo>
                    <a:pt x="171" y="143"/>
                    <a:pt x="171" y="143"/>
                    <a:pt x="171" y="143"/>
                  </a:cubicBezTo>
                  <a:cubicBezTo>
                    <a:pt x="171" y="143"/>
                    <a:pt x="171" y="143"/>
                    <a:pt x="171" y="143"/>
                  </a:cubicBezTo>
                  <a:moveTo>
                    <a:pt x="172" y="142"/>
                  </a:moveTo>
                  <a:cubicBezTo>
                    <a:pt x="172" y="142"/>
                    <a:pt x="172" y="142"/>
                    <a:pt x="173" y="141"/>
                  </a:cubicBezTo>
                  <a:cubicBezTo>
                    <a:pt x="172" y="142"/>
                    <a:pt x="172" y="142"/>
                    <a:pt x="172" y="142"/>
                  </a:cubicBezTo>
                  <a:moveTo>
                    <a:pt x="173" y="141"/>
                  </a:moveTo>
                  <a:cubicBezTo>
                    <a:pt x="173" y="141"/>
                    <a:pt x="173" y="141"/>
                    <a:pt x="173" y="140"/>
                  </a:cubicBezTo>
                  <a:cubicBezTo>
                    <a:pt x="173" y="141"/>
                    <a:pt x="173" y="141"/>
                    <a:pt x="173" y="141"/>
                  </a:cubicBezTo>
                  <a:moveTo>
                    <a:pt x="182" y="208"/>
                  </a:moveTo>
                  <a:cubicBezTo>
                    <a:pt x="180" y="207"/>
                    <a:pt x="179" y="205"/>
                    <a:pt x="180" y="203"/>
                  </a:cubicBezTo>
                  <a:cubicBezTo>
                    <a:pt x="180" y="203"/>
                    <a:pt x="180" y="203"/>
                    <a:pt x="180" y="203"/>
                  </a:cubicBezTo>
                  <a:cubicBezTo>
                    <a:pt x="180" y="205"/>
                    <a:pt x="180" y="207"/>
                    <a:pt x="182" y="208"/>
                  </a:cubicBezTo>
                  <a:moveTo>
                    <a:pt x="171" y="125"/>
                  </a:moveTo>
                  <a:cubicBezTo>
                    <a:pt x="171" y="126"/>
                    <a:pt x="171" y="126"/>
                    <a:pt x="171" y="126"/>
                  </a:cubicBezTo>
                  <a:cubicBezTo>
                    <a:pt x="171" y="126"/>
                    <a:pt x="171" y="126"/>
                    <a:pt x="171" y="125"/>
                  </a:cubicBezTo>
                  <a:moveTo>
                    <a:pt x="171" y="129"/>
                  </a:moveTo>
                  <a:cubicBezTo>
                    <a:pt x="170" y="131"/>
                    <a:pt x="170" y="133"/>
                    <a:pt x="170" y="134"/>
                  </a:cubicBezTo>
                  <a:cubicBezTo>
                    <a:pt x="170" y="134"/>
                    <a:pt x="170" y="134"/>
                    <a:pt x="170" y="133"/>
                  </a:cubicBezTo>
                  <a:cubicBezTo>
                    <a:pt x="170" y="132"/>
                    <a:pt x="170" y="130"/>
                    <a:pt x="171" y="129"/>
                  </a:cubicBezTo>
                  <a:moveTo>
                    <a:pt x="171" y="126"/>
                  </a:moveTo>
                  <a:cubicBezTo>
                    <a:pt x="171" y="127"/>
                    <a:pt x="171" y="127"/>
                    <a:pt x="171" y="127"/>
                  </a:cubicBezTo>
                  <a:cubicBezTo>
                    <a:pt x="171" y="127"/>
                    <a:pt x="171" y="127"/>
                    <a:pt x="171" y="126"/>
                  </a:cubicBezTo>
                  <a:moveTo>
                    <a:pt x="171" y="127"/>
                  </a:moveTo>
                  <a:cubicBezTo>
                    <a:pt x="171" y="128"/>
                    <a:pt x="171" y="128"/>
                    <a:pt x="171" y="128"/>
                  </a:cubicBezTo>
                  <a:cubicBezTo>
                    <a:pt x="171" y="128"/>
                    <a:pt x="171" y="128"/>
                    <a:pt x="171" y="127"/>
                  </a:cubicBezTo>
                  <a:moveTo>
                    <a:pt x="166" y="153"/>
                  </a:moveTo>
                  <a:cubicBezTo>
                    <a:pt x="166" y="153"/>
                    <a:pt x="166" y="153"/>
                    <a:pt x="166" y="153"/>
                  </a:cubicBezTo>
                  <a:close/>
                  <a:moveTo>
                    <a:pt x="219" y="189"/>
                  </a:moveTo>
                  <a:cubicBezTo>
                    <a:pt x="219" y="188"/>
                    <a:pt x="218" y="188"/>
                    <a:pt x="217" y="188"/>
                  </a:cubicBezTo>
                  <a:cubicBezTo>
                    <a:pt x="218" y="188"/>
                    <a:pt x="220" y="189"/>
                    <a:pt x="221" y="189"/>
                  </a:cubicBezTo>
                  <a:cubicBezTo>
                    <a:pt x="220" y="189"/>
                    <a:pt x="220" y="189"/>
                    <a:pt x="219" y="189"/>
                  </a:cubicBezTo>
                  <a:moveTo>
                    <a:pt x="313" y="245"/>
                  </a:moveTo>
                  <a:cubicBezTo>
                    <a:pt x="312" y="245"/>
                    <a:pt x="312" y="245"/>
                    <a:pt x="312" y="245"/>
                  </a:cubicBezTo>
                  <a:cubicBezTo>
                    <a:pt x="312" y="245"/>
                    <a:pt x="312" y="245"/>
                    <a:pt x="313" y="245"/>
                  </a:cubicBezTo>
                  <a:moveTo>
                    <a:pt x="314" y="245"/>
                  </a:moveTo>
                  <a:cubicBezTo>
                    <a:pt x="314" y="245"/>
                    <a:pt x="313" y="245"/>
                    <a:pt x="313" y="245"/>
                  </a:cubicBezTo>
                  <a:cubicBezTo>
                    <a:pt x="313" y="245"/>
                    <a:pt x="314" y="245"/>
                    <a:pt x="314" y="245"/>
                  </a:cubicBezTo>
                  <a:moveTo>
                    <a:pt x="315" y="246"/>
                  </a:moveTo>
                  <a:cubicBezTo>
                    <a:pt x="316" y="246"/>
                    <a:pt x="316" y="247"/>
                    <a:pt x="316" y="247"/>
                  </a:cubicBezTo>
                  <a:cubicBezTo>
                    <a:pt x="316" y="247"/>
                    <a:pt x="316" y="246"/>
                    <a:pt x="315" y="246"/>
                  </a:cubicBezTo>
                  <a:moveTo>
                    <a:pt x="314" y="246"/>
                  </a:moveTo>
                  <a:cubicBezTo>
                    <a:pt x="314" y="246"/>
                    <a:pt x="315" y="246"/>
                    <a:pt x="315" y="246"/>
                  </a:cubicBezTo>
                  <a:cubicBezTo>
                    <a:pt x="315" y="246"/>
                    <a:pt x="314" y="246"/>
                    <a:pt x="314" y="246"/>
                  </a:cubicBezTo>
                  <a:moveTo>
                    <a:pt x="327" y="268"/>
                  </a:moveTo>
                  <a:cubicBezTo>
                    <a:pt x="327" y="268"/>
                    <a:pt x="327" y="268"/>
                    <a:pt x="327" y="268"/>
                  </a:cubicBezTo>
                  <a:cubicBezTo>
                    <a:pt x="327" y="268"/>
                    <a:pt x="327" y="268"/>
                    <a:pt x="327" y="268"/>
                  </a:cubicBezTo>
                  <a:cubicBezTo>
                    <a:pt x="327" y="268"/>
                    <a:pt x="327" y="268"/>
                    <a:pt x="327" y="268"/>
                  </a:cubicBezTo>
                  <a:moveTo>
                    <a:pt x="330" y="267"/>
                  </a:moveTo>
                  <a:cubicBezTo>
                    <a:pt x="330" y="267"/>
                    <a:pt x="330" y="267"/>
                    <a:pt x="331" y="267"/>
                  </a:cubicBezTo>
                  <a:cubicBezTo>
                    <a:pt x="331" y="267"/>
                    <a:pt x="331" y="267"/>
                    <a:pt x="331" y="267"/>
                  </a:cubicBezTo>
                  <a:cubicBezTo>
                    <a:pt x="331" y="267"/>
                    <a:pt x="332" y="267"/>
                    <a:pt x="332" y="267"/>
                  </a:cubicBezTo>
                  <a:cubicBezTo>
                    <a:pt x="331" y="267"/>
                    <a:pt x="330" y="267"/>
                    <a:pt x="330" y="267"/>
                  </a:cubicBezTo>
                  <a:moveTo>
                    <a:pt x="332" y="267"/>
                  </a:moveTo>
                  <a:cubicBezTo>
                    <a:pt x="332" y="267"/>
                    <a:pt x="332" y="267"/>
                    <a:pt x="332" y="267"/>
                  </a:cubicBezTo>
                  <a:cubicBezTo>
                    <a:pt x="333" y="267"/>
                    <a:pt x="333" y="267"/>
                    <a:pt x="333" y="267"/>
                  </a:cubicBezTo>
                  <a:cubicBezTo>
                    <a:pt x="333" y="267"/>
                    <a:pt x="333" y="267"/>
                    <a:pt x="332" y="267"/>
                  </a:cubicBezTo>
                  <a:moveTo>
                    <a:pt x="384" y="258"/>
                  </a:moveTo>
                  <a:cubicBezTo>
                    <a:pt x="384" y="258"/>
                    <a:pt x="384" y="258"/>
                    <a:pt x="384" y="258"/>
                  </a:cubicBezTo>
                  <a:cubicBezTo>
                    <a:pt x="384" y="258"/>
                    <a:pt x="384" y="258"/>
                    <a:pt x="384" y="258"/>
                  </a:cubicBezTo>
                  <a:moveTo>
                    <a:pt x="384" y="259"/>
                  </a:moveTo>
                  <a:cubicBezTo>
                    <a:pt x="384" y="259"/>
                    <a:pt x="384" y="259"/>
                    <a:pt x="384" y="259"/>
                  </a:cubicBezTo>
                  <a:cubicBezTo>
                    <a:pt x="384" y="259"/>
                    <a:pt x="384" y="259"/>
                    <a:pt x="384" y="259"/>
                  </a:cubicBezTo>
                </a:path>
              </a:pathLst>
            </a:custGeom>
            <a:solidFill>
              <a:srgbClr val="F8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17"/>
              <a:endParaRPr lang="en-US" sz="1764">
                <a:solidFill>
                  <a:srgbClr val="FFFFFF"/>
                </a:solidFill>
              </a:endParaRPr>
            </a:p>
          </p:txBody>
        </p:sp>
        <p:sp>
          <p:nvSpPr>
            <p:cNvPr id="59" name="Freeform 52"/>
            <p:cNvSpPr>
              <a:spLocks/>
            </p:cNvSpPr>
            <p:nvPr userDrawn="1"/>
          </p:nvSpPr>
          <p:spPr bwMode="auto">
            <a:xfrm>
              <a:off x="19416713" y="3192463"/>
              <a:ext cx="36513" cy="58738"/>
            </a:xfrm>
            <a:custGeom>
              <a:avLst/>
              <a:gdLst>
                <a:gd name="T0" fmla="*/ 9 w 13"/>
                <a:gd name="T1" fmla="*/ 20 h 21"/>
                <a:gd name="T2" fmla="*/ 11 w 13"/>
                <a:gd name="T3" fmla="*/ 0 h 21"/>
                <a:gd name="T4" fmla="*/ 4 w 13"/>
                <a:gd name="T5" fmla="*/ 6 h 21"/>
                <a:gd name="T6" fmla="*/ 9 w 13"/>
                <a:gd name="T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1">
                  <a:moveTo>
                    <a:pt x="9" y="20"/>
                  </a:moveTo>
                  <a:cubicBezTo>
                    <a:pt x="13" y="20"/>
                    <a:pt x="13" y="0"/>
                    <a:pt x="11" y="0"/>
                  </a:cubicBezTo>
                  <a:cubicBezTo>
                    <a:pt x="9" y="0"/>
                    <a:pt x="9" y="3"/>
                    <a:pt x="4" y="6"/>
                  </a:cubicBezTo>
                  <a:cubicBezTo>
                    <a:pt x="0" y="9"/>
                    <a:pt x="4" y="21"/>
                    <a:pt x="9" y="20"/>
                  </a:cubicBezTo>
                </a:path>
              </a:pathLst>
            </a:custGeom>
            <a:solidFill>
              <a:srgbClr val="F8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17"/>
              <a:endParaRPr lang="en-US" sz="1764">
                <a:solidFill>
                  <a:srgbClr val="FFFFFF"/>
                </a:solidFill>
              </a:endParaRPr>
            </a:p>
          </p:txBody>
        </p:sp>
        <p:sp>
          <p:nvSpPr>
            <p:cNvPr id="60" name="Freeform 53"/>
            <p:cNvSpPr>
              <a:spLocks/>
            </p:cNvSpPr>
            <p:nvPr userDrawn="1"/>
          </p:nvSpPr>
          <p:spPr bwMode="auto">
            <a:xfrm>
              <a:off x="19234150" y="3295650"/>
              <a:ext cx="33338" cy="33338"/>
            </a:xfrm>
            <a:custGeom>
              <a:avLst/>
              <a:gdLst>
                <a:gd name="T0" fmla="*/ 2 w 12"/>
                <a:gd name="T1" fmla="*/ 9 h 12"/>
                <a:gd name="T2" fmla="*/ 12 w 12"/>
                <a:gd name="T3" fmla="*/ 6 h 12"/>
                <a:gd name="T4" fmla="*/ 2 w 12"/>
                <a:gd name="T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2" y="9"/>
                  </a:moveTo>
                  <a:cubicBezTo>
                    <a:pt x="7" y="12"/>
                    <a:pt x="12" y="11"/>
                    <a:pt x="12" y="6"/>
                  </a:cubicBezTo>
                  <a:cubicBezTo>
                    <a:pt x="11" y="0"/>
                    <a:pt x="0" y="7"/>
                    <a:pt x="2" y="9"/>
                  </a:cubicBezTo>
                </a:path>
              </a:pathLst>
            </a:custGeom>
            <a:solidFill>
              <a:srgbClr val="F8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17"/>
              <a:endParaRPr lang="en-US" sz="1764">
                <a:solidFill>
                  <a:srgbClr val="FFFFFF"/>
                </a:solidFill>
              </a:endParaRPr>
            </a:p>
          </p:txBody>
        </p:sp>
        <p:sp>
          <p:nvSpPr>
            <p:cNvPr id="61" name="Freeform 54"/>
            <p:cNvSpPr>
              <a:spLocks/>
            </p:cNvSpPr>
            <p:nvPr userDrawn="1"/>
          </p:nvSpPr>
          <p:spPr bwMode="auto">
            <a:xfrm>
              <a:off x="19535775" y="3359150"/>
              <a:ext cx="88900" cy="55563"/>
            </a:xfrm>
            <a:custGeom>
              <a:avLst/>
              <a:gdLst>
                <a:gd name="T0" fmla="*/ 23 w 32"/>
                <a:gd name="T1" fmla="*/ 2 h 20"/>
                <a:gd name="T2" fmla="*/ 10 w 32"/>
                <a:gd name="T3" fmla="*/ 2 h 20"/>
                <a:gd name="T4" fmla="*/ 1 w 32"/>
                <a:gd name="T5" fmla="*/ 7 h 20"/>
                <a:gd name="T6" fmla="*/ 12 w 32"/>
                <a:gd name="T7" fmla="*/ 13 h 20"/>
                <a:gd name="T8" fmla="*/ 24 w 32"/>
                <a:gd name="T9" fmla="*/ 20 h 20"/>
                <a:gd name="T10" fmla="*/ 27 w 32"/>
                <a:gd name="T11" fmla="*/ 13 h 20"/>
                <a:gd name="T12" fmla="*/ 32 w 32"/>
                <a:gd name="T13" fmla="*/ 3 h 20"/>
                <a:gd name="T14" fmla="*/ 23 w 32"/>
                <a:gd name="T15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20">
                  <a:moveTo>
                    <a:pt x="23" y="2"/>
                  </a:moveTo>
                  <a:cubicBezTo>
                    <a:pt x="17" y="4"/>
                    <a:pt x="14" y="4"/>
                    <a:pt x="10" y="2"/>
                  </a:cubicBezTo>
                  <a:cubicBezTo>
                    <a:pt x="6" y="0"/>
                    <a:pt x="0" y="4"/>
                    <a:pt x="1" y="7"/>
                  </a:cubicBezTo>
                  <a:cubicBezTo>
                    <a:pt x="2" y="8"/>
                    <a:pt x="4" y="11"/>
                    <a:pt x="12" y="13"/>
                  </a:cubicBezTo>
                  <a:cubicBezTo>
                    <a:pt x="20" y="15"/>
                    <a:pt x="21" y="20"/>
                    <a:pt x="24" y="20"/>
                  </a:cubicBezTo>
                  <a:cubicBezTo>
                    <a:pt x="28" y="20"/>
                    <a:pt x="28" y="17"/>
                    <a:pt x="27" y="13"/>
                  </a:cubicBezTo>
                  <a:cubicBezTo>
                    <a:pt x="26" y="9"/>
                    <a:pt x="31" y="4"/>
                    <a:pt x="32" y="3"/>
                  </a:cubicBezTo>
                  <a:cubicBezTo>
                    <a:pt x="32" y="2"/>
                    <a:pt x="30" y="1"/>
                    <a:pt x="23" y="2"/>
                  </a:cubicBezTo>
                </a:path>
              </a:pathLst>
            </a:custGeom>
            <a:solidFill>
              <a:srgbClr val="F8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17"/>
              <a:endParaRPr lang="en-US" sz="1764">
                <a:solidFill>
                  <a:srgbClr val="FFFFFF"/>
                </a:solidFill>
              </a:endParaRPr>
            </a:p>
          </p:txBody>
        </p:sp>
        <p:sp>
          <p:nvSpPr>
            <p:cNvPr id="62" name="Freeform 55"/>
            <p:cNvSpPr>
              <a:spLocks/>
            </p:cNvSpPr>
            <p:nvPr userDrawn="1"/>
          </p:nvSpPr>
          <p:spPr bwMode="auto">
            <a:xfrm>
              <a:off x="19405600" y="3257550"/>
              <a:ext cx="55563" cy="90488"/>
            </a:xfrm>
            <a:custGeom>
              <a:avLst/>
              <a:gdLst>
                <a:gd name="T0" fmla="*/ 9 w 20"/>
                <a:gd name="T1" fmla="*/ 3 h 33"/>
                <a:gd name="T2" fmla="*/ 1 w 20"/>
                <a:gd name="T3" fmla="*/ 5 h 33"/>
                <a:gd name="T4" fmla="*/ 5 w 20"/>
                <a:gd name="T5" fmla="*/ 19 h 33"/>
                <a:gd name="T6" fmla="*/ 10 w 20"/>
                <a:gd name="T7" fmla="*/ 29 h 33"/>
                <a:gd name="T8" fmla="*/ 17 w 20"/>
                <a:gd name="T9" fmla="*/ 25 h 33"/>
                <a:gd name="T10" fmla="*/ 19 w 20"/>
                <a:gd name="T11" fmla="*/ 7 h 33"/>
                <a:gd name="T12" fmla="*/ 9 w 20"/>
                <a:gd name="T13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33">
                  <a:moveTo>
                    <a:pt x="9" y="3"/>
                  </a:moveTo>
                  <a:cubicBezTo>
                    <a:pt x="6" y="6"/>
                    <a:pt x="3" y="3"/>
                    <a:pt x="1" y="5"/>
                  </a:cubicBezTo>
                  <a:cubicBezTo>
                    <a:pt x="0" y="8"/>
                    <a:pt x="7" y="13"/>
                    <a:pt x="5" y="19"/>
                  </a:cubicBezTo>
                  <a:cubicBezTo>
                    <a:pt x="4" y="25"/>
                    <a:pt x="6" y="33"/>
                    <a:pt x="10" y="29"/>
                  </a:cubicBezTo>
                  <a:cubicBezTo>
                    <a:pt x="13" y="26"/>
                    <a:pt x="15" y="27"/>
                    <a:pt x="17" y="25"/>
                  </a:cubicBezTo>
                  <a:cubicBezTo>
                    <a:pt x="19" y="22"/>
                    <a:pt x="17" y="12"/>
                    <a:pt x="19" y="7"/>
                  </a:cubicBezTo>
                  <a:cubicBezTo>
                    <a:pt x="20" y="3"/>
                    <a:pt x="13" y="0"/>
                    <a:pt x="9" y="3"/>
                  </a:cubicBezTo>
                </a:path>
              </a:pathLst>
            </a:custGeom>
            <a:solidFill>
              <a:srgbClr val="F8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17"/>
              <a:endParaRPr lang="en-US" sz="1764">
                <a:solidFill>
                  <a:srgbClr val="FFFFFF"/>
                </a:solidFill>
              </a:endParaRPr>
            </a:p>
          </p:txBody>
        </p:sp>
        <p:sp>
          <p:nvSpPr>
            <p:cNvPr id="63" name="Freeform 56"/>
            <p:cNvSpPr>
              <a:spLocks/>
            </p:cNvSpPr>
            <p:nvPr userDrawn="1"/>
          </p:nvSpPr>
          <p:spPr bwMode="auto">
            <a:xfrm>
              <a:off x="19843750" y="3446463"/>
              <a:ext cx="88900" cy="26988"/>
            </a:xfrm>
            <a:custGeom>
              <a:avLst/>
              <a:gdLst>
                <a:gd name="T0" fmla="*/ 26 w 32"/>
                <a:gd name="T1" fmla="*/ 5 h 10"/>
                <a:gd name="T2" fmla="*/ 9 w 32"/>
                <a:gd name="T3" fmla="*/ 3 h 10"/>
                <a:gd name="T4" fmla="*/ 2 w 32"/>
                <a:gd name="T5" fmla="*/ 6 h 10"/>
                <a:gd name="T6" fmla="*/ 18 w 32"/>
                <a:gd name="T7" fmla="*/ 10 h 10"/>
                <a:gd name="T8" fmla="*/ 32 w 32"/>
                <a:gd name="T9" fmla="*/ 5 h 10"/>
                <a:gd name="T10" fmla="*/ 26 w 32"/>
                <a:gd name="T1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10">
                  <a:moveTo>
                    <a:pt x="26" y="5"/>
                  </a:moveTo>
                  <a:cubicBezTo>
                    <a:pt x="23" y="3"/>
                    <a:pt x="12" y="6"/>
                    <a:pt x="9" y="3"/>
                  </a:cubicBezTo>
                  <a:cubicBezTo>
                    <a:pt x="6" y="0"/>
                    <a:pt x="0" y="5"/>
                    <a:pt x="2" y="6"/>
                  </a:cubicBezTo>
                  <a:cubicBezTo>
                    <a:pt x="6" y="6"/>
                    <a:pt x="12" y="10"/>
                    <a:pt x="18" y="10"/>
                  </a:cubicBezTo>
                  <a:cubicBezTo>
                    <a:pt x="24" y="10"/>
                    <a:pt x="32" y="7"/>
                    <a:pt x="32" y="5"/>
                  </a:cubicBezTo>
                  <a:cubicBezTo>
                    <a:pt x="32" y="4"/>
                    <a:pt x="28" y="6"/>
                    <a:pt x="26" y="5"/>
                  </a:cubicBezTo>
                </a:path>
              </a:pathLst>
            </a:custGeom>
            <a:solidFill>
              <a:srgbClr val="F8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17"/>
              <a:endParaRPr lang="en-US" sz="1764">
                <a:solidFill>
                  <a:srgbClr val="FFFFFF"/>
                </a:solidFill>
              </a:endParaRPr>
            </a:p>
          </p:txBody>
        </p:sp>
        <p:sp>
          <p:nvSpPr>
            <p:cNvPr id="64" name="Freeform 57"/>
            <p:cNvSpPr>
              <a:spLocks/>
            </p:cNvSpPr>
            <p:nvPr userDrawn="1"/>
          </p:nvSpPr>
          <p:spPr bwMode="auto">
            <a:xfrm>
              <a:off x="18853150" y="2709863"/>
              <a:ext cx="152400" cy="161925"/>
            </a:xfrm>
            <a:custGeom>
              <a:avLst/>
              <a:gdLst>
                <a:gd name="T0" fmla="*/ 31 w 55"/>
                <a:gd name="T1" fmla="*/ 50 h 58"/>
                <a:gd name="T2" fmla="*/ 44 w 55"/>
                <a:gd name="T3" fmla="*/ 48 h 58"/>
                <a:gd name="T4" fmla="*/ 44 w 55"/>
                <a:gd name="T5" fmla="*/ 23 h 58"/>
                <a:gd name="T6" fmla="*/ 44 w 55"/>
                <a:gd name="T7" fmla="*/ 21 h 58"/>
                <a:gd name="T8" fmla="*/ 52 w 55"/>
                <a:gd name="T9" fmla="*/ 16 h 58"/>
                <a:gd name="T10" fmla="*/ 46 w 55"/>
                <a:gd name="T11" fmla="*/ 4 h 58"/>
                <a:gd name="T12" fmla="*/ 33 w 55"/>
                <a:gd name="T13" fmla="*/ 6 h 58"/>
                <a:gd name="T14" fmla="*/ 31 w 55"/>
                <a:gd name="T15" fmla="*/ 6 h 58"/>
                <a:gd name="T16" fmla="*/ 20 w 55"/>
                <a:gd name="T17" fmla="*/ 8 h 58"/>
                <a:gd name="T18" fmla="*/ 26 w 55"/>
                <a:gd name="T19" fmla="*/ 13 h 58"/>
                <a:gd name="T20" fmla="*/ 17 w 55"/>
                <a:gd name="T21" fmla="*/ 18 h 58"/>
                <a:gd name="T22" fmla="*/ 5 w 55"/>
                <a:gd name="T23" fmla="*/ 18 h 58"/>
                <a:gd name="T24" fmla="*/ 7 w 55"/>
                <a:gd name="T25" fmla="*/ 26 h 58"/>
                <a:gd name="T26" fmla="*/ 12 w 55"/>
                <a:gd name="T27" fmla="*/ 34 h 58"/>
                <a:gd name="T28" fmla="*/ 9 w 55"/>
                <a:gd name="T29" fmla="*/ 43 h 58"/>
                <a:gd name="T30" fmla="*/ 2 w 55"/>
                <a:gd name="T31" fmla="*/ 50 h 58"/>
                <a:gd name="T32" fmla="*/ 12 w 55"/>
                <a:gd name="T33" fmla="*/ 58 h 58"/>
                <a:gd name="T34" fmla="*/ 31 w 55"/>
                <a:gd name="T35" fmla="*/ 5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5" h="58">
                  <a:moveTo>
                    <a:pt x="31" y="50"/>
                  </a:moveTo>
                  <a:cubicBezTo>
                    <a:pt x="36" y="45"/>
                    <a:pt x="39" y="50"/>
                    <a:pt x="44" y="48"/>
                  </a:cubicBezTo>
                  <a:cubicBezTo>
                    <a:pt x="49" y="45"/>
                    <a:pt x="46" y="27"/>
                    <a:pt x="44" y="23"/>
                  </a:cubicBezTo>
                  <a:cubicBezTo>
                    <a:pt x="43" y="22"/>
                    <a:pt x="44" y="22"/>
                    <a:pt x="44" y="21"/>
                  </a:cubicBezTo>
                  <a:cubicBezTo>
                    <a:pt x="44" y="19"/>
                    <a:pt x="49" y="19"/>
                    <a:pt x="52" y="16"/>
                  </a:cubicBezTo>
                  <a:cubicBezTo>
                    <a:pt x="55" y="13"/>
                    <a:pt x="50" y="8"/>
                    <a:pt x="46" y="4"/>
                  </a:cubicBezTo>
                  <a:cubicBezTo>
                    <a:pt x="42" y="0"/>
                    <a:pt x="37" y="6"/>
                    <a:pt x="33" y="6"/>
                  </a:cubicBezTo>
                  <a:cubicBezTo>
                    <a:pt x="32" y="6"/>
                    <a:pt x="32" y="6"/>
                    <a:pt x="31" y="6"/>
                  </a:cubicBezTo>
                  <a:cubicBezTo>
                    <a:pt x="27" y="4"/>
                    <a:pt x="21" y="4"/>
                    <a:pt x="20" y="8"/>
                  </a:cubicBezTo>
                  <a:cubicBezTo>
                    <a:pt x="20" y="12"/>
                    <a:pt x="25" y="11"/>
                    <a:pt x="26" y="13"/>
                  </a:cubicBezTo>
                  <a:cubicBezTo>
                    <a:pt x="26" y="16"/>
                    <a:pt x="20" y="15"/>
                    <a:pt x="17" y="18"/>
                  </a:cubicBezTo>
                  <a:cubicBezTo>
                    <a:pt x="13" y="20"/>
                    <a:pt x="9" y="16"/>
                    <a:pt x="5" y="18"/>
                  </a:cubicBezTo>
                  <a:cubicBezTo>
                    <a:pt x="2" y="20"/>
                    <a:pt x="10" y="22"/>
                    <a:pt x="7" y="26"/>
                  </a:cubicBezTo>
                  <a:cubicBezTo>
                    <a:pt x="4" y="30"/>
                    <a:pt x="7" y="30"/>
                    <a:pt x="12" y="34"/>
                  </a:cubicBezTo>
                  <a:cubicBezTo>
                    <a:pt x="16" y="37"/>
                    <a:pt x="9" y="38"/>
                    <a:pt x="9" y="43"/>
                  </a:cubicBezTo>
                  <a:cubicBezTo>
                    <a:pt x="9" y="47"/>
                    <a:pt x="3" y="47"/>
                    <a:pt x="2" y="50"/>
                  </a:cubicBezTo>
                  <a:cubicBezTo>
                    <a:pt x="0" y="52"/>
                    <a:pt x="7" y="58"/>
                    <a:pt x="12" y="58"/>
                  </a:cubicBezTo>
                  <a:cubicBezTo>
                    <a:pt x="16" y="58"/>
                    <a:pt x="25" y="56"/>
                    <a:pt x="31" y="50"/>
                  </a:cubicBezTo>
                </a:path>
              </a:pathLst>
            </a:custGeom>
            <a:solidFill>
              <a:srgbClr val="F8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17"/>
              <a:endParaRPr lang="en-US" sz="1764">
                <a:solidFill>
                  <a:srgbClr val="FFFFFF"/>
                </a:solidFill>
              </a:endParaRPr>
            </a:p>
          </p:txBody>
        </p:sp>
        <p:sp>
          <p:nvSpPr>
            <p:cNvPr id="65" name="Freeform 58"/>
            <p:cNvSpPr>
              <a:spLocks/>
            </p:cNvSpPr>
            <p:nvPr userDrawn="1"/>
          </p:nvSpPr>
          <p:spPr bwMode="auto">
            <a:xfrm>
              <a:off x="19119850" y="2479675"/>
              <a:ext cx="22225" cy="39688"/>
            </a:xfrm>
            <a:custGeom>
              <a:avLst/>
              <a:gdLst>
                <a:gd name="T0" fmla="*/ 2 w 8"/>
                <a:gd name="T1" fmla="*/ 13 h 14"/>
                <a:gd name="T2" fmla="*/ 4 w 8"/>
                <a:gd name="T3" fmla="*/ 1 h 14"/>
                <a:gd name="T4" fmla="*/ 2 w 8"/>
                <a:gd name="T5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4">
                  <a:moveTo>
                    <a:pt x="2" y="13"/>
                  </a:moveTo>
                  <a:cubicBezTo>
                    <a:pt x="5" y="10"/>
                    <a:pt x="8" y="0"/>
                    <a:pt x="4" y="1"/>
                  </a:cubicBezTo>
                  <a:cubicBezTo>
                    <a:pt x="0" y="2"/>
                    <a:pt x="1" y="14"/>
                    <a:pt x="2" y="13"/>
                  </a:cubicBezTo>
                </a:path>
              </a:pathLst>
            </a:custGeom>
            <a:solidFill>
              <a:srgbClr val="F8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17"/>
              <a:endParaRPr lang="en-US" sz="1764">
                <a:solidFill>
                  <a:srgbClr val="FFFFFF"/>
                </a:solidFill>
              </a:endParaRPr>
            </a:p>
          </p:txBody>
        </p:sp>
        <p:sp>
          <p:nvSpPr>
            <p:cNvPr id="66" name="Freeform 59"/>
            <p:cNvSpPr>
              <a:spLocks/>
            </p:cNvSpPr>
            <p:nvPr userDrawn="1"/>
          </p:nvSpPr>
          <p:spPr bwMode="auto">
            <a:xfrm>
              <a:off x="18961100" y="2557463"/>
              <a:ext cx="261938" cy="377825"/>
            </a:xfrm>
            <a:custGeom>
              <a:avLst/>
              <a:gdLst>
                <a:gd name="T0" fmla="*/ 3 w 94"/>
                <a:gd name="T1" fmla="*/ 24 h 136"/>
                <a:gd name="T2" fmla="*/ 11 w 94"/>
                <a:gd name="T3" fmla="*/ 30 h 136"/>
                <a:gd name="T4" fmla="*/ 7 w 94"/>
                <a:gd name="T5" fmla="*/ 38 h 136"/>
                <a:gd name="T6" fmla="*/ 12 w 94"/>
                <a:gd name="T7" fmla="*/ 44 h 136"/>
                <a:gd name="T8" fmla="*/ 3 w 94"/>
                <a:gd name="T9" fmla="*/ 50 h 136"/>
                <a:gd name="T10" fmla="*/ 11 w 94"/>
                <a:gd name="T11" fmla="*/ 48 h 136"/>
                <a:gd name="T12" fmla="*/ 15 w 94"/>
                <a:gd name="T13" fmla="*/ 54 h 136"/>
                <a:gd name="T14" fmla="*/ 22 w 94"/>
                <a:gd name="T15" fmla="*/ 46 h 136"/>
                <a:gd name="T16" fmla="*/ 22 w 94"/>
                <a:gd name="T17" fmla="*/ 53 h 136"/>
                <a:gd name="T18" fmla="*/ 19 w 94"/>
                <a:gd name="T19" fmla="*/ 64 h 136"/>
                <a:gd name="T20" fmla="*/ 34 w 94"/>
                <a:gd name="T21" fmla="*/ 63 h 136"/>
                <a:gd name="T22" fmla="*/ 37 w 94"/>
                <a:gd name="T23" fmla="*/ 66 h 136"/>
                <a:gd name="T24" fmla="*/ 38 w 94"/>
                <a:gd name="T25" fmla="*/ 72 h 136"/>
                <a:gd name="T26" fmla="*/ 41 w 94"/>
                <a:gd name="T27" fmla="*/ 76 h 136"/>
                <a:gd name="T28" fmla="*/ 40 w 94"/>
                <a:gd name="T29" fmla="*/ 86 h 136"/>
                <a:gd name="T30" fmla="*/ 29 w 94"/>
                <a:gd name="T31" fmla="*/ 86 h 136"/>
                <a:gd name="T32" fmla="*/ 26 w 94"/>
                <a:gd name="T33" fmla="*/ 88 h 136"/>
                <a:gd name="T34" fmla="*/ 23 w 94"/>
                <a:gd name="T35" fmla="*/ 95 h 136"/>
                <a:gd name="T36" fmla="*/ 29 w 94"/>
                <a:gd name="T37" fmla="*/ 99 h 136"/>
                <a:gd name="T38" fmla="*/ 19 w 94"/>
                <a:gd name="T39" fmla="*/ 106 h 136"/>
                <a:gd name="T40" fmla="*/ 23 w 94"/>
                <a:gd name="T41" fmla="*/ 111 h 136"/>
                <a:gd name="T42" fmla="*/ 29 w 94"/>
                <a:gd name="T43" fmla="*/ 112 h 136"/>
                <a:gd name="T44" fmla="*/ 41 w 94"/>
                <a:gd name="T45" fmla="*/ 114 h 136"/>
                <a:gd name="T46" fmla="*/ 42 w 94"/>
                <a:gd name="T47" fmla="*/ 116 h 136"/>
                <a:gd name="T48" fmla="*/ 30 w 94"/>
                <a:gd name="T49" fmla="*/ 118 h 136"/>
                <a:gd name="T50" fmla="*/ 16 w 94"/>
                <a:gd name="T51" fmla="*/ 135 h 136"/>
                <a:gd name="T52" fmla="*/ 24 w 94"/>
                <a:gd name="T53" fmla="*/ 130 h 136"/>
                <a:gd name="T54" fmla="*/ 32 w 94"/>
                <a:gd name="T55" fmla="*/ 132 h 136"/>
                <a:gd name="T56" fmla="*/ 37 w 94"/>
                <a:gd name="T57" fmla="*/ 127 h 136"/>
                <a:gd name="T58" fmla="*/ 44 w 94"/>
                <a:gd name="T59" fmla="*/ 126 h 136"/>
                <a:gd name="T60" fmla="*/ 53 w 94"/>
                <a:gd name="T61" fmla="*/ 123 h 136"/>
                <a:gd name="T62" fmla="*/ 61 w 94"/>
                <a:gd name="T63" fmla="*/ 126 h 136"/>
                <a:gd name="T64" fmla="*/ 73 w 94"/>
                <a:gd name="T65" fmla="*/ 123 h 136"/>
                <a:gd name="T66" fmla="*/ 88 w 94"/>
                <a:gd name="T67" fmla="*/ 117 h 136"/>
                <a:gd name="T68" fmla="*/ 84 w 94"/>
                <a:gd name="T69" fmla="*/ 115 h 136"/>
                <a:gd name="T70" fmla="*/ 84 w 94"/>
                <a:gd name="T71" fmla="*/ 109 h 136"/>
                <a:gd name="T72" fmla="*/ 93 w 94"/>
                <a:gd name="T73" fmla="*/ 98 h 136"/>
                <a:gd name="T74" fmla="*/ 82 w 94"/>
                <a:gd name="T75" fmla="*/ 93 h 136"/>
                <a:gd name="T76" fmla="*/ 77 w 94"/>
                <a:gd name="T77" fmla="*/ 92 h 136"/>
                <a:gd name="T78" fmla="*/ 77 w 94"/>
                <a:gd name="T79" fmla="*/ 86 h 136"/>
                <a:gd name="T80" fmla="*/ 73 w 94"/>
                <a:gd name="T81" fmla="*/ 81 h 136"/>
                <a:gd name="T82" fmla="*/ 65 w 94"/>
                <a:gd name="T83" fmla="*/ 68 h 136"/>
                <a:gd name="T84" fmla="*/ 58 w 94"/>
                <a:gd name="T85" fmla="*/ 55 h 136"/>
                <a:gd name="T86" fmla="*/ 51 w 94"/>
                <a:gd name="T87" fmla="*/ 49 h 136"/>
                <a:gd name="T88" fmla="*/ 41 w 94"/>
                <a:gd name="T89" fmla="*/ 48 h 136"/>
                <a:gd name="T90" fmla="*/ 45 w 94"/>
                <a:gd name="T91" fmla="*/ 41 h 136"/>
                <a:gd name="T92" fmla="*/ 53 w 94"/>
                <a:gd name="T93" fmla="*/ 22 h 136"/>
                <a:gd name="T94" fmla="*/ 34 w 94"/>
                <a:gd name="T95" fmla="*/ 21 h 136"/>
                <a:gd name="T96" fmla="*/ 30 w 94"/>
                <a:gd name="T97" fmla="*/ 18 h 136"/>
                <a:gd name="T98" fmla="*/ 38 w 94"/>
                <a:gd name="T99" fmla="*/ 9 h 136"/>
                <a:gd name="T100" fmla="*/ 40 w 94"/>
                <a:gd name="T101" fmla="*/ 3 h 136"/>
                <a:gd name="T102" fmla="*/ 35 w 94"/>
                <a:gd name="T103" fmla="*/ 7 h 136"/>
                <a:gd name="T104" fmla="*/ 23 w 94"/>
                <a:gd name="T105" fmla="*/ 7 h 136"/>
                <a:gd name="T106" fmla="*/ 17 w 94"/>
                <a:gd name="T107" fmla="*/ 16 h 136"/>
                <a:gd name="T108" fmla="*/ 12 w 94"/>
                <a:gd name="T109" fmla="*/ 23 h 136"/>
                <a:gd name="T110" fmla="*/ 9 w 94"/>
                <a:gd name="T111" fmla="*/ 26 h 136"/>
                <a:gd name="T112" fmla="*/ 3 w 94"/>
                <a:gd name="T113" fmla="*/ 2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4" h="136">
                  <a:moveTo>
                    <a:pt x="3" y="24"/>
                  </a:moveTo>
                  <a:cubicBezTo>
                    <a:pt x="0" y="26"/>
                    <a:pt x="6" y="30"/>
                    <a:pt x="11" y="30"/>
                  </a:cubicBezTo>
                  <a:cubicBezTo>
                    <a:pt x="15" y="31"/>
                    <a:pt x="7" y="34"/>
                    <a:pt x="7" y="38"/>
                  </a:cubicBezTo>
                  <a:cubicBezTo>
                    <a:pt x="6" y="42"/>
                    <a:pt x="12" y="41"/>
                    <a:pt x="12" y="44"/>
                  </a:cubicBezTo>
                  <a:cubicBezTo>
                    <a:pt x="13" y="47"/>
                    <a:pt x="3" y="47"/>
                    <a:pt x="3" y="50"/>
                  </a:cubicBezTo>
                  <a:cubicBezTo>
                    <a:pt x="3" y="53"/>
                    <a:pt x="9" y="49"/>
                    <a:pt x="11" y="48"/>
                  </a:cubicBezTo>
                  <a:cubicBezTo>
                    <a:pt x="13" y="46"/>
                    <a:pt x="10" y="55"/>
                    <a:pt x="15" y="54"/>
                  </a:cubicBezTo>
                  <a:cubicBezTo>
                    <a:pt x="21" y="53"/>
                    <a:pt x="20" y="45"/>
                    <a:pt x="22" y="46"/>
                  </a:cubicBezTo>
                  <a:cubicBezTo>
                    <a:pt x="24" y="46"/>
                    <a:pt x="21" y="50"/>
                    <a:pt x="22" y="53"/>
                  </a:cubicBezTo>
                  <a:cubicBezTo>
                    <a:pt x="24" y="57"/>
                    <a:pt x="18" y="62"/>
                    <a:pt x="19" y="64"/>
                  </a:cubicBezTo>
                  <a:cubicBezTo>
                    <a:pt x="19" y="66"/>
                    <a:pt x="30" y="66"/>
                    <a:pt x="34" y="63"/>
                  </a:cubicBezTo>
                  <a:cubicBezTo>
                    <a:pt x="38" y="59"/>
                    <a:pt x="39" y="63"/>
                    <a:pt x="37" y="66"/>
                  </a:cubicBezTo>
                  <a:cubicBezTo>
                    <a:pt x="34" y="69"/>
                    <a:pt x="35" y="71"/>
                    <a:pt x="38" y="72"/>
                  </a:cubicBezTo>
                  <a:cubicBezTo>
                    <a:pt x="42" y="73"/>
                    <a:pt x="43" y="74"/>
                    <a:pt x="41" y="76"/>
                  </a:cubicBezTo>
                  <a:cubicBezTo>
                    <a:pt x="40" y="79"/>
                    <a:pt x="41" y="84"/>
                    <a:pt x="40" y="86"/>
                  </a:cubicBezTo>
                  <a:cubicBezTo>
                    <a:pt x="40" y="88"/>
                    <a:pt x="30" y="88"/>
                    <a:pt x="29" y="86"/>
                  </a:cubicBezTo>
                  <a:cubicBezTo>
                    <a:pt x="29" y="85"/>
                    <a:pt x="25" y="86"/>
                    <a:pt x="26" y="88"/>
                  </a:cubicBezTo>
                  <a:cubicBezTo>
                    <a:pt x="27" y="90"/>
                    <a:pt x="23" y="93"/>
                    <a:pt x="23" y="95"/>
                  </a:cubicBezTo>
                  <a:cubicBezTo>
                    <a:pt x="23" y="97"/>
                    <a:pt x="29" y="96"/>
                    <a:pt x="29" y="99"/>
                  </a:cubicBezTo>
                  <a:cubicBezTo>
                    <a:pt x="29" y="101"/>
                    <a:pt x="25" y="104"/>
                    <a:pt x="19" y="106"/>
                  </a:cubicBezTo>
                  <a:cubicBezTo>
                    <a:pt x="13" y="108"/>
                    <a:pt x="20" y="113"/>
                    <a:pt x="23" y="111"/>
                  </a:cubicBezTo>
                  <a:cubicBezTo>
                    <a:pt x="26" y="108"/>
                    <a:pt x="25" y="112"/>
                    <a:pt x="29" y="112"/>
                  </a:cubicBezTo>
                  <a:cubicBezTo>
                    <a:pt x="34" y="112"/>
                    <a:pt x="36" y="115"/>
                    <a:pt x="41" y="114"/>
                  </a:cubicBezTo>
                  <a:cubicBezTo>
                    <a:pt x="45" y="112"/>
                    <a:pt x="45" y="114"/>
                    <a:pt x="42" y="116"/>
                  </a:cubicBezTo>
                  <a:cubicBezTo>
                    <a:pt x="38" y="119"/>
                    <a:pt x="33" y="116"/>
                    <a:pt x="30" y="118"/>
                  </a:cubicBezTo>
                  <a:cubicBezTo>
                    <a:pt x="27" y="120"/>
                    <a:pt x="14" y="132"/>
                    <a:pt x="16" y="135"/>
                  </a:cubicBezTo>
                  <a:cubicBezTo>
                    <a:pt x="18" y="136"/>
                    <a:pt x="20" y="132"/>
                    <a:pt x="24" y="130"/>
                  </a:cubicBezTo>
                  <a:cubicBezTo>
                    <a:pt x="29" y="128"/>
                    <a:pt x="29" y="131"/>
                    <a:pt x="32" y="132"/>
                  </a:cubicBezTo>
                  <a:cubicBezTo>
                    <a:pt x="35" y="132"/>
                    <a:pt x="35" y="126"/>
                    <a:pt x="37" y="127"/>
                  </a:cubicBezTo>
                  <a:cubicBezTo>
                    <a:pt x="39" y="127"/>
                    <a:pt x="41" y="125"/>
                    <a:pt x="44" y="126"/>
                  </a:cubicBezTo>
                  <a:cubicBezTo>
                    <a:pt x="48" y="126"/>
                    <a:pt x="51" y="125"/>
                    <a:pt x="53" y="123"/>
                  </a:cubicBezTo>
                  <a:cubicBezTo>
                    <a:pt x="55" y="122"/>
                    <a:pt x="60" y="127"/>
                    <a:pt x="61" y="126"/>
                  </a:cubicBezTo>
                  <a:cubicBezTo>
                    <a:pt x="63" y="124"/>
                    <a:pt x="70" y="123"/>
                    <a:pt x="73" y="123"/>
                  </a:cubicBezTo>
                  <a:cubicBezTo>
                    <a:pt x="77" y="123"/>
                    <a:pt x="86" y="119"/>
                    <a:pt x="88" y="117"/>
                  </a:cubicBezTo>
                  <a:cubicBezTo>
                    <a:pt x="91" y="115"/>
                    <a:pt x="87" y="114"/>
                    <a:pt x="84" y="115"/>
                  </a:cubicBezTo>
                  <a:cubicBezTo>
                    <a:pt x="80" y="115"/>
                    <a:pt x="81" y="112"/>
                    <a:pt x="84" y="109"/>
                  </a:cubicBezTo>
                  <a:cubicBezTo>
                    <a:pt x="88" y="105"/>
                    <a:pt x="93" y="103"/>
                    <a:pt x="93" y="98"/>
                  </a:cubicBezTo>
                  <a:cubicBezTo>
                    <a:pt x="94" y="94"/>
                    <a:pt x="83" y="90"/>
                    <a:pt x="82" y="93"/>
                  </a:cubicBezTo>
                  <a:cubicBezTo>
                    <a:pt x="81" y="95"/>
                    <a:pt x="79" y="95"/>
                    <a:pt x="77" y="92"/>
                  </a:cubicBezTo>
                  <a:cubicBezTo>
                    <a:pt x="75" y="89"/>
                    <a:pt x="78" y="87"/>
                    <a:pt x="77" y="86"/>
                  </a:cubicBezTo>
                  <a:cubicBezTo>
                    <a:pt x="75" y="86"/>
                    <a:pt x="73" y="82"/>
                    <a:pt x="73" y="81"/>
                  </a:cubicBezTo>
                  <a:cubicBezTo>
                    <a:pt x="74" y="79"/>
                    <a:pt x="71" y="69"/>
                    <a:pt x="65" y="68"/>
                  </a:cubicBezTo>
                  <a:cubicBezTo>
                    <a:pt x="60" y="66"/>
                    <a:pt x="59" y="59"/>
                    <a:pt x="58" y="55"/>
                  </a:cubicBezTo>
                  <a:cubicBezTo>
                    <a:pt x="57" y="51"/>
                    <a:pt x="54" y="53"/>
                    <a:pt x="51" y="49"/>
                  </a:cubicBezTo>
                  <a:cubicBezTo>
                    <a:pt x="48" y="46"/>
                    <a:pt x="44" y="48"/>
                    <a:pt x="41" y="48"/>
                  </a:cubicBezTo>
                  <a:cubicBezTo>
                    <a:pt x="39" y="48"/>
                    <a:pt x="41" y="43"/>
                    <a:pt x="45" y="41"/>
                  </a:cubicBezTo>
                  <a:cubicBezTo>
                    <a:pt x="49" y="38"/>
                    <a:pt x="53" y="25"/>
                    <a:pt x="53" y="22"/>
                  </a:cubicBezTo>
                  <a:cubicBezTo>
                    <a:pt x="53" y="19"/>
                    <a:pt x="37" y="20"/>
                    <a:pt x="34" y="21"/>
                  </a:cubicBezTo>
                  <a:cubicBezTo>
                    <a:pt x="30" y="23"/>
                    <a:pt x="27" y="19"/>
                    <a:pt x="30" y="18"/>
                  </a:cubicBezTo>
                  <a:cubicBezTo>
                    <a:pt x="33" y="17"/>
                    <a:pt x="38" y="11"/>
                    <a:pt x="38" y="9"/>
                  </a:cubicBezTo>
                  <a:cubicBezTo>
                    <a:pt x="38" y="7"/>
                    <a:pt x="42" y="5"/>
                    <a:pt x="40" y="3"/>
                  </a:cubicBezTo>
                  <a:cubicBezTo>
                    <a:pt x="37" y="0"/>
                    <a:pt x="37" y="5"/>
                    <a:pt x="35" y="7"/>
                  </a:cubicBezTo>
                  <a:cubicBezTo>
                    <a:pt x="33" y="8"/>
                    <a:pt x="28" y="8"/>
                    <a:pt x="23" y="7"/>
                  </a:cubicBezTo>
                  <a:cubicBezTo>
                    <a:pt x="18" y="6"/>
                    <a:pt x="17" y="13"/>
                    <a:pt x="17" y="16"/>
                  </a:cubicBezTo>
                  <a:cubicBezTo>
                    <a:pt x="17" y="19"/>
                    <a:pt x="11" y="21"/>
                    <a:pt x="12" y="23"/>
                  </a:cubicBezTo>
                  <a:cubicBezTo>
                    <a:pt x="13" y="26"/>
                    <a:pt x="11" y="28"/>
                    <a:pt x="9" y="26"/>
                  </a:cubicBezTo>
                  <a:cubicBezTo>
                    <a:pt x="8" y="25"/>
                    <a:pt x="6" y="21"/>
                    <a:pt x="3" y="24"/>
                  </a:cubicBezTo>
                </a:path>
              </a:pathLst>
            </a:custGeom>
            <a:solidFill>
              <a:srgbClr val="F8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17"/>
              <a:endParaRPr lang="en-US" sz="1764">
                <a:solidFill>
                  <a:srgbClr val="FFFFFF"/>
                </a:solidFill>
              </a:endParaRPr>
            </a:p>
          </p:txBody>
        </p:sp>
        <p:sp>
          <p:nvSpPr>
            <p:cNvPr id="67" name="Freeform 60"/>
            <p:cNvSpPr>
              <a:spLocks/>
            </p:cNvSpPr>
            <p:nvPr userDrawn="1"/>
          </p:nvSpPr>
          <p:spPr bwMode="auto">
            <a:xfrm>
              <a:off x="18948400" y="2579688"/>
              <a:ext cx="34925" cy="30163"/>
            </a:xfrm>
            <a:custGeom>
              <a:avLst/>
              <a:gdLst>
                <a:gd name="T0" fmla="*/ 3 w 13"/>
                <a:gd name="T1" fmla="*/ 11 h 11"/>
                <a:gd name="T2" fmla="*/ 10 w 13"/>
                <a:gd name="T3" fmla="*/ 2 h 11"/>
                <a:gd name="T4" fmla="*/ 3 w 13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3" y="11"/>
                  </a:moveTo>
                  <a:cubicBezTo>
                    <a:pt x="8" y="11"/>
                    <a:pt x="13" y="4"/>
                    <a:pt x="10" y="2"/>
                  </a:cubicBezTo>
                  <a:cubicBezTo>
                    <a:pt x="8" y="0"/>
                    <a:pt x="0" y="11"/>
                    <a:pt x="3" y="11"/>
                  </a:cubicBezTo>
                </a:path>
              </a:pathLst>
            </a:custGeom>
            <a:solidFill>
              <a:srgbClr val="F8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17"/>
              <a:endParaRPr lang="en-US" sz="1764">
                <a:solidFill>
                  <a:srgbClr val="FFFFFF"/>
                </a:solidFill>
              </a:endParaRPr>
            </a:p>
          </p:txBody>
        </p:sp>
        <p:sp>
          <p:nvSpPr>
            <p:cNvPr id="68" name="Freeform 61"/>
            <p:cNvSpPr>
              <a:spLocks/>
            </p:cNvSpPr>
            <p:nvPr userDrawn="1"/>
          </p:nvSpPr>
          <p:spPr bwMode="auto">
            <a:xfrm>
              <a:off x="19494500" y="2679700"/>
              <a:ext cx="52388" cy="66675"/>
            </a:xfrm>
            <a:custGeom>
              <a:avLst/>
              <a:gdLst>
                <a:gd name="T0" fmla="*/ 17 w 19"/>
                <a:gd name="T1" fmla="*/ 3 h 24"/>
                <a:gd name="T2" fmla="*/ 14 w 19"/>
                <a:gd name="T3" fmla="*/ 6 h 24"/>
                <a:gd name="T4" fmla="*/ 10 w 19"/>
                <a:gd name="T5" fmla="*/ 3 h 24"/>
                <a:gd name="T6" fmla="*/ 3 w 19"/>
                <a:gd name="T7" fmla="*/ 6 h 24"/>
                <a:gd name="T8" fmla="*/ 7 w 19"/>
                <a:gd name="T9" fmla="*/ 16 h 24"/>
                <a:gd name="T10" fmla="*/ 4 w 19"/>
                <a:gd name="T11" fmla="*/ 19 h 24"/>
                <a:gd name="T12" fmla="*/ 7 w 19"/>
                <a:gd name="T13" fmla="*/ 24 h 24"/>
                <a:gd name="T14" fmla="*/ 15 w 19"/>
                <a:gd name="T15" fmla="*/ 15 h 24"/>
                <a:gd name="T16" fmla="*/ 17 w 19"/>
                <a:gd name="T17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24">
                  <a:moveTo>
                    <a:pt x="17" y="3"/>
                  </a:moveTo>
                  <a:cubicBezTo>
                    <a:pt x="16" y="2"/>
                    <a:pt x="15" y="5"/>
                    <a:pt x="14" y="6"/>
                  </a:cubicBezTo>
                  <a:cubicBezTo>
                    <a:pt x="12" y="6"/>
                    <a:pt x="11" y="0"/>
                    <a:pt x="10" y="3"/>
                  </a:cubicBezTo>
                  <a:cubicBezTo>
                    <a:pt x="10" y="7"/>
                    <a:pt x="6" y="2"/>
                    <a:pt x="3" y="6"/>
                  </a:cubicBezTo>
                  <a:cubicBezTo>
                    <a:pt x="0" y="11"/>
                    <a:pt x="5" y="15"/>
                    <a:pt x="7" y="16"/>
                  </a:cubicBezTo>
                  <a:cubicBezTo>
                    <a:pt x="10" y="17"/>
                    <a:pt x="7" y="19"/>
                    <a:pt x="4" y="19"/>
                  </a:cubicBezTo>
                  <a:cubicBezTo>
                    <a:pt x="2" y="18"/>
                    <a:pt x="3" y="23"/>
                    <a:pt x="7" y="24"/>
                  </a:cubicBezTo>
                  <a:cubicBezTo>
                    <a:pt x="11" y="24"/>
                    <a:pt x="15" y="17"/>
                    <a:pt x="15" y="15"/>
                  </a:cubicBezTo>
                  <a:cubicBezTo>
                    <a:pt x="14" y="13"/>
                    <a:pt x="19" y="4"/>
                    <a:pt x="17" y="3"/>
                  </a:cubicBezTo>
                </a:path>
              </a:pathLst>
            </a:custGeom>
            <a:solidFill>
              <a:srgbClr val="F8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17"/>
              <a:endParaRPr lang="en-US" sz="1764">
                <a:solidFill>
                  <a:srgbClr val="FFFFFF"/>
                </a:solidFill>
              </a:endParaRPr>
            </a:p>
          </p:txBody>
        </p:sp>
        <p:sp>
          <p:nvSpPr>
            <p:cNvPr id="69" name="Freeform 62"/>
            <p:cNvSpPr>
              <a:spLocks/>
            </p:cNvSpPr>
            <p:nvPr userDrawn="1"/>
          </p:nvSpPr>
          <p:spPr bwMode="auto">
            <a:xfrm>
              <a:off x="19694525" y="2608263"/>
              <a:ext cx="41275" cy="44450"/>
            </a:xfrm>
            <a:custGeom>
              <a:avLst/>
              <a:gdLst>
                <a:gd name="T0" fmla="*/ 2 w 15"/>
                <a:gd name="T1" fmla="*/ 14 h 16"/>
                <a:gd name="T2" fmla="*/ 9 w 15"/>
                <a:gd name="T3" fmla="*/ 0 h 16"/>
                <a:gd name="T4" fmla="*/ 2 w 15"/>
                <a:gd name="T5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6">
                  <a:moveTo>
                    <a:pt x="2" y="14"/>
                  </a:moveTo>
                  <a:cubicBezTo>
                    <a:pt x="3" y="16"/>
                    <a:pt x="15" y="0"/>
                    <a:pt x="9" y="0"/>
                  </a:cubicBezTo>
                  <a:cubicBezTo>
                    <a:pt x="3" y="0"/>
                    <a:pt x="0" y="12"/>
                    <a:pt x="2" y="14"/>
                  </a:cubicBezTo>
                </a:path>
              </a:pathLst>
            </a:custGeom>
            <a:solidFill>
              <a:srgbClr val="F8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17"/>
              <a:endParaRPr lang="en-US" sz="1764">
                <a:solidFill>
                  <a:srgbClr val="FFFFFF"/>
                </a:solidFill>
              </a:endParaRPr>
            </a:p>
          </p:txBody>
        </p:sp>
        <p:sp>
          <p:nvSpPr>
            <p:cNvPr id="70" name="Freeform 63"/>
            <p:cNvSpPr>
              <a:spLocks/>
            </p:cNvSpPr>
            <p:nvPr userDrawn="1"/>
          </p:nvSpPr>
          <p:spPr bwMode="auto">
            <a:xfrm>
              <a:off x="19810413" y="2554288"/>
              <a:ext cx="30163" cy="11113"/>
            </a:xfrm>
            <a:custGeom>
              <a:avLst/>
              <a:gdLst>
                <a:gd name="T0" fmla="*/ 9 w 11"/>
                <a:gd name="T1" fmla="*/ 2 h 4"/>
                <a:gd name="T2" fmla="*/ 3 w 11"/>
                <a:gd name="T3" fmla="*/ 3 h 4"/>
                <a:gd name="T4" fmla="*/ 9 w 11"/>
                <a:gd name="T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4">
                  <a:moveTo>
                    <a:pt x="9" y="2"/>
                  </a:moveTo>
                  <a:cubicBezTo>
                    <a:pt x="11" y="0"/>
                    <a:pt x="0" y="1"/>
                    <a:pt x="3" y="3"/>
                  </a:cubicBezTo>
                  <a:cubicBezTo>
                    <a:pt x="4" y="4"/>
                    <a:pt x="8" y="4"/>
                    <a:pt x="9" y="2"/>
                  </a:cubicBezTo>
                </a:path>
              </a:pathLst>
            </a:custGeom>
            <a:solidFill>
              <a:srgbClr val="F8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17"/>
              <a:endParaRPr lang="en-US" sz="1764">
                <a:solidFill>
                  <a:srgbClr val="FFFFFF"/>
                </a:solidFill>
              </a:endParaRPr>
            </a:p>
          </p:txBody>
        </p:sp>
        <p:sp>
          <p:nvSpPr>
            <p:cNvPr id="71" name="Freeform 64"/>
            <p:cNvSpPr>
              <a:spLocks/>
            </p:cNvSpPr>
            <p:nvPr userDrawn="1"/>
          </p:nvSpPr>
          <p:spPr bwMode="auto">
            <a:xfrm>
              <a:off x="19805650" y="2568575"/>
              <a:ext cx="41275" cy="30163"/>
            </a:xfrm>
            <a:custGeom>
              <a:avLst/>
              <a:gdLst>
                <a:gd name="T0" fmla="*/ 2 w 15"/>
                <a:gd name="T1" fmla="*/ 11 h 11"/>
                <a:gd name="T2" fmla="*/ 13 w 15"/>
                <a:gd name="T3" fmla="*/ 4 h 11"/>
                <a:gd name="T4" fmla="*/ 7 w 15"/>
                <a:gd name="T5" fmla="*/ 2 h 11"/>
                <a:gd name="T6" fmla="*/ 2 w 15"/>
                <a:gd name="T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1">
                  <a:moveTo>
                    <a:pt x="2" y="11"/>
                  </a:moveTo>
                  <a:cubicBezTo>
                    <a:pt x="5" y="11"/>
                    <a:pt x="12" y="5"/>
                    <a:pt x="13" y="4"/>
                  </a:cubicBezTo>
                  <a:cubicBezTo>
                    <a:pt x="15" y="2"/>
                    <a:pt x="12" y="0"/>
                    <a:pt x="7" y="2"/>
                  </a:cubicBezTo>
                  <a:cubicBezTo>
                    <a:pt x="1" y="3"/>
                    <a:pt x="0" y="11"/>
                    <a:pt x="2" y="11"/>
                  </a:cubicBezTo>
                </a:path>
              </a:pathLst>
            </a:custGeom>
            <a:solidFill>
              <a:srgbClr val="F8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17"/>
              <a:endParaRPr lang="en-US" sz="1764">
                <a:solidFill>
                  <a:srgbClr val="FFFFFF"/>
                </a:solidFill>
              </a:endParaRPr>
            </a:p>
          </p:txBody>
        </p:sp>
        <p:sp>
          <p:nvSpPr>
            <p:cNvPr id="72" name="Freeform 65"/>
            <p:cNvSpPr>
              <a:spLocks/>
            </p:cNvSpPr>
            <p:nvPr userDrawn="1"/>
          </p:nvSpPr>
          <p:spPr bwMode="auto">
            <a:xfrm>
              <a:off x="20051713" y="2035175"/>
              <a:ext cx="3175" cy="3175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1" y="0"/>
                  </a:cubicBezTo>
                </a:path>
              </a:pathLst>
            </a:custGeom>
            <a:solidFill>
              <a:srgbClr val="F8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17"/>
              <a:endParaRPr lang="en-US" sz="1764">
                <a:solidFill>
                  <a:srgbClr val="FFFFFF"/>
                </a:solidFill>
              </a:endParaRPr>
            </a:p>
          </p:txBody>
        </p:sp>
        <p:sp>
          <p:nvSpPr>
            <p:cNvPr id="73" name="Freeform 66"/>
            <p:cNvSpPr>
              <a:spLocks noEditPoints="1"/>
            </p:cNvSpPr>
            <p:nvPr userDrawn="1"/>
          </p:nvSpPr>
          <p:spPr bwMode="auto">
            <a:xfrm>
              <a:off x="19310350" y="1957388"/>
              <a:ext cx="781050" cy="760413"/>
            </a:xfrm>
            <a:custGeom>
              <a:avLst/>
              <a:gdLst>
                <a:gd name="T0" fmla="*/ 4 w 281"/>
                <a:gd name="T1" fmla="*/ 189 h 274"/>
                <a:gd name="T2" fmla="*/ 18 w 281"/>
                <a:gd name="T3" fmla="*/ 198 h 274"/>
                <a:gd name="T4" fmla="*/ 4 w 281"/>
                <a:gd name="T5" fmla="*/ 211 h 274"/>
                <a:gd name="T6" fmla="*/ 8 w 281"/>
                <a:gd name="T7" fmla="*/ 218 h 274"/>
                <a:gd name="T8" fmla="*/ 59 w 281"/>
                <a:gd name="T9" fmla="*/ 214 h 274"/>
                <a:gd name="T10" fmla="*/ 69 w 281"/>
                <a:gd name="T11" fmla="*/ 218 h 274"/>
                <a:gd name="T12" fmla="*/ 85 w 281"/>
                <a:gd name="T13" fmla="*/ 258 h 274"/>
                <a:gd name="T14" fmla="*/ 100 w 281"/>
                <a:gd name="T15" fmla="*/ 265 h 274"/>
                <a:gd name="T16" fmla="*/ 122 w 281"/>
                <a:gd name="T17" fmla="*/ 257 h 274"/>
                <a:gd name="T18" fmla="*/ 126 w 281"/>
                <a:gd name="T19" fmla="*/ 225 h 274"/>
                <a:gd name="T20" fmla="*/ 138 w 281"/>
                <a:gd name="T21" fmla="*/ 190 h 274"/>
                <a:gd name="T22" fmla="*/ 136 w 281"/>
                <a:gd name="T23" fmla="*/ 157 h 274"/>
                <a:gd name="T24" fmla="*/ 175 w 281"/>
                <a:gd name="T25" fmla="*/ 126 h 274"/>
                <a:gd name="T26" fmla="*/ 196 w 281"/>
                <a:gd name="T27" fmla="*/ 100 h 274"/>
                <a:gd name="T28" fmla="*/ 212 w 281"/>
                <a:gd name="T29" fmla="*/ 116 h 274"/>
                <a:gd name="T30" fmla="*/ 184 w 281"/>
                <a:gd name="T31" fmla="*/ 142 h 274"/>
                <a:gd name="T32" fmla="*/ 173 w 281"/>
                <a:gd name="T33" fmla="*/ 166 h 274"/>
                <a:gd name="T34" fmla="*/ 188 w 281"/>
                <a:gd name="T35" fmla="*/ 197 h 274"/>
                <a:gd name="T36" fmla="*/ 248 w 281"/>
                <a:gd name="T37" fmla="*/ 184 h 274"/>
                <a:gd name="T38" fmla="*/ 264 w 281"/>
                <a:gd name="T39" fmla="*/ 137 h 274"/>
                <a:gd name="T40" fmla="*/ 261 w 281"/>
                <a:gd name="T41" fmla="*/ 116 h 274"/>
                <a:gd name="T42" fmla="*/ 255 w 281"/>
                <a:gd name="T43" fmla="*/ 82 h 274"/>
                <a:gd name="T44" fmla="*/ 251 w 281"/>
                <a:gd name="T45" fmla="*/ 56 h 274"/>
                <a:gd name="T46" fmla="*/ 257 w 281"/>
                <a:gd name="T47" fmla="*/ 38 h 274"/>
                <a:gd name="T48" fmla="*/ 257 w 281"/>
                <a:gd name="T49" fmla="*/ 22 h 274"/>
                <a:gd name="T50" fmla="*/ 271 w 281"/>
                <a:gd name="T51" fmla="*/ 12 h 274"/>
                <a:gd name="T52" fmla="*/ 246 w 281"/>
                <a:gd name="T53" fmla="*/ 13 h 274"/>
                <a:gd name="T54" fmla="*/ 230 w 281"/>
                <a:gd name="T55" fmla="*/ 16 h 274"/>
                <a:gd name="T56" fmla="*/ 215 w 281"/>
                <a:gd name="T57" fmla="*/ 14 h 274"/>
                <a:gd name="T58" fmla="*/ 207 w 281"/>
                <a:gd name="T59" fmla="*/ 5 h 274"/>
                <a:gd name="T60" fmla="*/ 193 w 281"/>
                <a:gd name="T61" fmla="*/ 17 h 274"/>
                <a:gd name="T62" fmla="*/ 196 w 281"/>
                <a:gd name="T63" fmla="*/ 7 h 274"/>
                <a:gd name="T64" fmla="*/ 181 w 281"/>
                <a:gd name="T65" fmla="*/ 19 h 274"/>
                <a:gd name="T66" fmla="*/ 168 w 281"/>
                <a:gd name="T67" fmla="*/ 20 h 274"/>
                <a:gd name="T68" fmla="*/ 158 w 281"/>
                <a:gd name="T69" fmla="*/ 27 h 274"/>
                <a:gd name="T70" fmla="*/ 146 w 281"/>
                <a:gd name="T71" fmla="*/ 29 h 274"/>
                <a:gd name="T72" fmla="*/ 126 w 281"/>
                <a:gd name="T73" fmla="*/ 40 h 274"/>
                <a:gd name="T74" fmla="*/ 127 w 281"/>
                <a:gd name="T75" fmla="*/ 47 h 274"/>
                <a:gd name="T76" fmla="*/ 113 w 281"/>
                <a:gd name="T77" fmla="*/ 43 h 274"/>
                <a:gd name="T78" fmla="*/ 92 w 281"/>
                <a:gd name="T79" fmla="*/ 62 h 274"/>
                <a:gd name="T80" fmla="*/ 123 w 281"/>
                <a:gd name="T81" fmla="*/ 53 h 274"/>
                <a:gd name="T82" fmla="*/ 110 w 281"/>
                <a:gd name="T83" fmla="*/ 62 h 274"/>
                <a:gd name="T84" fmla="*/ 90 w 281"/>
                <a:gd name="T85" fmla="*/ 95 h 274"/>
                <a:gd name="T86" fmla="*/ 74 w 281"/>
                <a:gd name="T87" fmla="*/ 114 h 274"/>
                <a:gd name="T88" fmla="*/ 60 w 281"/>
                <a:gd name="T89" fmla="*/ 128 h 274"/>
                <a:gd name="T90" fmla="*/ 41 w 281"/>
                <a:gd name="T91" fmla="*/ 145 h 274"/>
                <a:gd name="T92" fmla="*/ 21 w 281"/>
                <a:gd name="T93" fmla="*/ 156 h 274"/>
                <a:gd name="T94" fmla="*/ 2 w 281"/>
                <a:gd name="T95" fmla="*/ 171 h 274"/>
                <a:gd name="T96" fmla="*/ 177 w 281"/>
                <a:gd name="T97" fmla="*/ 49 h 274"/>
                <a:gd name="T98" fmla="*/ 169 w 281"/>
                <a:gd name="T99" fmla="*/ 4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1" h="274">
                  <a:moveTo>
                    <a:pt x="6" y="176"/>
                  </a:moveTo>
                  <a:cubicBezTo>
                    <a:pt x="6" y="178"/>
                    <a:pt x="2" y="180"/>
                    <a:pt x="5" y="180"/>
                  </a:cubicBezTo>
                  <a:cubicBezTo>
                    <a:pt x="8" y="181"/>
                    <a:pt x="5" y="183"/>
                    <a:pt x="4" y="184"/>
                  </a:cubicBezTo>
                  <a:cubicBezTo>
                    <a:pt x="2" y="185"/>
                    <a:pt x="2" y="187"/>
                    <a:pt x="4" y="189"/>
                  </a:cubicBezTo>
                  <a:cubicBezTo>
                    <a:pt x="5" y="192"/>
                    <a:pt x="0" y="192"/>
                    <a:pt x="3" y="196"/>
                  </a:cubicBezTo>
                  <a:cubicBezTo>
                    <a:pt x="5" y="199"/>
                    <a:pt x="7" y="195"/>
                    <a:pt x="8" y="198"/>
                  </a:cubicBezTo>
                  <a:cubicBezTo>
                    <a:pt x="9" y="200"/>
                    <a:pt x="12" y="198"/>
                    <a:pt x="16" y="195"/>
                  </a:cubicBezTo>
                  <a:cubicBezTo>
                    <a:pt x="19" y="192"/>
                    <a:pt x="21" y="198"/>
                    <a:pt x="18" y="198"/>
                  </a:cubicBezTo>
                  <a:cubicBezTo>
                    <a:pt x="15" y="198"/>
                    <a:pt x="12" y="200"/>
                    <a:pt x="12" y="202"/>
                  </a:cubicBezTo>
                  <a:cubicBezTo>
                    <a:pt x="13" y="205"/>
                    <a:pt x="8" y="205"/>
                    <a:pt x="8" y="201"/>
                  </a:cubicBezTo>
                  <a:cubicBezTo>
                    <a:pt x="8" y="198"/>
                    <a:pt x="2" y="202"/>
                    <a:pt x="4" y="204"/>
                  </a:cubicBezTo>
                  <a:cubicBezTo>
                    <a:pt x="7" y="207"/>
                    <a:pt x="4" y="208"/>
                    <a:pt x="4" y="211"/>
                  </a:cubicBezTo>
                  <a:cubicBezTo>
                    <a:pt x="4" y="213"/>
                    <a:pt x="8" y="213"/>
                    <a:pt x="10" y="210"/>
                  </a:cubicBezTo>
                  <a:cubicBezTo>
                    <a:pt x="11" y="207"/>
                    <a:pt x="14" y="208"/>
                    <a:pt x="15" y="211"/>
                  </a:cubicBezTo>
                  <a:cubicBezTo>
                    <a:pt x="16" y="213"/>
                    <a:pt x="13" y="211"/>
                    <a:pt x="13" y="215"/>
                  </a:cubicBezTo>
                  <a:cubicBezTo>
                    <a:pt x="13" y="219"/>
                    <a:pt x="10" y="215"/>
                    <a:pt x="8" y="218"/>
                  </a:cubicBezTo>
                  <a:cubicBezTo>
                    <a:pt x="6" y="221"/>
                    <a:pt x="16" y="226"/>
                    <a:pt x="19" y="227"/>
                  </a:cubicBezTo>
                  <a:cubicBezTo>
                    <a:pt x="23" y="228"/>
                    <a:pt x="26" y="231"/>
                    <a:pt x="32" y="230"/>
                  </a:cubicBezTo>
                  <a:cubicBezTo>
                    <a:pt x="38" y="229"/>
                    <a:pt x="50" y="218"/>
                    <a:pt x="52" y="216"/>
                  </a:cubicBezTo>
                  <a:cubicBezTo>
                    <a:pt x="53" y="214"/>
                    <a:pt x="57" y="216"/>
                    <a:pt x="59" y="214"/>
                  </a:cubicBezTo>
                  <a:cubicBezTo>
                    <a:pt x="62" y="212"/>
                    <a:pt x="60" y="207"/>
                    <a:pt x="62" y="206"/>
                  </a:cubicBezTo>
                  <a:cubicBezTo>
                    <a:pt x="64" y="205"/>
                    <a:pt x="65" y="212"/>
                    <a:pt x="66" y="212"/>
                  </a:cubicBezTo>
                  <a:cubicBezTo>
                    <a:pt x="68" y="213"/>
                    <a:pt x="69" y="214"/>
                    <a:pt x="69" y="217"/>
                  </a:cubicBezTo>
                  <a:cubicBezTo>
                    <a:pt x="69" y="217"/>
                    <a:pt x="69" y="218"/>
                    <a:pt x="69" y="218"/>
                  </a:cubicBezTo>
                  <a:cubicBezTo>
                    <a:pt x="68" y="222"/>
                    <a:pt x="70" y="226"/>
                    <a:pt x="73" y="229"/>
                  </a:cubicBezTo>
                  <a:cubicBezTo>
                    <a:pt x="77" y="232"/>
                    <a:pt x="74" y="236"/>
                    <a:pt x="77" y="240"/>
                  </a:cubicBezTo>
                  <a:cubicBezTo>
                    <a:pt x="80" y="244"/>
                    <a:pt x="79" y="247"/>
                    <a:pt x="83" y="249"/>
                  </a:cubicBezTo>
                  <a:cubicBezTo>
                    <a:pt x="86" y="252"/>
                    <a:pt x="86" y="254"/>
                    <a:pt x="85" y="258"/>
                  </a:cubicBezTo>
                  <a:cubicBezTo>
                    <a:pt x="83" y="261"/>
                    <a:pt x="88" y="260"/>
                    <a:pt x="88" y="262"/>
                  </a:cubicBezTo>
                  <a:cubicBezTo>
                    <a:pt x="88" y="265"/>
                    <a:pt x="87" y="269"/>
                    <a:pt x="88" y="271"/>
                  </a:cubicBezTo>
                  <a:cubicBezTo>
                    <a:pt x="89" y="274"/>
                    <a:pt x="91" y="271"/>
                    <a:pt x="96" y="271"/>
                  </a:cubicBezTo>
                  <a:cubicBezTo>
                    <a:pt x="101" y="271"/>
                    <a:pt x="100" y="268"/>
                    <a:pt x="100" y="265"/>
                  </a:cubicBezTo>
                  <a:cubicBezTo>
                    <a:pt x="100" y="262"/>
                    <a:pt x="103" y="263"/>
                    <a:pt x="104" y="261"/>
                  </a:cubicBezTo>
                  <a:cubicBezTo>
                    <a:pt x="104" y="260"/>
                    <a:pt x="109" y="259"/>
                    <a:pt x="112" y="261"/>
                  </a:cubicBezTo>
                  <a:cubicBezTo>
                    <a:pt x="116" y="262"/>
                    <a:pt x="118" y="260"/>
                    <a:pt x="119" y="256"/>
                  </a:cubicBezTo>
                  <a:cubicBezTo>
                    <a:pt x="119" y="252"/>
                    <a:pt x="121" y="257"/>
                    <a:pt x="122" y="257"/>
                  </a:cubicBezTo>
                  <a:cubicBezTo>
                    <a:pt x="123" y="258"/>
                    <a:pt x="127" y="252"/>
                    <a:pt x="128" y="247"/>
                  </a:cubicBezTo>
                  <a:cubicBezTo>
                    <a:pt x="130" y="243"/>
                    <a:pt x="128" y="244"/>
                    <a:pt x="125" y="248"/>
                  </a:cubicBezTo>
                  <a:cubicBezTo>
                    <a:pt x="121" y="252"/>
                    <a:pt x="123" y="244"/>
                    <a:pt x="124" y="240"/>
                  </a:cubicBezTo>
                  <a:cubicBezTo>
                    <a:pt x="126" y="237"/>
                    <a:pt x="126" y="228"/>
                    <a:pt x="126" y="225"/>
                  </a:cubicBezTo>
                  <a:cubicBezTo>
                    <a:pt x="127" y="223"/>
                    <a:pt x="128" y="220"/>
                    <a:pt x="132" y="219"/>
                  </a:cubicBezTo>
                  <a:cubicBezTo>
                    <a:pt x="137" y="218"/>
                    <a:pt x="143" y="212"/>
                    <a:pt x="142" y="210"/>
                  </a:cubicBezTo>
                  <a:cubicBezTo>
                    <a:pt x="141" y="207"/>
                    <a:pt x="148" y="204"/>
                    <a:pt x="148" y="201"/>
                  </a:cubicBezTo>
                  <a:cubicBezTo>
                    <a:pt x="148" y="199"/>
                    <a:pt x="140" y="192"/>
                    <a:pt x="138" y="190"/>
                  </a:cubicBezTo>
                  <a:cubicBezTo>
                    <a:pt x="135" y="188"/>
                    <a:pt x="130" y="190"/>
                    <a:pt x="130" y="188"/>
                  </a:cubicBezTo>
                  <a:cubicBezTo>
                    <a:pt x="131" y="186"/>
                    <a:pt x="130" y="179"/>
                    <a:pt x="129" y="176"/>
                  </a:cubicBezTo>
                  <a:cubicBezTo>
                    <a:pt x="128" y="172"/>
                    <a:pt x="133" y="169"/>
                    <a:pt x="133" y="165"/>
                  </a:cubicBezTo>
                  <a:cubicBezTo>
                    <a:pt x="133" y="162"/>
                    <a:pt x="133" y="158"/>
                    <a:pt x="136" y="157"/>
                  </a:cubicBezTo>
                  <a:cubicBezTo>
                    <a:pt x="139" y="156"/>
                    <a:pt x="137" y="153"/>
                    <a:pt x="141" y="152"/>
                  </a:cubicBezTo>
                  <a:cubicBezTo>
                    <a:pt x="145" y="151"/>
                    <a:pt x="144" y="146"/>
                    <a:pt x="148" y="144"/>
                  </a:cubicBezTo>
                  <a:cubicBezTo>
                    <a:pt x="153" y="142"/>
                    <a:pt x="153" y="141"/>
                    <a:pt x="158" y="138"/>
                  </a:cubicBezTo>
                  <a:cubicBezTo>
                    <a:pt x="164" y="135"/>
                    <a:pt x="173" y="129"/>
                    <a:pt x="175" y="126"/>
                  </a:cubicBezTo>
                  <a:cubicBezTo>
                    <a:pt x="176" y="123"/>
                    <a:pt x="169" y="119"/>
                    <a:pt x="174" y="116"/>
                  </a:cubicBezTo>
                  <a:cubicBezTo>
                    <a:pt x="178" y="112"/>
                    <a:pt x="175" y="108"/>
                    <a:pt x="178" y="107"/>
                  </a:cubicBezTo>
                  <a:cubicBezTo>
                    <a:pt x="181" y="106"/>
                    <a:pt x="182" y="104"/>
                    <a:pt x="185" y="101"/>
                  </a:cubicBezTo>
                  <a:cubicBezTo>
                    <a:pt x="187" y="99"/>
                    <a:pt x="190" y="101"/>
                    <a:pt x="196" y="100"/>
                  </a:cubicBezTo>
                  <a:cubicBezTo>
                    <a:pt x="198" y="100"/>
                    <a:pt x="200" y="100"/>
                    <a:pt x="202" y="100"/>
                  </a:cubicBezTo>
                  <a:cubicBezTo>
                    <a:pt x="205" y="101"/>
                    <a:pt x="208" y="103"/>
                    <a:pt x="210" y="104"/>
                  </a:cubicBezTo>
                  <a:cubicBezTo>
                    <a:pt x="215" y="106"/>
                    <a:pt x="214" y="109"/>
                    <a:pt x="214" y="112"/>
                  </a:cubicBezTo>
                  <a:cubicBezTo>
                    <a:pt x="214" y="116"/>
                    <a:pt x="215" y="117"/>
                    <a:pt x="212" y="116"/>
                  </a:cubicBezTo>
                  <a:cubicBezTo>
                    <a:pt x="210" y="115"/>
                    <a:pt x="208" y="116"/>
                    <a:pt x="206" y="121"/>
                  </a:cubicBezTo>
                  <a:cubicBezTo>
                    <a:pt x="205" y="126"/>
                    <a:pt x="199" y="131"/>
                    <a:pt x="196" y="132"/>
                  </a:cubicBezTo>
                  <a:cubicBezTo>
                    <a:pt x="192" y="132"/>
                    <a:pt x="192" y="136"/>
                    <a:pt x="189" y="136"/>
                  </a:cubicBezTo>
                  <a:cubicBezTo>
                    <a:pt x="186" y="137"/>
                    <a:pt x="183" y="139"/>
                    <a:pt x="184" y="142"/>
                  </a:cubicBezTo>
                  <a:cubicBezTo>
                    <a:pt x="184" y="146"/>
                    <a:pt x="179" y="146"/>
                    <a:pt x="176" y="146"/>
                  </a:cubicBezTo>
                  <a:cubicBezTo>
                    <a:pt x="173" y="146"/>
                    <a:pt x="174" y="151"/>
                    <a:pt x="171" y="153"/>
                  </a:cubicBezTo>
                  <a:cubicBezTo>
                    <a:pt x="169" y="154"/>
                    <a:pt x="170" y="156"/>
                    <a:pt x="172" y="159"/>
                  </a:cubicBezTo>
                  <a:cubicBezTo>
                    <a:pt x="174" y="162"/>
                    <a:pt x="172" y="164"/>
                    <a:pt x="173" y="166"/>
                  </a:cubicBezTo>
                  <a:cubicBezTo>
                    <a:pt x="174" y="168"/>
                    <a:pt x="177" y="173"/>
                    <a:pt x="175" y="178"/>
                  </a:cubicBezTo>
                  <a:cubicBezTo>
                    <a:pt x="172" y="183"/>
                    <a:pt x="170" y="190"/>
                    <a:pt x="172" y="189"/>
                  </a:cubicBezTo>
                  <a:cubicBezTo>
                    <a:pt x="174" y="189"/>
                    <a:pt x="179" y="194"/>
                    <a:pt x="182" y="193"/>
                  </a:cubicBezTo>
                  <a:cubicBezTo>
                    <a:pt x="185" y="193"/>
                    <a:pt x="185" y="198"/>
                    <a:pt x="188" y="197"/>
                  </a:cubicBezTo>
                  <a:cubicBezTo>
                    <a:pt x="191" y="196"/>
                    <a:pt x="191" y="200"/>
                    <a:pt x="200" y="199"/>
                  </a:cubicBezTo>
                  <a:cubicBezTo>
                    <a:pt x="209" y="199"/>
                    <a:pt x="226" y="192"/>
                    <a:pt x="233" y="192"/>
                  </a:cubicBezTo>
                  <a:cubicBezTo>
                    <a:pt x="237" y="192"/>
                    <a:pt x="240" y="191"/>
                    <a:pt x="243" y="191"/>
                  </a:cubicBezTo>
                  <a:cubicBezTo>
                    <a:pt x="244" y="188"/>
                    <a:pt x="246" y="186"/>
                    <a:pt x="248" y="184"/>
                  </a:cubicBezTo>
                  <a:cubicBezTo>
                    <a:pt x="252" y="180"/>
                    <a:pt x="262" y="177"/>
                    <a:pt x="264" y="171"/>
                  </a:cubicBezTo>
                  <a:cubicBezTo>
                    <a:pt x="267" y="165"/>
                    <a:pt x="278" y="161"/>
                    <a:pt x="280" y="156"/>
                  </a:cubicBezTo>
                  <a:cubicBezTo>
                    <a:pt x="281" y="153"/>
                    <a:pt x="281" y="152"/>
                    <a:pt x="277" y="147"/>
                  </a:cubicBezTo>
                  <a:cubicBezTo>
                    <a:pt x="273" y="142"/>
                    <a:pt x="264" y="139"/>
                    <a:pt x="264" y="137"/>
                  </a:cubicBezTo>
                  <a:cubicBezTo>
                    <a:pt x="263" y="134"/>
                    <a:pt x="271" y="134"/>
                    <a:pt x="270" y="131"/>
                  </a:cubicBezTo>
                  <a:cubicBezTo>
                    <a:pt x="270" y="128"/>
                    <a:pt x="266" y="128"/>
                    <a:pt x="265" y="125"/>
                  </a:cubicBezTo>
                  <a:cubicBezTo>
                    <a:pt x="263" y="122"/>
                    <a:pt x="266" y="121"/>
                    <a:pt x="266" y="120"/>
                  </a:cubicBezTo>
                  <a:cubicBezTo>
                    <a:pt x="266" y="118"/>
                    <a:pt x="261" y="118"/>
                    <a:pt x="261" y="116"/>
                  </a:cubicBezTo>
                  <a:cubicBezTo>
                    <a:pt x="260" y="115"/>
                    <a:pt x="264" y="115"/>
                    <a:pt x="263" y="113"/>
                  </a:cubicBezTo>
                  <a:cubicBezTo>
                    <a:pt x="263" y="111"/>
                    <a:pt x="260" y="108"/>
                    <a:pt x="262" y="105"/>
                  </a:cubicBezTo>
                  <a:cubicBezTo>
                    <a:pt x="264" y="102"/>
                    <a:pt x="269" y="105"/>
                    <a:pt x="265" y="99"/>
                  </a:cubicBezTo>
                  <a:cubicBezTo>
                    <a:pt x="262" y="92"/>
                    <a:pt x="256" y="84"/>
                    <a:pt x="255" y="82"/>
                  </a:cubicBezTo>
                  <a:cubicBezTo>
                    <a:pt x="254" y="80"/>
                    <a:pt x="256" y="77"/>
                    <a:pt x="258" y="76"/>
                  </a:cubicBezTo>
                  <a:cubicBezTo>
                    <a:pt x="260" y="75"/>
                    <a:pt x="265" y="70"/>
                    <a:pt x="265" y="68"/>
                  </a:cubicBezTo>
                  <a:cubicBezTo>
                    <a:pt x="265" y="66"/>
                    <a:pt x="259" y="61"/>
                    <a:pt x="257" y="60"/>
                  </a:cubicBezTo>
                  <a:cubicBezTo>
                    <a:pt x="256" y="59"/>
                    <a:pt x="252" y="60"/>
                    <a:pt x="251" y="56"/>
                  </a:cubicBezTo>
                  <a:cubicBezTo>
                    <a:pt x="249" y="53"/>
                    <a:pt x="248" y="52"/>
                    <a:pt x="249" y="51"/>
                  </a:cubicBezTo>
                  <a:cubicBezTo>
                    <a:pt x="251" y="49"/>
                    <a:pt x="251" y="47"/>
                    <a:pt x="251" y="45"/>
                  </a:cubicBezTo>
                  <a:cubicBezTo>
                    <a:pt x="251" y="43"/>
                    <a:pt x="254" y="44"/>
                    <a:pt x="255" y="42"/>
                  </a:cubicBezTo>
                  <a:cubicBezTo>
                    <a:pt x="255" y="40"/>
                    <a:pt x="256" y="39"/>
                    <a:pt x="257" y="38"/>
                  </a:cubicBezTo>
                  <a:cubicBezTo>
                    <a:pt x="259" y="36"/>
                    <a:pt x="260" y="35"/>
                    <a:pt x="262" y="35"/>
                  </a:cubicBezTo>
                  <a:cubicBezTo>
                    <a:pt x="267" y="29"/>
                    <a:pt x="267" y="29"/>
                    <a:pt x="267" y="29"/>
                  </a:cubicBezTo>
                  <a:cubicBezTo>
                    <a:pt x="266" y="30"/>
                    <a:pt x="264" y="29"/>
                    <a:pt x="264" y="27"/>
                  </a:cubicBezTo>
                  <a:cubicBezTo>
                    <a:pt x="264" y="25"/>
                    <a:pt x="257" y="23"/>
                    <a:pt x="257" y="22"/>
                  </a:cubicBezTo>
                  <a:cubicBezTo>
                    <a:pt x="256" y="21"/>
                    <a:pt x="260" y="21"/>
                    <a:pt x="262" y="22"/>
                  </a:cubicBezTo>
                  <a:cubicBezTo>
                    <a:pt x="265" y="24"/>
                    <a:pt x="266" y="23"/>
                    <a:pt x="269" y="20"/>
                  </a:cubicBezTo>
                  <a:cubicBezTo>
                    <a:pt x="272" y="18"/>
                    <a:pt x="276" y="20"/>
                    <a:pt x="276" y="17"/>
                  </a:cubicBezTo>
                  <a:cubicBezTo>
                    <a:pt x="277" y="15"/>
                    <a:pt x="272" y="13"/>
                    <a:pt x="271" y="12"/>
                  </a:cubicBezTo>
                  <a:cubicBezTo>
                    <a:pt x="270" y="11"/>
                    <a:pt x="266" y="9"/>
                    <a:pt x="263" y="9"/>
                  </a:cubicBezTo>
                  <a:cubicBezTo>
                    <a:pt x="259" y="10"/>
                    <a:pt x="259" y="8"/>
                    <a:pt x="257" y="7"/>
                  </a:cubicBezTo>
                  <a:cubicBezTo>
                    <a:pt x="255" y="5"/>
                    <a:pt x="249" y="8"/>
                    <a:pt x="249" y="12"/>
                  </a:cubicBezTo>
                  <a:cubicBezTo>
                    <a:pt x="249" y="17"/>
                    <a:pt x="245" y="16"/>
                    <a:pt x="246" y="13"/>
                  </a:cubicBezTo>
                  <a:cubicBezTo>
                    <a:pt x="248" y="11"/>
                    <a:pt x="244" y="8"/>
                    <a:pt x="248" y="7"/>
                  </a:cubicBezTo>
                  <a:cubicBezTo>
                    <a:pt x="251" y="6"/>
                    <a:pt x="249" y="2"/>
                    <a:pt x="243" y="1"/>
                  </a:cubicBezTo>
                  <a:cubicBezTo>
                    <a:pt x="237" y="1"/>
                    <a:pt x="235" y="6"/>
                    <a:pt x="236" y="7"/>
                  </a:cubicBezTo>
                  <a:cubicBezTo>
                    <a:pt x="238" y="9"/>
                    <a:pt x="233" y="16"/>
                    <a:pt x="230" y="16"/>
                  </a:cubicBezTo>
                  <a:cubicBezTo>
                    <a:pt x="228" y="16"/>
                    <a:pt x="230" y="10"/>
                    <a:pt x="230" y="7"/>
                  </a:cubicBezTo>
                  <a:cubicBezTo>
                    <a:pt x="230" y="3"/>
                    <a:pt x="228" y="5"/>
                    <a:pt x="224" y="10"/>
                  </a:cubicBezTo>
                  <a:cubicBezTo>
                    <a:pt x="219" y="15"/>
                    <a:pt x="216" y="20"/>
                    <a:pt x="213" y="20"/>
                  </a:cubicBezTo>
                  <a:cubicBezTo>
                    <a:pt x="211" y="21"/>
                    <a:pt x="211" y="16"/>
                    <a:pt x="215" y="14"/>
                  </a:cubicBezTo>
                  <a:cubicBezTo>
                    <a:pt x="219" y="11"/>
                    <a:pt x="219" y="5"/>
                    <a:pt x="222" y="5"/>
                  </a:cubicBezTo>
                  <a:cubicBezTo>
                    <a:pt x="225" y="5"/>
                    <a:pt x="225" y="2"/>
                    <a:pt x="221" y="1"/>
                  </a:cubicBezTo>
                  <a:cubicBezTo>
                    <a:pt x="217" y="0"/>
                    <a:pt x="216" y="5"/>
                    <a:pt x="215" y="6"/>
                  </a:cubicBezTo>
                  <a:cubicBezTo>
                    <a:pt x="214" y="7"/>
                    <a:pt x="207" y="4"/>
                    <a:pt x="207" y="5"/>
                  </a:cubicBezTo>
                  <a:cubicBezTo>
                    <a:pt x="208" y="6"/>
                    <a:pt x="204" y="7"/>
                    <a:pt x="206" y="9"/>
                  </a:cubicBezTo>
                  <a:cubicBezTo>
                    <a:pt x="207" y="11"/>
                    <a:pt x="205" y="14"/>
                    <a:pt x="203" y="11"/>
                  </a:cubicBezTo>
                  <a:cubicBezTo>
                    <a:pt x="202" y="8"/>
                    <a:pt x="198" y="10"/>
                    <a:pt x="196" y="13"/>
                  </a:cubicBezTo>
                  <a:cubicBezTo>
                    <a:pt x="194" y="16"/>
                    <a:pt x="191" y="16"/>
                    <a:pt x="193" y="17"/>
                  </a:cubicBezTo>
                  <a:cubicBezTo>
                    <a:pt x="195" y="18"/>
                    <a:pt x="195" y="23"/>
                    <a:pt x="192" y="24"/>
                  </a:cubicBezTo>
                  <a:cubicBezTo>
                    <a:pt x="189" y="24"/>
                    <a:pt x="190" y="16"/>
                    <a:pt x="188" y="17"/>
                  </a:cubicBezTo>
                  <a:cubicBezTo>
                    <a:pt x="186" y="17"/>
                    <a:pt x="187" y="12"/>
                    <a:pt x="190" y="12"/>
                  </a:cubicBezTo>
                  <a:cubicBezTo>
                    <a:pt x="193" y="12"/>
                    <a:pt x="196" y="8"/>
                    <a:pt x="196" y="7"/>
                  </a:cubicBezTo>
                  <a:cubicBezTo>
                    <a:pt x="196" y="5"/>
                    <a:pt x="192" y="5"/>
                    <a:pt x="192" y="8"/>
                  </a:cubicBezTo>
                  <a:cubicBezTo>
                    <a:pt x="192" y="10"/>
                    <a:pt x="188" y="10"/>
                    <a:pt x="184" y="10"/>
                  </a:cubicBezTo>
                  <a:cubicBezTo>
                    <a:pt x="180" y="9"/>
                    <a:pt x="180" y="14"/>
                    <a:pt x="184" y="17"/>
                  </a:cubicBezTo>
                  <a:cubicBezTo>
                    <a:pt x="189" y="19"/>
                    <a:pt x="183" y="21"/>
                    <a:pt x="181" y="19"/>
                  </a:cubicBezTo>
                  <a:cubicBezTo>
                    <a:pt x="179" y="17"/>
                    <a:pt x="176" y="18"/>
                    <a:pt x="173" y="19"/>
                  </a:cubicBezTo>
                  <a:cubicBezTo>
                    <a:pt x="171" y="20"/>
                    <a:pt x="179" y="23"/>
                    <a:pt x="179" y="24"/>
                  </a:cubicBezTo>
                  <a:cubicBezTo>
                    <a:pt x="179" y="26"/>
                    <a:pt x="175" y="23"/>
                    <a:pt x="174" y="24"/>
                  </a:cubicBezTo>
                  <a:cubicBezTo>
                    <a:pt x="173" y="25"/>
                    <a:pt x="169" y="23"/>
                    <a:pt x="168" y="20"/>
                  </a:cubicBezTo>
                  <a:cubicBezTo>
                    <a:pt x="168" y="18"/>
                    <a:pt x="161" y="21"/>
                    <a:pt x="165" y="22"/>
                  </a:cubicBezTo>
                  <a:cubicBezTo>
                    <a:pt x="169" y="23"/>
                    <a:pt x="167" y="26"/>
                    <a:pt x="167" y="29"/>
                  </a:cubicBezTo>
                  <a:cubicBezTo>
                    <a:pt x="167" y="33"/>
                    <a:pt x="163" y="30"/>
                    <a:pt x="164" y="27"/>
                  </a:cubicBezTo>
                  <a:cubicBezTo>
                    <a:pt x="165" y="24"/>
                    <a:pt x="161" y="25"/>
                    <a:pt x="158" y="27"/>
                  </a:cubicBezTo>
                  <a:cubicBezTo>
                    <a:pt x="155" y="29"/>
                    <a:pt x="158" y="23"/>
                    <a:pt x="157" y="20"/>
                  </a:cubicBezTo>
                  <a:cubicBezTo>
                    <a:pt x="156" y="18"/>
                    <a:pt x="153" y="20"/>
                    <a:pt x="150" y="21"/>
                  </a:cubicBezTo>
                  <a:cubicBezTo>
                    <a:pt x="146" y="22"/>
                    <a:pt x="145" y="22"/>
                    <a:pt x="147" y="24"/>
                  </a:cubicBezTo>
                  <a:cubicBezTo>
                    <a:pt x="149" y="26"/>
                    <a:pt x="148" y="29"/>
                    <a:pt x="146" y="29"/>
                  </a:cubicBezTo>
                  <a:cubicBezTo>
                    <a:pt x="143" y="29"/>
                    <a:pt x="142" y="29"/>
                    <a:pt x="142" y="32"/>
                  </a:cubicBezTo>
                  <a:cubicBezTo>
                    <a:pt x="143" y="34"/>
                    <a:pt x="139" y="34"/>
                    <a:pt x="138" y="32"/>
                  </a:cubicBezTo>
                  <a:cubicBezTo>
                    <a:pt x="138" y="30"/>
                    <a:pt x="133" y="30"/>
                    <a:pt x="131" y="33"/>
                  </a:cubicBezTo>
                  <a:cubicBezTo>
                    <a:pt x="130" y="36"/>
                    <a:pt x="125" y="37"/>
                    <a:pt x="126" y="40"/>
                  </a:cubicBezTo>
                  <a:cubicBezTo>
                    <a:pt x="126" y="43"/>
                    <a:pt x="130" y="39"/>
                    <a:pt x="132" y="40"/>
                  </a:cubicBezTo>
                  <a:cubicBezTo>
                    <a:pt x="135" y="41"/>
                    <a:pt x="132" y="42"/>
                    <a:pt x="134" y="44"/>
                  </a:cubicBezTo>
                  <a:cubicBezTo>
                    <a:pt x="135" y="45"/>
                    <a:pt x="135" y="48"/>
                    <a:pt x="133" y="46"/>
                  </a:cubicBezTo>
                  <a:cubicBezTo>
                    <a:pt x="131" y="44"/>
                    <a:pt x="128" y="44"/>
                    <a:pt x="127" y="47"/>
                  </a:cubicBezTo>
                  <a:cubicBezTo>
                    <a:pt x="127" y="50"/>
                    <a:pt x="125" y="47"/>
                    <a:pt x="123" y="44"/>
                  </a:cubicBezTo>
                  <a:cubicBezTo>
                    <a:pt x="121" y="42"/>
                    <a:pt x="119" y="49"/>
                    <a:pt x="117" y="47"/>
                  </a:cubicBezTo>
                  <a:cubicBezTo>
                    <a:pt x="115" y="45"/>
                    <a:pt x="121" y="41"/>
                    <a:pt x="119" y="38"/>
                  </a:cubicBezTo>
                  <a:cubicBezTo>
                    <a:pt x="118" y="36"/>
                    <a:pt x="117" y="40"/>
                    <a:pt x="113" y="43"/>
                  </a:cubicBezTo>
                  <a:cubicBezTo>
                    <a:pt x="109" y="47"/>
                    <a:pt x="104" y="47"/>
                    <a:pt x="106" y="48"/>
                  </a:cubicBezTo>
                  <a:cubicBezTo>
                    <a:pt x="108" y="50"/>
                    <a:pt x="103" y="51"/>
                    <a:pt x="102" y="54"/>
                  </a:cubicBezTo>
                  <a:cubicBezTo>
                    <a:pt x="101" y="57"/>
                    <a:pt x="93" y="58"/>
                    <a:pt x="89" y="61"/>
                  </a:cubicBezTo>
                  <a:cubicBezTo>
                    <a:pt x="84" y="65"/>
                    <a:pt x="89" y="65"/>
                    <a:pt x="92" y="62"/>
                  </a:cubicBezTo>
                  <a:cubicBezTo>
                    <a:pt x="95" y="59"/>
                    <a:pt x="96" y="60"/>
                    <a:pt x="100" y="58"/>
                  </a:cubicBezTo>
                  <a:cubicBezTo>
                    <a:pt x="104" y="55"/>
                    <a:pt x="109" y="53"/>
                    <a:pt x="110" y="54"/>
                  </a:cubicBezTo>
                  <a:cubicBezTo>
                    <a:pt x="112" y="55"/>
                    <a:pt x="115" y="56"/>
                    <a:pt x="117" y="53"/>
                  </a:cubicBezTo>
                  <a:cubicBezTo>
                    <a:pt x="119" y="50"/>
                    <a:pt x="121" y="51"/>
                    <a:pt x="123" y="53"/>
                  </a:cubicBezTo>
                  <a:cubicBezTo>
                    <a:pt x="125" y="54"/>
                    <a:pt x="120" y="56"/>
                    <a:pt x="122" y="58"/>
                  </a:cubicBezTo>
                  <a:cubicBezTo>
                    <a:pt x="125" y="61"/>
                    <a:pt x="119" y="62"/>
                    <a:pt x="119" y="60"/>
                  </a:cubicBezTo>
                  <a:cubicBezTo>
                    <a:pt x="119" y="58"/>
                    <a:pt x="116" y="56"/>
                    <a:pt x="115" y="58"/>
                  </a:cubicBezTo>
                  <a:cubicBezTo>
                    <a:pt x="114" y="60"/>
                    <a:pt x="112" y="62"/>
                    <a:pt x="110" y="62"/>
                  </a:cubicBezTo>
                  <a:cubicBezTo>
                    <a:pt x="108" y="62"/>
                    <a:pt x="106" y="66"/>
                    <a:pt x="106" y="70"/>
                  </a:cubicBezTo>
                  <a:cubicBezTo>
                    <a:pt x="106" y="74"/>
                    <a:pt x="102" y="70"/>
                    <a:pt x="102" y="73"/>
                  </a:cubicBezTo>
                  <a:cubicBezTo>
                    <a:pt x="102" y="77"/>
                    <a:pt x="97" y="83"/>
                    <a:pt x="92" y="87"/>
                  </a:cubicBezTo>
                  <a:cubicBezTo>
                    <a:pt x="88" y="91"/>
                    <a:pt x="92" y="92"/>
                    <a:pt x="90" y="95"/>
                  </a:cubicBezTo>
                  <a:cubicBezTo>
                    <a:pt x="89" y="97"/>
                    <a:pt x="84" y="95"/>
                    <a:pt x="82" y="96"/>
                  </a:cubicBezTo>
                  <a:cubicBezTo>
                    <a:pt x="80" y="97"/>
                    <a:pt x="83" y="104"/>
                    <a:pt x="81" y="106"/>
                  </a:cubicBezTo>
                  <a:cubicBezTo>
                    <a:pt x="78" y="108"/>
                    <a:pt x="81" y="111"/>
                    <a:pt x="81" y="113"/>
                  </a:cubicBezTo>
                  <a:cubicBezTo>
                    <a:pt x="81" y="116"/>
                    <a:pt x="74" y="112"/>
                    <a:pt x="74" y="114"/>
                  </a:cubicBezTo>
                  <a:cubicBezTo>
                    <a:pt x="74" y="116"/>
                    <a:pt x="68" y="116"/>
                    <a:pt x="67" y="116"/>
                  </a:cubicBezTo>
                  <a:cubicBezTo>
                    <a:pt x="65" y="117"/>
                    <a:pt x="70" y="121"/>
                    <a:pt x="73" y="123"/>
                  </a:cubicBezTo>
                  <a:cubicBezTo>
                    <a:pt x="75" y="125"/>
                    <a:pt x="70" y="127"/>
                    <a:pt x="69" y="125"/>
                  </a:cubicBezTo>
                  <a:cubicBezTo>
                    <a:pt x="69" y="122"/>
                    <a:pt x="65" y="126"/>
                    <a:pt x="60" y="128"/>
                  </a:cubicBezTo>
                  <a:cubicBezTo>
                    <a:pt x="55" y="131"/>
                    <a:pt x="57" y="135"/>
                    <a:pt x="53" y="135"/>
                  </a:cubicBezTo>
                  <a:cubicBezTo>
                    <a:pt x="49" y="135"/>
                    <a:pt x="50" y="141"/>
                    <a:pt x="48" y="143"/>
                  </a:cubicBezTo>
                  <a:cubicBezTo>
                    <a:pt x="45" y="145"/>
                    <a:pt x="46" y="139"/>
                    <a:pt x="42" y="139"/>
                  </a:cubicBezTo>
                  <a:cubicBezTo>
                    <a:pt x="38" y="138"/>
                    <a:pt x="38" y="141"/>
                    <a:pt x="41" y="145"/>
                  </a:cubicBezTo>
                  <a:cubicBezTo>
                    <a:pt x="43" y="148"/>
                    <a:pt x="37" y="145"/>
                    <a:pt x="35" y="148"/>
                  </a:cubicBezTo>
                  <a:cubicBezTo>
                    <a:pt x="33" y="151"/>
                    <a:pt x="26" y="150"/>
                    <a:pt x="25" y="152"/>
                  </a:cubicBezTo>
                  <a:cubicBezTo>
                    <a:pt x="23" y="154"/>
                    <a:pt x="29" y="154"/>
                    <a:pt x="30" y="156"/>
                  </a:cubicBezTo>
                  <a:cubicBezTo>
                    <a:pt x="31" y="158"/>
                    <a:pt x="25" y="157"/>
                    <a:pt x="21" y="156"/>
                  </a:cubicBezTo>
                  <a:cubicBezTo>
                    <a:pt x="18" y="156"/>
                    <a:pt x="19" y="161"/>
                    <a:pt x="16" y="160"/>
                  </a:cubicBezTo>
                  <a:cubicBezTo>
                    <a:pt x="12" y="160"/>
                    <a:pt x="8" y="163"/>
                    <a:pt x="11" y="165"/>
                  </a:cubicBezTo>
                  <a:cubicBezTo>
                    <a:pt x="13" y="167"/>
                    <a:pt x="9" y="168"/>
                    <a:pt x="7" y="166"/>
                  </a:cubicBezTo>
                  <a:cubicBezTo>
                    <a:pt x="5" y="165"/>
                    <a:pt x="3" y="168"/>
                    <a:pt x="2" y="171"/>
                  </a:cubicBezTo>
                  <a:cubicBezTo>
                    <a:pt x="1" y="174"/>
                    <a:pt x="6" y="175"/>
                    <a:pt x="6" y="176"/>
                  </a:cubicBezTo>
                  <a:moveTo>
                    <a:pt x="177" y="49"/>
                  </a:moveTo>
                  <a:cubicBezTo>
                    <a:pt x="177" y="49"/>
                    <a:pt x="177" y="49"/>
                    <a:pt x="177" y="50"/>
                  </a:cubicBezTo>
                  <a:cubicBezTo>
                    <a:pt x="177" y="49"/>
                    <a:pt x="177" y="49"/>
                    <a:pt x="177" y="49"/>
                  </a:cubicBezTo>
                  <a:moveTo>
                    <a:pt x="178" y="50"/>
                  </a:moveTo>
                  <a:cubicBezTo>
                    <a:pt x="178" y="50"/>
                    <a:pt x="178" y="51"/>
                    <a:pt x="179" y="51"/>
                  </a:cubicBezTo>
                  <a:cubicBezTo>
                    <a:pt x="178" y="51"/>
                    <a:pt x="178" y="50"/>
                    <a:pt x="178" y="50"/>
                  </a:cubicBezTo>
                  <a:moveTo>
                    <a:pt x="169" y="43"/>
                  </a:moveTo>
                  <a:cubicBezTo>
                    <a:pt x="169" y="43"/>
                    <a:pt x="169" y="43"/>
                    <a:pt x="169" y="43"/>
                  </a:cubicBezTo>
                  <a:cubicBezTo>
                    <a:pt x="169" y="43"/>
                    <a:pt x="168" y="43"/>
                    <a:pt x="168" y="42"/>
                  </a:cubicBezTo>
                  <a:cubicBezTo>
                    <a:pt x="168" y="43"/>
                    <a:pt x="169" y="43"/>
                    <a:pt x="169" y="43"/>
                  </a:cubicBezTo>
                </a:path>
              </a:pathLst>
            </a:custGeom>
            <a:solidFill>
              <a:srgbClr val="F8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17"/>
              <a:endParaRPr lang="en-US" sz="1764">
                <a:solidFill>
                  <a:srgbClr val="FFFFFF"/>
                </a:solidFill>
              </a:endParaRPr>
            </a:p>
          </p:txBody>
        </p:sp>
        <p:sp>
          <p:nvSpPr>
            <p:cNvPr id="75" name="Freeform 68"/>
            <p:cNvSpPr>
              <a:spLocks noEditPoints="1"/>
            </p:cNvSpPr>
            <p:nvPr userDrawn="1"/>
          </p:nvSpPr>
          <p:spPr bwMode="auto">
            <a:xfrm>
              <a:off x="19005550" y="3157538"/>
              <a:ext cx="88900" cy="134938"/>
            </a:xfrm>
            <a:custGeom>
              <a:avLst/>
              <a:gdLst>
                <a:gd name="T0" fmla="*/ 16 w 32"/>
                <a:gd name="T1" fmla="*/ 0 h 49"/>
                <a:gd name="T2" fmla="*/ 0 w 32"/>
                <a:gd name="T3" fmla="*/ 16 h 49"/>
                <a:gd name="T4" fmla="*/ 16 w 32"/>
                <a:gd name="T5" fmla="*/ 49 h 49"/>
                <a:gd name="T6" fmla="*/ 32 w 32"/>
                <a:gd name="T7" fmla="*/ 16 h 49"/>
                <a:gd name="T8" fmla="*/ 16 w 32"/>
                <a:gd name="T9" fmla="*/ 0 h 49"/>
                <a:gd name="T10" fmla="*/ 16 w 32"/>
                <a:gd name="T11" fmla="*/ 22 h 49"/>
                <a:gd name="T12" fmla="*/ 9 w 32"/>
                <a:gd name="T13" fmla="*/ 16 h 49"/>
                <a:gd name="T14" fmla="*/ 16 w 32"/>
                <a:gd name="T15" fmla="*/ 9 h 49"/>
                <a:gd name="T16" fmla="*/ 23 w 32"/>
                <a:gd name="T17" fmla="*/ 16 h 49"/>
                <a:gd name="T18" fmla="*/ 16 w 32"/>
                <a:gd name="T19" fmla="*/ 2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9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16" y="49"/>
                    <a:pt x="16" y="49"/>
                  </a:cubicBezTo>
                  <a:cubicBezTo>
                    <a:pt x="16" y="49"/>
                    <a:pt x="32" y="25"/>
                    <a:pt x="32" y="16"/>
                  </a:cubicBezTo>
                  <a:cubicBezTo>
                    <a:pt x="32" y="7"/>
                    <a:pt x="25" y="0"/>
                    <a:pt x="16" y="0"/>
                  </a:cubicBezTo>
                  <a:moveTo>
                    <a:pt x="16" y="22"/>
                  </a:moveTo>
                  <a:cubicBezTo>
                    <a:pt x="12" y="22"/>
                    <a:pt x="9" y="19"/>
                    <a:pt x="9" y="16"/>
                  </a:cubicBezTo>
                  <a:cubicBezTo>
                    <a:pt x="9" y="12"/>
                    <a:pt x="12" y="9"/>
                    <a:pt x="16" y="9"/>
                  </a:cubicBezTo>
                  <a:cubicBezTo>
                    <a:pt x="20" y="9"/>
                    <a:pt x="23" y="12"/>
                    <a:pt x="23" y="16"/>
                  </a:cubicBezTo>
                  <a:cubicBezTo>
                    <a:pt x="23" y="19"/>
                    <a:pt x="20" y="22"/>
                    <a:pt x="16" y="22"/>
                  </a:cubicBezTo>
                </a:path>
              </a:pathLst>
            </a:custGeom>
            <a:solidFill>
              <a:srgbClr val="F26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17"/>
              <a:endParaRPr lang="en-US" sz="1764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9926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C35EA4"/>
          </p15:clr>
        </p15:guide>
        <p15:guide id="2" pos="7546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orient="horz" pos="4104">
          <p15:clr>
            <a:srgbClr val="C35EA4"/>
          </p15:clr>
        </p15:guide>
      </p15:sldGuideLst>
    </p:ext>
  </p:extLs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4135B-C3B5-4634-BAA2-9D535D191B13}" type="datetimeFigureOut">
              <a:rPr lang="en-US" smtClean="0"/>
              <a:t>4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9C4A6-61B5-4631-8D99-8B0E006EB3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389338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40"/>
            <a:ext cx="10515600" cy="2852737"/>
          </a:xfrm>
        </p:spPr>
        <p:txBody>
          <a:bodyPr anchor="b"/>
          <a:lstStyle>
            <a:lvl1pPr>
              <a:defRPr sz="599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5"/>
            <a:ext cx="10515600" cy="513385"/>
          </a:xfr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6976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3950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0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9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87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85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8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4135B-C3B5-4634-BAA2-9D535D191B13}" type="datetimeFigureOut">
              <a:rPr lang="en-US" smtClean="0"/>
              <a:t>4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9C4A6-61B5-4631-8D99-8B0E006EB3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307075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189178"/>
            <a:ext cx="11655840" cy="1984886"/>
          </a:xfrm>
        </p:spPr>
        <p:txBody>
          <a:bodyPr/>
          <a:lstStyle>
            <a:lvl1pPr marL="0" indent="0">
              <a:buNone/>
              <a:defRPr/>
            </a:lvl1pPr>
            <a:lvl2pPr marL="27998" indent="0">
              <a:buNone/>
              <a:defRPr sz="1960"/>
            </a:lvl2pPr>
            <a:lvl3pPr marL="219320" indent="0">
              <a:buNone/>
              <a:defRPr sz="1960"/>
            </a:lvl3pPr>
            <a:lvl4pPr marL="466638" indent="0">
              <a:buNone/>
              <a:defRPr sz="1764"/>
            </a:lvl4pPr>
            <a:lvl5pPr marL="724844" indent="0">
              <a:buNone/>
              <a:defRPr sz="1764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9595561"/>
      </p:ext>
    </p:extLst>
  </p:cSld>
  <p:clrMapOvr>
    <a:masterClrMapping/>
  </p:clrMapOvr>
  <p:transition>
    <p:fade/>
  </p:transition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grams slide with breadcrumb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" y="1848718"/>
            <a:ext cx="12192000" cy="500928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11" rIns="0" bIns="466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1924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2" y="672854"/>
            <a:ext cx="11655078" cy="74764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9240" y="289767"/>
            <a:ext cx="11653523" cy="402674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accent4"/>
                </a:solidFill>
                <a:latin typeface="+mn-lt"/>
              </a:defRPr>
            </a:lvl1pPr>
            <a:lvl2pPr marL="0" indent="0">
              <a:buFontTx/>
              <a:buNone/>
              <a:defRPr sz="1960"/>
            </a:lvl2pPr>
            <a:lvl3pPr marL="223966" indent="0">
              <a:buNone/>
              <a:defRPr/>
            </a:lvl3pPr>
            <a:lvl4pPr marL="447928" indent="0">
              <a:buNone/>
              <a:defRPr/>
            </a:lvl4pPr>
            <a:lvl5pPr marL="671895" indent="0">
              <a:buNone/>
              <a:defRPr/>
            </a:lvl5pPr>
          </a:lstStyle>
          <a:p>
            <a:pPr lvl="0"/>
            <a:r>
              <a:rPr lang="en-US" dirty="0"/>
              <a:t>CHAPTER TITLE BREADCRUM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1319887"/>
            <a:ext cx="11653523" cy="485660"/>
          </a:xfrm>
        </p:spPr>
        <p:txBody>
          <a:bodyPr>
            <a:spAutoFit/>
          </a:bodyPr>
          <a:lstStyle>
            <a:lvl1pPr marL="0" indent="0">
              <a:buNone/>
              <a:defRPr sz="2199" b="0">
                <a:solidFill>
                  <a:schemeClr val="accent2"/>
                </a:solidFill>
                <a:latin typeface="+mn-lt"/>
              </a:defRPr>
            </a:lvl1pPr>
            <a:lvl2pPr marL="335948" indent="0">
              <a:buNone/>
              <a:defRPr/>
            </a:lvl2pPr>
            <a:lvl3pPr marL="559911" indent="0">
              <a:buNone/>
              <a:defRPr/>
            </a:lvl3pPr>
            <a:lvl4pPr marL="783876" indent="0">
              <a:buNone/>
              <a:defRPr/>
            </a:lvl4pPr>
            <a:lvl5pPr marL="1007842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669318491"/>
      </p:ext>
    </p:extLst>
  </p:cSld>
  <p:clrMapOvr>
    <a:masterClrMapping/>
  </p:clrMapOvr>
  <p:transition>
    <p:fade/>
  </p:transition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928" y="291104"/>
            <a:ext cx="11653834" cy="896518"/>
          </a:xfrm>
        </p:spPr>
        <p:txBody>
          <a:bodyPr/>
          <a:lstStyle>
            <a:lvl1pPr>
              <a:defRPr sz="5682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69241" y="1663939"/>
            <a:ext cx="10757099" cy="1865318"/>
          </a:xfrm>
        </p:spPr>
        <p:txBody>
          <a:bodyPr/>
          <a:lstStyle>
            <a:lvl1pPr>
              <a:defRPr sz="254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352"/>
            </a:lvl2pPr>
            <a:lvl3pPr>
              <a:defRPr sz="1960"/>
            </a:lvl3pPr>
            <a:lvl4pPr>
              <a:defRPr sz="1765"/>
            </a:lvl4pPr>
            <a:lvl5pPr>
              <a:defRPr sz="176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037020"/>
      </p:ext>
    </p:extLst>
  </p:cSld>
  <p:clrMapOvr>
    <a:masterClrMapping/>
  </p:clrMapOvr>
  <p:transition>
    <p:fade/>
  </p:transition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991691"/>
            <a:ext cx="5157788" cy="513385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6976" indent="0">
              <a:buNone/>
              <a:defRPr sz="1999" b="1"/>
            </a:lvl2pPr>
            <a:lvl3pPr marL="913950" indent="0">
              <a:buNone/>
              <a:defRPr sz="1799" b="1"/>
            </a:lvl3pPr>
            <a:lvl4pPr marL="1370926" indent="0">
              <a:buNone/>
              <a:defRPr sz="1600" b="1"/>
            </a:lvl4pPr>
            <a:lvl5pPr marL="1827900" indent="0">
              <a:buNone/>
              <a:defRPr sz="1600" b="1"/>
            </a:lvl5pPr>
            <a:lvl6pPr marL="2284875" indent="0">
              <a:buNone/>
              <a:defRPr sz="1600" b="1"/>
            </a:lvl6pPr>
            <a:lvl7pPr marL="2741850" indent="0">
              <a:buNone/>
              <a:defRPr sz="1600" b="1"/>
            </a:lvl7pPr>
            <a:lvl8pPr marL="3198826" indent="0">
              <a:buNone/>
              <a:defRPr sz="1600" b="1"/>
            </a:lvl8pPr>
            <a:lvl9pPr marL="36558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8" cy="205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991691"/>
            <a:ext cx="5183188" cy="513385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6976" indent="0">
              <a:buNone/>
              <a:defRPr sz="1999" b="1"/>
            </a:lvl2pPr>
            <a:lvl3pPr marL="913950" indent="0">
              <a:buNone/>
              <a:defRPr sz="1799" b="1"/>
            </a:lvl3pPr>
            <a:lvl4pPr marL="1370926" indent="0">
              <a:buNone/>
              <a:defRPr sz="1600" b="1"/>
            </a:lvl4pPr>
            <a:lvl5pPr marL="1827900" indent="0">
              <a:buNone/>
              <a:defRPr sz="1600" b="1"/>
            </a:lvl5pPr>
            <a:lvl6pPr marL="2284875" indent="0">
              <a:buNone/>
              <a:defRPr sz="1600" b="1"/>
            </a:lvl6pPr>
            <a:lvl7pPr marL="2741850" indent="0">
              <a:buNone/>
              <a:defRPr sz="1600" b="1"/>
            </a:lvl7pPr>
            <a:lvl8pPr marL="3198826" indent="0">
              <a:buNone/>
              <a:defRPr sz="1600" b="1"/>
            </a:lvl8pPr>
            <a:lvl9pPr marL="36558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205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4135B-C3B5-4634-BAA2-9D535D191B13}" type="datetimeFigureOut">
              <a:rPr lang="en-US" smtClean="0"/>
              <a:t>4/28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9C4A6-61B5-4631-8D99-8B0E006EB3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847471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3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3" y="259793"/>
            <a:ext cx="8964247" cy="979755"/>
          </a:xfrm>
        </p:spPr>
        <p:txBody>
          <a:bodyPr lIns="146304" tIns="91440" rIns="146304" bIns="91440"/>
          <a:lstStyle>
            <a:lvl1pPr>
              <a:lnSpc>
                <a:spcPts val="6173"/>
              </a:lnSpc>
              <a:defRPr sz="5683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Lorem ipsum dolor sit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48212" y="6437244"/>
            <a:ext cx="3859607" cy="134483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367167" y="6437244"/>
            <a:ext cx="555596" cy="134483"/>
          </a:xfrm>
          <a:prstGeom prst="rect">
            <a:avLst/>
          </a:prstGeom>
        </p:spPr>
        <p:txBody>
          <a:bodyPr/>
          <a:lstStyle/>
          <a:p>
            <a:fld id="{4FCB46E6-3407-48EA-8551-2FC832B20F7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4043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7392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9" y="228601"/>
            <a:ext cx="11151917" cy="74789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9" y="1447803"/>
            <a:ext cx="11151917" cy="2051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6954802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4" y="1187645"/>
            <a:ext cx="11655078" cy="205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972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1" cy="2387600"/>
          </a:xfrm>
        </p:spPr>
        <p:txBody>
          <a:bodyPr anchor="b"/>
          <a:lstStyle>
            <a:lvl1pPr algn="ctr">
              <a:defRPr sz="5996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1" cy="513385"/>
          </a:xfrm>
        </p:spPr>
        <p:txBody>
          <a:bodyPr/>
          <a:lstStyle>
            <a:lvl1pPr marL="0" indent="0" algn="ctr">
              <a:buNone/>
              <a:defRPr sz="2399"/>
            </a:lvl1pPr>
            <a:lvl2pPr marL="456976" indent="0" algn="ctr">
              <a:buNone/>
              <a:defRPr sz="1999"/>
            </a:lvl2pPr>
            <a:lvl3pPr marL="913950" indent="0" algn="ctr">
              <a:buNone/>
              <a:defRPr sz="1799"/>
            </a:lvl3pPr>
            <a:lvl4pPr marL="1370926" indent="0" algn="ctr">
              <a:buNone/>
              <a:defRPr sz="1600"/>
            </a:lvl4pPr>
            <a:lvl5pPr marL="1827900" indent="0" algn="ctr">
              <a:buNone/>
              <a:defRPr sz="1600"/>
            </a:lvl5pPr>
            <a:lvl6pPr marL="2284875" indent="0" algn="ctr">
              <a:buNone/>
              <a:defRPr sz="1600"/>
            </a:lvl6pPr>
            <a:lvl7pPr marL="2741850" indent="0" algn="ctr">
              <a:buNone/>
              <a:defRPr sz="1600"/>
            </a:lvl7pPr>
            <a:lvl8pPr marL="3198826" indent="0" algn="ctr">
              <a:buNone/>
              <a:defRPr sz="1600"/>
            </a:lvl8pPr>
            <a:lvl9pPr marL="36558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4135B-C3B5-4634-BAA2-9D535D191B13}" type="datetimeFigureOut">
              <a:rPr lang="en-US" smtClean="0"/>
              <a:t>4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9C4A6-61B5-4631-8D99-8B0E006EB3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473964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269239" y="1190739"/>
            <a:ext cx="11653523" cy="2051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1092362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4Trus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 userDrawn="1"/>
        </p:nvGrpSpPr>
        <p:grpSpPr>
          <a:xfrm>
            <a:off x="9743883" y="121604"/>
            <a:ext cx="1955993" cy="644102"/>
            <a:chOff x="9743882" y="121604"/>
            <a:chExt cx="1955993" cy="644102"/>
          </a:xfrm>
        </p:grpSpPr>
        <p:sp>
          <p:nvSpPr>
            <p:cNvPr id="21" name="Rectangle 20"/>
            <p:cNvSpPr/>
            <p:nvPr/>
          </p:nvSpPr>
          <p:spPr bwMode="auto">
            <a:xfrm rot="5400000">
              <a:off x="10399828" y="-534341"/>
              <a:ext cx="644102" cy="1955992"/>
            </a:xfrm>
            <a:prstGeom prst="rect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65760" rIns="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01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dirty="0">
                <a:solidFill>
                  <a:schemeClr val="tx1">
                    <a:lumMod val="50000"/>
                  </a:schemeClr>
                </a:solidFill>
                <a:latin typeface="Segoe UI Semibold" panose="020B0702040204020203" pitchFamily="34" charset="0"/>
                <a:cs typeface="Segoe UI" pitchFamily="34" charset="0"/>
              </a:endParaRPr>
            </a:p>
          </p:txBody>
        </p:sp>
        <p:sp>
          <p:nvSpPr>
            <p:cNvPr id="22" name="Isosceles Triangle 21"/>
            <p:cNvSpPr/>
            <p:nvPr userDrawn="1"/>
          </p:nvSpPr>
          <p:spPr bwMode="auto">
            <a:xfrm rot="5400000">
              <a:off x="9485906" y="379581"/>
              <a:ext cx="644098" cy="128145"/>
            </a:xfrm>
            <a:prstGeom prst="triangle">
              <a:avLst/>
            </a:prstGeom>
            <a:solidFill>
              <a:schemeClr val="bg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01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9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3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9997898" y="168629"/>
            <a:ext cx="1275437" cy="550052"/>
          </a:xfrm>
        </p:spPr>
        <p:txBody>
          <a:bodyPr wrap="square" lIns="0" rIns="0" anchor="ctr" anchorCtr="0">
            <a:noAutofit/>
          </a:bodyPr>
          <a:lstStyle>
            <a:lvl1pPr marL="0" indent="0" algn="ctr" defTabSz="9320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None/>
              <a:defRPr lang="en-US" sz="1400" kern="1200" dirty="0">
                <a:solidFill>
                  <a:schemeClr val="bg1"/>
                </a:solidFill>
                <a:latin typeface="Segoe UI Semibold" panose="020B0702040204020203" pitchFamily="34" charset="0"/>
                <a:ea typeface="Segoe UI" pitchFamily="34" charset="0"/>
                <a:cs typeface="Segoe UI" pitchFamily="34" charset="0"/>
              </a:defRPr>
            </a:lvl1pPr>
            <a:lvl2pPr marL="291957" indent="0">
              <a:buNone/>
              <a:defRPr sz="2352">
                <a:solidFill>
                  <a:schemeClr val="bg1"/>
                </a:solidFill>
                <a:latin typeface="+mn-lt"/>
              </a:defRPr>
            </a:lvl2pPr>
            <a:lvl3pPr marL="520446" indent="0">
              <a:buNone/>
              <a:tabLst/>
              <a:defRPr sz="1960">
                <a:solidFill>
                  <a:schemeClr val="bg1"/>
                </a:solidFill>
                <a:latin typeface="+mn-lt"/>
              </a:defRPr>
            </a:lvl3pPr>
            <a:lvl4pPr marL="685464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179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Preview</a:t>
            </a:r>
          </a:p>
          <a:p>
            <a:pPr lvl="0"/>
            <a:r>
              <a:rPr lang="en-US" dirty="0"/>
              <a:t>Released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3" y="487"/>
            <a:ext cx="4264181" cy="6857514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12" tIns="143371" rIns="179212" bIns="1433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65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" y="5912501"/>
            <a:ext cx="4264183" cy="692581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6" tIns="146245" rIns="182806" bIns="146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0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Oval 10"/>
          <p:cNvSpPr/>
          <p:nvPr userDrawn="1"/>
        </p:nvSpPr>
        <p:spPr bwMode="auto">
          <a:xfrm>
            <a:off x="269242" y="6044561"/>
            <a:ext cx="428461" cy="428460"/>
          </a:xfrm>
          <a:prstGeom prst="ellipse">
            <a:avLst/>
          </a:prstGeom>
          <a:solidFill>
            <a:srgbClr val="F8F8F8"/>
          </a:solidFill>
          <a:ln w="28575" cap="flat" cmpd="sng" algn="ctr">
            <a:solidFill>
              <a:srgbClr val="00827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1834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0" cap="none" spc="0" normalizeH="0" baseline="0" noProof="0" dirty="0">
                <a:ln w="19050"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  <a:sym typeface="Wingdings" panose="05000000000000000000" pitchFamily="2" charset="2"/>
              </a:rPr>
              <a:t></a:t>
            </a:r>
            <a:endParaRPr kumimoji="0" lang="en-US" sz="1999" b="0" i="0" u="none" strike="noStrike" kern="0" cap="none" spc="0" normalizeH="0" baseline="0" noProof="0" dirty="0">
              <a:ln w="19050">
                <a:noFill/>
              </a:ln>
              <a:solidFill>
                <a:srgbClr val="008272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3780246" cy="1107739"/>
          </a:xfrm>
        </p:spPr>
        <p:txBody>
          <a:bodyPr/>
          <a:lstStyle>
            <a:lvl1pPr>
              <a:defRPr sz="39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604088"/>
            <a:ext cx="3780245" cy="430272"/>
          </a:xfrm>
        </p:spPr>
        <p:txBody>
          <a:bodyPr wrap="square">
            <a:spAutoFit/>
          </a:bodyPr>
          <a:lstStyle>
            <a:lvl1pPr marL="0" indent="0">
              <a:spcBef>
                <a:spcPts val="1799"/>
              </a:spcBef>
              <a:buClr>
                <a:schemeClr val="tx1"/>
              </a:buClr>
              <a:buFont typeface="Arial" pitchFamily="34" charset="0"/>
              <a:buNone/>
              <a:defRPr sz="1799">
                <a:solidFill>
                  <a:schemeClr val="bg1"/>
                </a:solidFill>
                <a:latin typeface="+mn-lt"/>
              </a:defRPr>
            </a:lvl1pPr>
            <a:lvl2pPr marL="291957" indent="0">
              <a:buNone/>
              <a:defRPr sz="2352">
                <a:solidFill>
                  <a:schemeClr val="bg1"/>
                </a:solidFill>
                <a:latin typeface="+mn-lt"/>
              </a:defRPr>
            </a:lvl2pPr>
            <a:lvl3pPr marL="520446" indent="0">
              <a:buNone/>
              <a:tabLst/>
              <a:defRPr sz="1960">
                <a:solidFill>
                  <a:schemeClr val="bg1"/>
                </a:solidFill>
                <a:latin typeface="+mn-lt"/>
              </a:defRPr>
            </a:lvl3pPr>
            <a:lvl4pPr marL="685464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179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07150" y="6057454"/>
            <a:ext cx="3329638" cy="402674"/>
          </a:xfrm>
        </p:spPr>
        <p:txBody>
          <a:bodyPr wrap="square" anchor="ctr" anchorCtr="0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itchFamily="34" charset="0"/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91957" indent="0">
              <a:buNone/>
              <a:defRPr sz="2352">
                <a:solidFill>
                  <a:schemeClr val="bg1"/>
                </a:solidFill>
                <a:latin typeface="+mn-lt"/>
              </a:defRPr>
            </a:lvl2pPr>
            <a:lvl3pPr marL="520446" indent="0">
              <a:buNone/>
              <a:tabLst/>
              <a:defRPr sz="1960">
                <a:solidFill>
                  <a:schemeClr val="bg1"/>
                </a:solidFill>
                <a:latin typeface="+mn-lt"/>
              </a:defRPr>
            </a:lvl3pPr>
            <a:lvl4pPr marL="685464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179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1378792" y="121603"/>
            <a:ext cx="644100" cy="644101"/>
            <a:chOff x="457580" y="5628520"/>
            <a:chExt cx="657017" cy="657017"/>
          </a:xfrm>
        </p:grpSpPr>
        <p:sp>
          <p:nvSpPr>
            <p:cNvPr id="17" name="Oval 16"/>
            <p:cNvSpPr/>
            <p:nvPr/>
          </p:nvSpPr>
          <p:spPr bwMode="auto">
            <a:xfrm>
              <a:off x="457580" y="5628520"/>
              <a:ext cx="657017" cy="657017"/>
            </a:xfrm>
            <a:prstGeom prst="ellipse">
              <a:avLst/>
            </a:prstGeom>
            <a:solidFill>
              <a:srgbClr val="008272"/>
            </a:solidFill>
            <a:ln w="25400">
              <a:solidFill>
                <a:schemeClr val="bg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defTabSz="91365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Freeform 13"/>
            <p:cNvSpPr>
              <a:spLocks noChangeAspect="1" noEditPoints="1"/>
            </p:cNvSpPr>
            <p:nvPr/>
          </p:nvSpPr>
          <p:spPr bwMode="auto">
            <a:xfrm>
              <a:off x="657125" y="5818271"/>
              <a:ext cx="257926" cy="277514"/>
            </a:xfrm>
            <a:custGeom>
              <a:avLst/>
              <a:gdLst>
                <a:gd name="T0" fmla="*/ 49 w 97"/>
                <a:gd name="T1" fmla="*/ 105 h 105"/>
                <a:gd name="T2" fmla="*/ 47 w 97"/>
                <a:gd name="T3" fmla="*/ 104 h 105"/>
                <a:gd name="T4" fmla="*/ 0 w 97"/>
                <a:gd name="T5" fmla="*/ 44 h 105"/>
                <a:gd name="T6" fmla="*/ 0 w 97"/>
                <a:gd name="T7" fmla="*/ 0 h 105"/>
                <a:gd name="T8" fmla="*/ 6 w 97"/>
                <a:gd name="T9" fmla="*/ 4 h 105"/>
                <a:gd name="T10" fmla="*/ 26 w 97"/>
                <a:gd name="T11" fmla="*/ 10 h 105"/>
                <a:gd name="T12" fmla="*/ 47 w 97"/>
                <a:gd name="T13" fmla="*/ 4 h 105"/>
                <a:gd name="T14" fmla="*/ 49 w 97"/>
                <a:gd name="T15" fmla="*/ 3 h 105"/>
                <a:gd name="T16" fmla="*/ 51 w 97"/>
                <a:gd name="T17" fmla="*/ 4 h 105"/>
                <a:gd name="T18" fmla="*/ 72 w 97"/>
                <a:gd name="T19" fmla="*/ 10 h 105"/>
                <a:gd name="T20" fmla="*/ 91 w 97"/>
                <a:gd name="T21" fmla="*/ 4 h 105"/>
                <a:gd name="T22" fmla="*/ 97 w 97"/>
                <a:gd name="T23" fmla="*/ 0 h 105"/>
                <a:gd name="T24" fmla="*/ 97 w 97"/>
                <a:gd name="T25" fmla="*/ 44 h 105"/>
                <a:gd name="T26" fmla="*/ 50 w 97"/>
                <a:gd name="T27" fmla="*/ 104 h 105"/>
                <a:gd name="T28" fmla="*/ 49 w 97"/>
                <a:gd name="T29" fmla="*/ 105 h 105"/>
                <a:gd name="T30" fmla="*/ 8 w 97"/>
                <a:gd name="T31" fmla="*/ 14 h 105"/>
                <a:gd name="T32" fmla="*/ 8 w 97"/>
                <a:gd name="T33" fmla="*/ 44 h 105"/>
                <a:gd name="T34" fmla="*/ 49 w 97"/>
                <a:gd name="T35" fmla="*/ 96 h 105"/>
                <a:gd name="T36" fmla="*/ 89 w 97"/>
                <a:gd name="T37" fmla="*/ 44 h 105"/>
                <a:gd name="T38" fmla="*/ 89 w 97"/>
                <a:gd name="T39" fmla="*/ 14 h 105"/>
                <a:gd name="T40" fmla="*/ 72 w 97"/>
                <a:gd name="T41" fmla="*/ 18 h 105"/>
                <a:gd name="T42" fmla="*/ 49 w 97"/>
                <a:gd name="T43" fmla="*/ 12 h 105"/>
                <a:gd name="T44" fmla="*/ 26 w 97"/>
                <a:gd name="T45" fmla="*/ 18 h 105"/>
                <a:gd name="T46" fmla="*/ 8 w 97"/>
                <a:gd name="T47" fmla="*/ 14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" h="105">
                  <a:moveTo>
                    <a:pt x="49" y="105"/>
                  </a:moveTo>
                  <a:cubicBezTo>
                    <a:pt x="47" y="104"/>
                    <a:pt x="47" y="104"/>
                    <a:pt x="47" y="104"/>
                  </a:cubicBezTo>
                  <a:cubicBezTo>
                    <a:pt x="45" y="103"/>
                    <a:pt x="0" y="85"/>
                    <a:pt x="0" y="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16" y="10"/>
                    <a:pt x="26" y="10"/>
                  </a:cubicBezTo>
                  <a:cubicBezTo>
                    <a:pt x="36" y="10"/>
                    <a:pt x="47" y="4"/>
                    <a:pt x="47" y="4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61" y="10"/>
                    <a:pt x="72" y="10"/>
                  </a:cubicBezTo>
                  <a:cubicBezTo>
                    <a:pt x="82" y="10"/>
                    <a:pt x="91" y="4"/>
                    <a:pt x="91" y="4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44"/>
                    <a:pt x="97" y="44"/>
                    <a:pt x="97" y="44"/>
                  </a:cubicBezTo>
                  <a:cubicBezTo>
                    <a:pt x="97" y="85"/>
                    <a:pt x="52" y="103"/>
                    <a:pt x="50" y="104"/>
                  </a:cubicBezTo>
                  <a:lnTo>
                    <a:pt x="49" y="105"/>
                  </a:lnTo>
                  <a:close/>
                  <a:moveTo>
                    <a:pt x="8" y="14"/>
                  </a:moveTo>
                  <a:cubicBezTo>
                    <a:pt x="8" y="44"/>
                    <a:pt x="8" y="44"/>
                    <a:pt x="8" y="44"/>
                  </a:cubicBezTo>
                  <a:cubicBezTo>
                    <a:pt x="8" y="76"/>
                    <a:pt x="41" y="93"/>
                    <a:pt x="49" y="96"/>
                  </a:cubicBezTo>
                  <a:cubicBezTo>
                    <a:pt x="56" y="93"/>
                    <a:pt x="89" y="76"/>
                    <a:pt x="89" y="44"/>
                  </a:cubicBezTo>
                  <a:cubicBezTo>
                    <a:pt x="89" y="14"/>
                    <a:pt x="89" y="14"/>
                    <a:pt x="89" y="14"/>
                  </a:cubicBezTo>
                  <a:cubicBezTo>
                    <a:pt x="85" y="16"/>
                    <a:pt x="79" y="18"/>
                    <a:pt x="72" y="18"/>
                  </a:cubicBezTo>
                  <a:cubicBezTo>
                    <a:pt x="61" y="18"/>
                    <a:pt x="53" y="14"/>
                    <a:pt x="49" y="12"/>
                  </a:cubicBezTo>
                  <a:cubicBezTo>
                    <a:pt x="45" y="14"/>
                    <a:pt x="35" y="18"/>
                    <a:pt x="26" y="18"/>
                  </a:cubicBezTo>
                  <a:cubicBezTo>
                    <a:pt x="19" y="18"/>
                    <a:pt x="13" y="15"/>
                    <a:pt x="8" y="14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5945">
                <a:defRPr/>
              </a:pPr>
              <a:endParaRPr lang="en-US" sz="1764" kern="0" dirty="0">
                <a:solidFill>
                  <a:srgbClr val="505050"/>
                </a:solidFill>
                <a:latin typeface="Segoe UI Semilight"/>
              </a:endParaRPr>
            </a:p>
          </p:txBody>
        </p:sp>
      </p:grpSp>
      <p:sp>
        <p:nvSpPr>
          <p:cNvPr id="19" name="Content Placeholder 25"/>
          <p:cNvSpPr>
            <a:spLocks noGrp="1"/>
          </p:cNvSpPr>
          <p:nvPr>
            <p:ph sz="quarter" idx="14"/>
          </p:nvPr>
        </p:nvSpPr>
        <p:spPr>
          <a:xfrm>
            <a:off x="4800601" y="288927"/>
            <a:ext cx="6096000" cy="6172997"/>
          </a:xfrm>
        </p:spPr>
        <p:txBody>
          <a:bodyPr>
            <a:noAutofit/>
          </a:bodyPr>
          <a:lstStyle>
            <a:lvl1pPr marL="0" indent="0">
              <a:buNone/>
              <a:defRPr sz="2799"/>
            </a:lvl1pPr>
            <a:lvl2pPr marL="335979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813600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93F0F27-6B90-4485-A3C5-1C1E05E189E8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E9C5276-7B68-429C-9DA6-E4F27E0CA04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2F457BA-782B-49BA-97AD-00B8135A75A7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0239570"/>
      </p:ext>
    </p:extLst>
  </p:cSld>
  <p:clrMapOvr>
    <a:masterClrMapping/>
  </p:clrMapOvr>
  <p:transition>
    <p:fade/>
  </p:transition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00977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50204" y="6119147"/>
            <a:ext cx="1253377" cy="268786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80"/>
          <a:stretch/>
        </p:blipFill>
        <p:spPr bwMode="invGray">
          <a:xfrm>
            <a:off x="448213" y="481159"/>
            <a:ext cx="1421436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8102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4" y="1187645"/>
            <a:ext cx="11655078" cy="205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8674914"/>
      </p:ext>
    </p:extLst>
  </p:cSld>
  <p:clrMapOvr>
    <a:masterClrMapping/>
  </p:clrMapOvr>
  <p:transition>
    <p:fade/>
  </p:transition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ENT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5C8D41-03F8-4AE1-9268-78A3204074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011239"/>
            <a:ext cx="11025188" cy="458060"/>
          </a:xfrm>
        </p:spPr>
        <p:txBody>
          <a:bodyPr/>
          <a:lstStyle>
            <a:lvl1pPr algn="ctr">
              <a:defRPr sz="2000">
                <a:solidFill>
                  <a:schemeClr val="accent1"/>
                </a:solidFill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49168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20150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BEB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147B7F7-3EAA-3540-BC65-00BDB110EA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72516"/>
            <a:ext cx="1335673" cy="190278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4A36DC34-EED6-8F49-8473-3802F6C2A3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681" y="2532448"/>
            <a:ext cx="9630389" cy="1793104"/>
          </a:xfrm>
          <a:prstGeom prst="rect">
            <a:avLst/>
          </a:prstGeo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Azure presentation title </a:t>
            </a:r>
            <a:br>
              <a:rPr lang="en-US"/>
            </a:br>
            <a:r>
              <a:rPr lang="en-US"/>
              <a:t>or event nam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2E500E80-DD0C-EF4F-BB7D-03960A098E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466" y="4350114"/>
            <a:ext cx="9602819" cy="724246"/>
          </a:xfrm>
          <a:prstGeom prst="rect">
            <a:avLst/>
          </a:prstGeom>
        </p:spPr>
        <p:txBody>
          <a:bodyPr/>
          <a:lstStyle>
            <a:lvl1pPr>
              <a:defRPr sz="1765">
                <a:solidFill>
                  <a:srgbClr val="000000"/>
                </a:solidFill>
              </a:defRPr>
            </a:lvl1pPr>
            <a:lvl2pPr>
              <a:defRPr sz="1765">
                <a:solidFill>
                  <a:srgbClr val="000000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/>
              <a:t>Author name</a:t>
            </a:r>
            <a:br>
              <a:rPr lang="en-US"/>
            </a:b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8643436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C1F9C5D-BBFD-AE42-A1D5-DA2C27C2E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183" y="473796"/>
            <a:ext cx="1335673" cy="190278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FDD3BB94-DC99-244C-91E3-A9764AF267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681" y="2532448"/>
            <a:ext cx="9630389" cy="1793104"/>
          </a:xfrm>
          <a:prstGeom prst="rect">
            <a:avLst/>
          </a:prstGeo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Azure presentation title </a:t>
            </a:r>
            <a:br>
              <a:rPr lang="en-US"/>
            </a:br>
            <a:r>
              <a:rPr lang="en-US"/>
              <a:t>or event name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63FCEA3C-C822-5A4A-9561-695239EA77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466" y="4350114"/>
            <a:ext cx="9602819" cy="724246"/>
          </a:xfrm>
          <a:prstGeom prst="rect">
            <a:avLst/>
          </a:prstGeom>
        </p:spPr>
        <p:txBody>
          <a:bodyPr/>
          <a:lstStyle>
            <a:lvl1pPr>
              <a:defRPr sz="1765">
                <a:solidFill>
                  <a:schemeClr val="bg2"/>
                </a:solidFill>
              </a:defRPr>
            </a:lvl1pPr>
            <a:lvl2pPr>
              <a:defRPr sz="1765">
                <a:solidFill>
                  <a:srgbClr val="000000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/>
              <a:t>Author name</a:t>
            </a:r>
            <a:br>
              <a:rPr lang="en-US"/>
            </a:b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2544634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C1F9C5D-BBFD-AE42-A1D5-DA2C27C2E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183" y="473796"/>
            <a:ext cx="1335673" cy="19027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302B9254-503D-8F44-9D4B-18675DFDE8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681" y="2532448"/>
            <a:ext cx="9630389" cy="1793104"/>
          </a:xfrm>
          <a:prstGeom prst="rect">
            <a:avLst/>
          </a:prstGeo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Azure presentation title </a:t>
            </a:r>
            <a:br>
              <a:rPr lang="en-US"/>
            </a:br>
            <a:r>
              <a:rPr lang="en-US"/>
              <a:t>or event 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D6C119F-8C39-DF40-90FE-09B7E3ECDB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466" y="4350114"/>
            <a:ext cx="9602819" cy="724246"/>
          </a:xfrm>
          <a:prstGeom prst="rect">
            <a:avLst/>
          </a:prstGeom>
        </p:spPr>
        <p:txBody>
          <a:bodyPr/>
          <a:lstStyle>
            <a:lvl1pPr>
              <a:defRPr sz="1765">
                <a:solidFill>
                  <a:schemeClr val="bg2"/>
                </a:solidFill>
              </a:defRPr>
            </a:lvl1pPr>
            <a:lvl2pPr>
              <a:defRPr sz="1765">
                <a:solidFill>
                  <a:srgbClr val="000000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/>
              <a:t>Author name</a:t>
            </a:r>
            <a:br>
              <a:rPr lang="en-US"/>
            </a:b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531375459"/>
      </p:ext>
    </p:extLst>
  </p:cSld>
  <p:clrMapOvr>
    <a:masterClrMapping/>
  </p:clrMapOvr>
  <p:transition>
    <p:fade/>
  </p:transition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83EBA8-9428-5042-A6AB-BA1563CB95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72516"/>
            <a:ext cx="1335673" cy="19027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0419340-DB0C-B34E-84FE-2AA1A19A58C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7617" y="0"/>
            <a:ext cx="5973790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D09A9D1-6212-8B49-96D7-B3E9D17D4B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681" y="2532448"/>
            <a:ext cx="5428936" cy="1793104"/>
          </a:xfrm>
          <a:prstGeom prst="rect">
            <a:avLst/>
          </a:prstGeo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Azure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881A9F1-B3A4-0742-8DAD-18EC8A78C5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466" y="4350114"/>
            <a:ext cx="5413394" cy="724246"/>
          </a:xfrm>
          <a:prstGeom prst="rect">
            <a:avLst/>
          </a:prstGeom>
        </p:spPr>
        <p:txBody>
          <a:bodyPr/>
          <a:lstStyle>
            <a:lvl1pPr>
              <a:defRPr sz="1765">
                <a:solidFill>
                  <a:srgbClr val="000000"/>
                </a:solidFill>
              </a:defRPr>
            </a:lvl1pPr>
            <a:lvl2pPr>
              <a:defRPr sz="1765">
                <a:solidFill>
                  <a:srgbClr val="000000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/>
              <a:t>Author name</a:t>
            </a:r>
            <a:br>
              <a:rPr lang="en-US"/>
            </a:b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14040233"/>
      </p:ext>
    </p:extLst>
  </p:cSld>
  <p:clrMapOvr>
    <a:masterClrMapping/>
  </p:clrMapOvr>
  <p:transition>
    <p:fade/>
  </p:transition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CFF9732-E389-084D-A7F3-09AC5EED73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72516"/>
            <a:ext cx="1335673" cy="19027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7E4AC65-3150-034F-B089-A8B21D5F2E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681" y="2532448"/>
            <a:ext cx="5428936" cy="1793104"/>
          </a:xfrm>
          <a:prstGeom prst="rect">
            <a:avLst/>
          </a:prstGeo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Azure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9B09652-4E45-F04D-8357-20491F718B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466" y="4350114"/>
            <a:ext cx="5413394" cy="724246"/>
          </a:xfrm>
          <a:prstGeom prst="rect">
            <a:avLst/>
          </a:prstGeom>
        </p:spPr>
        <p:txBody>
          <a:bodyPr/>
          <a:lstStyle>
            <a:lvl1pPr>
              <a:defRPr sz="1765">
                <a:solidFill>
                  <a:srgbClr val="000000"/>
                </a:solidFill>
              </a:defRPr>
            </a:lvl1pPr>
            <a:lvl2pPr>
              <a:defRPr sz="1765">
                <a:solidFill>
                  <a:srgbClr val="000000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/>
              <a:t>Autho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4BDF03-4137-9B4F-811A-B300BDF9B2A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467" y="206105"/>
            <a:ext cx="5583404" cy="6409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327350"/>
      </p:ext>
    </p:extLst>
  </p:cSld>
  <p:clrMapOvr>
    <a:masterClrMapping/>
  </p:clrMapOvr>
  <p:transition>
    <p:fade/>
  </p:transition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CFF9732-E389-084D-A7F3-09AC5EED73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72516"/>
            <a:ext cx="1335673" cy="19027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7E4AC65-3150-034F-B089-A8B21D5F2E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681" y="2532448"/>
            <a:ext cx="5428936" cy="1793104"/>
          </a:xfrm>
          <a:prstGeom prst="rect">
            <a:avLst/>
          </a:prstGeo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Azure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9B09652-4E45-F04D-8357-20491F718B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466" y="4350114"/>
            <a:ext cx="5413394" cy="724246"/>
          </a:xfrm>
          <a:prstGeom prst="rect">
            <a:avLst/>
          </a:prstGeom>
        </p:spPr>
        <p:txBody>
          <a:bodyPr/>
          <a:lstStyle>
            <a:lvl1pPr>
              <a:defRPr sz="1765">
                <a:solidFill>
                  <a:srgbClr val="000000"/>
                </a:solidFill>
              </a:defRPr>
            </a:lvl1pPr>
            <a:lvl2pPr>
              <a:defRPr sz="1765">
                <a:solidFill>
                  <a:srgbClr val="000000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/>
              <a:t>Autho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DB9C92-5B22-1645-98AA-DEA153351D4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5182" y="321589"/>
            <a:ext cx="5413537" cy="621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464455"/>
      </p:ext>
    </p:extLst>
  </p:cSld>
  <p:clrMapOvr>
    <a:masterClrMapping/>
  </p:clrMapOvr>
  <p:transition>
    <p:fade/>
  </p:transition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CFF9732-E389-084D-A7F3-09AC5EED73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72516"/>
            <a:ext cx="1335673" cy="19027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7E4AC65-3150-034F-B089-A8B21D5F2E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681" y="2532448"/>
            <a:ext cx="5428936" cy="1793104"/>
          </a:xfrm>
          <a:prstGeom prst="rect">
            <a:avLst/>
          </a:prstGeo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Azure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9B09652-4E45-F04D-8357-20491F718B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466" y="4350114"/>
            <a:ext cx="5413394" cy="724246"/>
          </a:xfrm>
          <a:prstGeom prst="rect">
            <a:avLst/>
          </a:prstGeom>
        </p:spPr>
        <p:txBody>
          <a:bodyPr/>
          <a:lstStyle>
            <a:lvl1pPr>
              <a:defRPr sz="1765">
                <a:solidFill>
                  <a:srgbClr val="000000"/>
                </a:solidFill>
              </a:defRPr>
            </a:lvl1pPr>
            <a:lvl2pPr>
              <a:defRPr sz="1765">
                <a:solidFill>
                  <a:srgbClr val="000000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/>
              <a:t>Author name</a:t>
            </a:r>
            <a:br>
              <a:rPr lang="en-US"/>
            </a:br>
            <a:r>
              <a:rPr lang="en-US"/>
              <a:t>Dat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507D490-6D76-184D-B20A-2C0F2F3DD099}"/>
              </a:ext>
            </a:extLst>
          </p:cNvPr>
          <p:cNvSpPr/>
          <p:nvPr userDrawn="1"/>
        </p:nvSpPr>
        <p:spPr bwMode="auto">
          <a:xfrm>
            <a:off x="6111901" y="0"/>
            <a:ext cx="6080099" cy="6858000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4B63C3A-8B21-B940-BD1D-D9281E6DD25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5055" y="0"/>
            <a:ext cx="59737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017192"/>
      </p:ext>
    </p:extLst>
  </p:cSld>
  <p:clrMapOvr>
    <a:masterClrMapping/>
  </p:clrMapOvr>
  <p:transition>
    <p:fade/>
  </p:transition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CFF9732-E389-084D-A7F3-09AC5EED73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72516"/>
            <a:ext cx="1335673" cy="19027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7E4AC65-3150-034F-B089-A8B21D5F2E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681" y="2532448"/>
            <a:ext cx="5428936" cy="1793104"/>
          </a:xfrm>
          <a:prstGeom prst="rect">
            <a:avLst/>
          </a:prstGeo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Azure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9B09652-4E45-F04D-8357-20491F718B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466" y="4350114"/>
            <a:ext cx="5413394" cy="724246"/>
          </a:xfrm>
          <a:prstGeom prst="rect">
            <a:avLst/>
          </a:prstGeom>
        </p:spPr>
        <p:txBody>
          <a:bodyPr/>
          <a:lstStyle>
            <a:lvl1pPr>
              <a:defRPr sz="1765">
                <a:solidFill>
                  <a:srgbClr val="000000"/>
                </a:solidFill>
              </a:defRPr>
            </a:lvl1pPr>
            <a:lvl2pPr>
              <a:defRPr sz="1765">
                <a:solidFill>
                  <a:srgbClr val="000000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/>
              <a:t>Author name</a:t>
            </a:r>
            <a:br>
              <a:rPr lang="en-US"/>
            </a:br>
            <a:r>
              <a:rPr lang="en-US"/>
              <a:t>Dat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76228DA-C78B-F44C-94F8-7128E0B2D7A7}"/>
              </a:ext>
            </a:extLst>
          </p:cNvPr>
          <p:cNvSpPr/>
          <p:nvPr userDrawn="1"/>
        </p:nvSpPr>
        <p:spPr bwMode="auto">
          <a:xfrm>
            <a:off x="6111901" y="0"/>
            <a:ext cx="6080099" cy="6858000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2E84EF-6F95-A646-8F37-FD94FE9079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11901" y="0"/>
            <a:ext cx="60800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328780"/>
      </p:ext>
    </p:extLst>
  </p:cSld>
  <p:clrMapOvr>
    <a:masterClrMapping/>
  </p:clrMapOvr>
  <p:transition>
    <p:fade/>
  </p:transition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CFF9732-E389-084D-A7F3-09AC5EED73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72516"/>
            <a:ext cx="1335673" cy="19027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7E4AC65-3150-034F-B089-A8B21D5F2E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681" y="2532448"/>
            <a:ext cx="5428936" cy="1793104"/>
          </a:xfrm>
          <a:prstGeom prst="rect">
            <a:avLst/>
          </a:prstGeo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Azure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9B09652-4E45-F04D-8357-20491F718B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466" y="4350114"/>
            <a:ext cx="5413394" cy="724246"/>
          </a:xfrm>
          <a:prstGeom prst="rect">
            <a:avLst/>
          </a:prstGeom>
        </p:spPr>
        <p:txBody>
          <a:bodyPr/>
          <a:lstStyle>
            <a:lvl1pPr>
              <a:defRPr sz="1765">
                <a:solidFill>
                  <a:srgbClr val="000000"/>
                </a:solidFill>
              </a:defRPr>
            </a:lvl1pPr>
            <a:lvl2pPr>
              <a:defRPr sz="1765">
                <a:solidFill>
                  <a:srgbClr val="000000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/>
              <a:t>Author name</a:t>
            </a:r>
            <a:br>
              <a:rPr lang="en-US"/>
            </a:br>
            <a:r>
              <a:rPr lang="en-US"/>
              <a:t>Dat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1443AB1-0CDE-B44D-8883-27DEB7B914EA}"/>
              </a:ext>
            </a:extLst>
          </p:cNvPr>
          <p:cNvSpPr/>
          <p:nvPr userDrawn="1"/>
        </p:nvSpPr>
        <p:spPr bwMode="auto">
          <a:xfrm>
            <a:off x="6111901" y="0"/>
            <a:ext cx="6080099" cy="6858000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4E0159D-061E-A640-B0A5-C7A703E35A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5055" y="0"/>
            <a:ext cx="59737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510724"/>
      </p:ext>
    </p:extLst>
  </p:cSld>
  <p:clrMapOvr>
    <a:masterClrMapping/>
  </p:clrMapOvr>
  <p:transition>
    <p:fade/>
  </p:transition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CFF9732-E389-084D-A7F3-09AC5EED73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72516"/>
            <a:ext cx="1335673" cy="19027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7E4AC65-3150-034F-B089-A8B21D5F2E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681" y="2532448"/>
            <a:ext cx="5428936" cy="1793104"/>
          </a:xfrm>
          <a:prstGeom prst="rect">
            <a:avLst/>
          </a:prstGeo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Azure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9B09652-4E45-F04D-8357-20491F718B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466" y="4350114"/>
            <a:ext cx="5413394" cy="724246"/>
          </a:xfrm>
          <a:prstGeom prst="rect">
            <a:avLst/>
          </a:prstGeom>
        </p:spPr>
        <p:txBody>
          <a:bodyPr/>
          <a:lstStyle>
            <a:lvl1pPr>
              <a:defRPr sz="1765">
                <a:solidFill>
                  <a:srgbClr val="000000"/>
                </a:solidFill>
              </a:defRPr>
            </a:lvl1pPr>
            <a:lvl2pPr>
              <a:defRPr sz="1765">
                <a:solidFill>
                  <a:srgbClr val="000000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/>
              <a:t>Autho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2E2926B-CE4C-8042-8EAB-E69CCC77CE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8210" y="0"/>
            <a:ext cx="59737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7065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4572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572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125E4DB-85EC-4C86-9AA0-FC1BD5F812F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4208" y="1570863"/>
            <a:ext cx="5197584" cy="3716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5069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CFF9732-E389-084D-A7F3-09AC5EED73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72516"/>
            <a:ext cx="1335673" cy="19027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7E4AC65-3150-034F-B089-A8B21D5F2E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681" y="2532448"/>
            <a:ext cx="5428936" cy="1793104"/>
          </a:xfrm>
          <a:prstGeom prst="rect">
            <a:avLst/>
          </a:prstGeo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Azure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9B09652-4E45-F04D-8357-20491F718B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466" y="4350114"/>
            <a:ext cx="5413394" cy="724246"/>
          </a:xfrm>
          <a:prstGeom prst="rect">
            <a:avLst/>
          </a:prstGeom>
        </p:spPr>
        <p:txBody>
          <a:bodyPr/>
          <a:lstStyle>
            <a:lvl1pPr>
              <a:defRPr sz="1765">
                <a:solidFill>
                  <a:srgbClr val="000000"/>
                </a:solidFill>
              </a:defRPr>
            </a:lvl1pPr>
            <a:lvl2pPr>
              <a:defRPr sz="1765">
                <a:solidFill>
                  <a:srgbClr val="000000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/>
              <a:t>Autho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5B5B5AE-3FA2-9E4F-A2B8-042B9D3557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18210" y="0"/>
            <a:ext cx="59737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392088"/>
      </p:ext>
    </p:extLst>
  </p:cSld>
  <p:clrMapOvr>
    <a:masterClrMapping/>
  </p:clrMapOvr>
  <p:transition>
    <p:fade/>
  </p:transition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CFF9732-E389-084D-A7F3-09AC5EED73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72516"/>
            <a:ext cx="1335673" cy="19027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7E4AC65-3150-034F-B089-A8B21D5F2E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681" y="2532448"/>
            <a:ext cx="5428936" cy="1793104"/>
          </a:xfrm>
          <a:prstGeom prst="rect">
            <a:avLst/>
          </a:prstGeo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Azure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9B09652-4E45-F04D-8357-20491F718B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466" y="4350114"/>
            <a:ext cx="5413394" cy="724246"/>
          </a:xfrm>
          <a:prstGeom prst="rect">
            <a:avLst/>
          </a:prstGeom>
        </p:spPr>
        <p:txBody>
          <a:bodyPr/>
          <a:lstStyle>
            <a:lvl1pPr>
              <a:defRPr sz="1765">
                <a:solidFill>
                  <a:srgbClr val="000000"/>
                </a:solidFill>
              </a:defRPr>
            </a:lvl1pPr>
            <a:lvl2pPr>
              <a:defRPr sz="1765">
                <a:solidFill>
                  <a:srgbClr val="000000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/>
              <a:t>Autho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B6D3BFF-96E5-A945-99DA-8C69FBFC85B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8210" y="0"/>
            <a:ext cx="59737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467558"/>
      </p:ext>
    </p:extLst>
  </p:cSld>
  <p:clrMapOvr>
    <a:masterClrMapping/>
  </p:clrMapOvr>
  <p:transition>
    <p:fade/>
  </p:transition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1168943"/>
            <a:ext cx="3618381" cy="899665"/>
          </a:xfrm>
          <a:prstGeom prst="rect">
            <a:avLst/>
          </a:prstGeom>
        </p:spPr>
        <p:txBody>
          <a:bodyPr lIns="0" tIns="0" rIns="0" bIns="0"/>
          <a:lstStyle>
            <a:lvl1pPr>
              <a:defRPr sz="1765" spc="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29843" y="1168943"/>
            <a:ext cx="547437" cy="3786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defTabSz="507330">
              <a:spcAft>
                <a:spcPts val="490"/>
              </a:spcAft>
              <a:buNone/>
              <a:defRPr sz="1765" spc="0" baseline="0">
                <a:solidFill>
                  <a:schemeClr val="tx2"/>
                </a:solidFill>
              </a:defRPr>
            </a:lvl1pPr>
            <a:lvl2pPr marL="224097" indent="0">
              <a:buNone/>
              <a:defRPr sz="1765"/>
            </a:lvl2pPr>
            <a:lvl3pPr marL="448193" indent="0">
              <a:buNone/>
              <a:defRPr sz="1765"/>
            </a:lvl3pPr>
            <a:lvl4pPr marL="672290" indent="0">
              <a:buNone/>
              <a:defRPr sz="1765"/>
            </a:lvl4pPr>
            <a:lvl5pPr marL="896386" indent="0">
              <a:buNone/>
              <a:defRPr sz="1765"/>
            </a:lvl5pPr>
          </a:lstStyle>
          <a:p>
            <a:pPr lvl="0"/>
            <a:r>
              <a:rPr lang="en-US"/>
              <a:t>##</a:t>
            </a:r>
            <a:br>
              <a:rPr lang="en-US"/>
            </a:br>
            <a:r>
              <a:rPr lang="en-US"/>
              <a:t>##</a:t>
            </a:r>
            <a:br>
              <a:rPr lang="en-US"/>
            </a:br>
            <a:r>
              <a:rPr lang="en-US"/>
              <a:t>##</a:t>
            </a:r>
            <a:br>
              <a:rPr lang="en-US"/>
            </a:br>
            <a:r>
              <a:rPr lang="en-US"/>
              <a:t>##</a:t>
            </a:r>
            <a:br>
              <a:rPr lang="en-US"/>
            </a:br>
            <a:r>
              <a:rPr lang="en-US"/>
              <a:t>##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FF941B29-79EC-DD49-A767-757BAE16FC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77280" y="1168942"/>
            <a:ext cx="3290380" cy="3786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defTabSz="507330">
              <a:spcAft>
                <a:spcPts val="490"/>
              </a:spcAft>
              <a:buNone/>
              <a:defRPr sz="1765" spc="0" baseline="0">
                <a:solidFill>
                  <a:srgbClr val="000000"/>
                </a:solidFill>
              </a:defRPr>
            </a:lvl1pPr>
            <a:lvl2pPr marL="224097" indent="0">
              <a:buNone/>
              <a:defRPr sz="1765"/>
            </a:lvl2pPr>
            <a:lvl3pPr marL="448193" indent="0">
              <a:buNone/>
              <a:defRPr sz="1765"/>
            </a:lvl3pPr>
            <a:lvl4pPr marL="672290" indent="0">
              <a:buNone/>
              <a:defRPr sz="1765"/>
            </a:lvl4pPr>
            <a:lvl5pPr marL="896386" indent="0">
              <a:buNone/>
              <a:defRPr sz="1765"/>
            </a:lvl5pPr>
          </a:lstStyle>
          <a:p>
            <a:pPr lvl="0"/>
            <a:r>
              <a:rPr lang="en-US"/>
              <a:t>Section Title</a:t>
            </a:r>
            <a:br>
              <a:rPr lang="en-US"/>
            </a:br>
            <a:r>
              <a:rPr lang="en-US"/>
              <a:t>Section Title</a:t>
            </a:r>
            <a:br>
              <a:rPr lang="en-US"/>
            </a:br>
            <a:r>
              <a:rPr lang="en-US"/>
              <a:t>Section Title</a:t>
            </a:r>
            <a:br>
              <a:rPr lang="en-US"/>
            </a:br>
            <a:r>
              <a:rPr lang="en-US"/>
              <a:t>Section Title</a:t>
            </a:r>
            <a:br>
              <a:rPr lang="en-US"/>
            </a:br>
            <a:r>
              <a:rPr lang="en-US"/>
              <a:t>Section Title</a:t>
            </a:r>
          </a:p>
        </p:txBody>
      </p:sp>
      <p:sp>
        <p:nvSpPr>
          <p:cNvPr id="16" name="Text Box 3">
            <a:extLst>
              <a:ext uri="{FF2B5EF4-FFF2-40B4-BE49-F238E27FC236}">
                <a16:creationId xmlns:a16="http://schemas.microsoft.com/office/drawing/2014/main" id="{A2F7DAD6-99FA-B74A-87E5-BFA3CB237070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673734172"/>
      </p:ext>
    </p:extLst>
  </p:cSld>
  <p:clrMapOvr>
    <a:masterClrMapping/>
  </p:clrMapOvr>
  <p:transition>
    <p:fade/>
  </p:transition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801"/>
            <a:ext cx="11306469" cy="2877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1961" b="0" i="0" spc="0">
                <a:solidFill>
                  <a:srgbClr val="000000"/>
                </a:solidFill>
                <a:latin typeface="+mj-lt"/>
              </a:defRPr>
            </a:lvl1pPr>
            <a:lvl2pPr marL="0" indent="0">
              <a:lnSpc>
                <a:spcPts val="2353"/>
              </a:lnSpc>
              <a:buNone/>
              <a:defRPr spc="0">
                <a:solidFill>
                  <a:srgbClr val="000000"/>
                </a:solidFill>
                <a:latin typeface="+mn-lt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1"/>
            <a:r>
              <a:rPr lang="en-US"/>
              <a:t>Large: subhead Segoe UI Regular 20/2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3015704"/>
            <a:ext cx="11306469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None/>
              <a:defRPr sz="1372" b="0" spc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 spc="0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Medium: paragraph heading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6E35749-090F-0542-9B4B-BF37EFC334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5995" y="4503832"/>
            <a:ext cx="11306469" cy="1508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0"/>
              </a:spcBef>
              <a:buNone/>
              <a:defRPr sz="980" spc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80" spc="0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0" indent="0">
              <a:lnSpc>
                <a:spcPct val="100000"/>
              </a:lnSpc>
              <a:buNone/>
              <a:defRPr>
                <a:solidFill>
                  <a:srgbClr val="000000"/>
                </a:solidFill>
              </a:defRPr>
            </a:lvl5pPr>
          </a:lstStyle>
          <a:p>
            <a:pPr lvl="1"/>
            <a:r>
              <a:rPr lang="en-US"/>
              <a:t>Small: caption body copy Segoe Regular 10/12</a:t>
            </a:r>
          </a:p>
        </p:txBody>
      </p:sp>
      <p:sp>
        <p:nvSpPr>
          <p:cNvPr id="18" name="Text Box 3">
            <a:extLst>
              <a:ext uri="{FF2B5EF4-FFF2-40B4-BE49-F238E27FC236}">
                <a16:creationId xmlns:a16="http://schemas.microsoft.com/office/drawing/2014/main" id="{19F02595-114B-2D46-ABDC-5E65D166807C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8F32AD9-0E33-284C-8468-E63BF69AF2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4169" y="4299924"/>
            <a:ext cx="11306469" cy="243143"/>
          </a:xfrm>
          <a:prstGeom prst="rect">
            <a:avLst/>
          </a:prstGeom>
        </p:spPr>
        <p:txBody>
          <a:bodyPr tIns="0"/>
          <a:lstStyle>
            <a:lvl1pPr>
              <a:defRPr lang="en-US" sz="980" b="1" kern="1200" spc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mall: caption title Segoe UI Bold 10/12. 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A46FDB1-D336-7C45-BF92-D58B6C5503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4169" y="3258992"/>
            <a:ext cx="11306469" cy="2161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Medium: body copy Segoe UI Regular 14/18</a:t>
            </a:r>
          </a:p>
        </p:txBody>
      </p:sp>
    </p:spTree>
    <p:extLst>
      <p:ext uri="{BB962C8B-B14F-4D97-AF65-F5344CB8AC3E}">
        <p14:creationId xmlns:p14="http://schemas.microsoft.com/office/powerpoint/2010/main" val="537104298"/>
      </p:ext>
    </p:extLst>
  </p:cSld>
  <p:clrMapOvr>
    <a:masterClrMapping/>
  </p:clrMapOvr>
  <p:transition>
    <p:fade/>
  </p:transition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28/32</a:t>
            </a:r>
          </a:p>
        </p:txBody>
      </p:sp>
      <p:sp>
        <p:nvSpPr>
          <p:cNvPr id="18" name="Text Box 3">
            <a:extLst>
              <a:ext uri="{FF2B5EF4-FFF2-40B4-BE49-F238E27FC236}">
                <a16:creationId xmlns:a16="http://schemas.microsoft.com/office/drawing/2014/main" id="{19F02595-114B-2D46-ABDC-5E65D166807C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EE1E43F-C091-614B-AA20-F39D0AACAA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586"/>
            <a:ext cx="9384447" cy="33655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36145" marR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961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ulleted list Segoe UI Regular 20/24. Dis </a:t>
            </a:r>
            <a:r>
              <a:rPr lang="en-US" err="1"/>
              <a:t>apid</a:t>
            </a:r>
            <a:r>
              <a:rPr lang="en-US"/>
              <a:t> es </a:t>
            </a:r>
            <a:r>
              <a:rPr lang="en-US" err="1"/>
              <a:t>simusanditi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ex et </a:t>
            </a:r>
            <a:r>
              <a:rPr lang="en-US" err="1"/>
              <a:t>illore</a:t>
            </a:r>
            <a:r>
              <a:rPr lang="en-US"/>
              <a:t>, </a:t>
            </a:r>
            <a:r>
              <a:rPr lang="en-US" err="1"/>
              <a:t>nectatione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dic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vit </a:t>
            </a:r>
            <a:r>
              <a:rPr lang="en-US" err="1"/>
              <a:t>velestium</a:t>
            </a:r>
            <a:r>
              <a:rPr lang="en-US"/>
              <a:t> </a:t>
            </a:r>
            <a:r>
              <a:rPr lang="en-US" err="1"/>
              <a:t>reperro</a:t>
            </a:r>
            <a:r>
              <a:rPr lang="en-US"/>
              <a:t> </a:t>
            </a:r>
            <a:r>
              <a:rPr lang="en-US" err="1"/>
              <a:t>rroviduntion</a:t>
            </a:r>
            <a:r>
              <a:rPr lang="en-US"/>
              <a:t> </a:t>
            </a:r>
            <a:r>
              <a:rPr lang="en-US" err="1"/>
              <a:t>conem</a:t>
            </a:r>
            <a:r>
              <a:rPr lang="en-US"/>
              <a:t> </a:t>
            </a:r>
            <a:r>
              <a:rPr lang="en-US" err="1"/>
              <a:t>rehend</a:t>
            </a:r>
            <a:br>
              <a:rPr lang="en-US"/>
            </a:br>
            <a:endParaRPr lang="en-US"/>
          </a:p>
          <a:p>
            <a:pPr marL="336145" marR="0" lvl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ulleted list Segoe UI Regular 20/24. Dis </a:t>
            </a:r>
            <a:r>
              <a:rPr lang="en-US" err="1"/>
              <a:t>apid</a:t>
            </a:r>
            <a:r>
              <a:rPr lang="en-US"/>
              <a:t> es </a:t>
            </a:r>
            <a:r>
              <a:rPr lang="en-US" err="1"/>
              <a:t>simusanditi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ex et </a:t>
            </a:r>
            <a:r>
              <a:rPr lang="en-US" err="1"/>
              <a:t>illore</a:t>
            </a:r>
            <a:r>
              <a:rPr lang="en-US"/>
              <a:t>, </a:t>
            </a:r>
            <a:r>
              <a:rPr lang="en-US" err="1"/>
              <a:t>nectatione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dic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vit </a:t>
            </a:r>
            <a:r>
              <a:rPr lang="en-US" err="1"/>
              <a:t>velestium</a:t>
            </a:r>
            <a:r>
              <a:rPr lang="en-US"/>
              <a:t> </a:t>
            </a:r>
            <a:r>
              <a:rPr lang="en-US" err="1"/>
              <a:t>reperro</a:t>
            </a:r>
            <a:r>
              <a:rPr lang="en-US"/>
              <a:t> </a:t>
            </a:r>
            <a:r>
              <a:rPr lang="en-US" err="1"/>
              <a:t>rroviduntion</a:t>
            </a:r>
            <a:r>
              <a:rPr lang="en-US"/>
              <a:t> </a:t>
            </a:r>
            <a:r>
              <a:rPr lang="en-US" err="1"/>
              <a:t>conem</a:t>
            </a:r>
            <a:r>
              <a:rPr lang="en-US"/>
              <a:t> </a:t>
            </a:r>
            <a:r>
              <a:rPr lang="en-US" err="1"/>
              <a:t>rehend</a:t>
            </a:r>
            <a:br>
              <a:rPr lang="en-US"/>
            </a:br>
            <a:endParaRPr lang="en-US"/>
          </a:p>
          <a:p>
            <a:pPr marL="336145" marR="0" lvl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ulleted list Segoe UI Regular 20/24. Dis </a:t>
            </a:r>
            <a:r>
              <a:rPr lang="en-US" err="1"/>
              <a:t>apid</a:t>
            </a:r>
            <a:r>
              <a:rPr lang="en-US"/>
              <a:t> es </a:t>
            </a:r>
            <a:r>
              <a:rPr lang="en-US" err="1"/>
              <a:t>simusanditi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ex et </a:t>
            </a:r>
            <a:r>
              <a:rPr lang="en-US" err="1"/>
              <a:t>illore</a:t>
            </a:r>
            <a:r>
              <a:rPr lang="en-US"/>
              <a:t>, </a:t>
            </a:r>
            <a:r>
              <a:rPr lang="en-US" err="1"/>
              <a:t>nectatione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dic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vit </a:t>
            </a:r>
            <a:r>
              <a:rPr lang="en-US" err="1"/>
              <a:t>velestium</a:t>
            </a:r>
            <a:r>
              <a:rPr lang="en-US"/>
              <a:t> </a:t>
            </a:r>
            <a:r>
              <a:rPr lang="en-US" err="1"/>
              <a:t>reperro</a:t>
            </a:r>
            <a:r>
              <a:rPr lang="en-US"/>
              <a:t> </a:t>
            </a:r>
            <a:r>
              <a:rPr lang="en-US" err="1"/>
              <a:t>rroviduntion</a:t>
            </a:r>
            <a:r>
              <a:rPr lang="en-US"/>
              <a:t> </a:t>
            </a:r>
            <a:r>
              <a:rPr lang="en-US" err="1"/>
              <a:t>conem</a:t>
            </a:r>
            <a:r>
              <a:rPr lang="en-US"/>
              <a:t> </a:t>
            </a:r>
            <a:r>
              <a:rPr lang="en-US" err="1"/>
              <a:t>rehend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659433"/>
      </p:ext>
    </p:extLst>
  </p:cSld>
  <p:clrMapOvr>
    <a:masterClrMapping/>
  </p:clrMapOvr>
  <p:transition>
    <p:fade/>
  </p:transition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Text option 1: three column bulleted lis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587"/>
            <a:ext cx="9384447" cy="6035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lang="en-US" sz="1961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Segoe UI Regular 20/24. Dis </a:t>
            </a:r>
            <a:r>
              <a:rPr lang="en-US" err="1"/>
              <a:t>apid</a:t>
            </a:r>
            <a:r>
              <a:rPr lang="en-US"/>
              <a:t> </a:t>
            </a:r>
            <a:r>
              <a:rPr lang="en-US" err="1"/>
              <a:t>es</a:t>
            </a:r>
            <a:r>
              <a:rPr lang="en-US"/>
              <a:t> </a:t>
            </a:r>
            <a:r>
              <a:rPr lang="en-US" err="1"/>
              <a:t>simusanditi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ex et </a:t>
            </a:r>
            <a:r>
              <a:rPr lang="en-US" err="1"/>
              <a:t>illore</a:t>
            </a:r>
            <a:r>
              <a:rPr lang="en-US"/>
              <a:t>, </a:t>
            </a:r>
            <a:r>
              <a:rPr lang="en-US" err="1"/>
              <a:t>nectatione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dic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vit</a:t>
            </a:r>
            <a:r>
              <a:rPr lang="en-US"/>
              <a:t> </a:t>
            </a:r>
            <a:r>
              <a:rPr lang="en-US" err="1"/>
              <a:t>velestium</a:t>
            </a:r>
            <a:r>
              <a:rPr lang="en-US"/>
              <a:t> </a:t>
            </a:r>
            <a:r>
              <a:rPr lang="en-US" err="1"/>
              <a:t>reperro</a:t>
            </a:r>
            <a:r>
              <a:rPr lang="en-US"/>
              <a:t> </a:t>
            </a:r>
            <a:r>
              <a:rPr lang="en-US" err="1"/>
              <a:t>rroviduntion</a:t>
            </a:r>
            <a:r>
              <a:rPr lang="en-US"/>
              <a:t> </a:t>
            </a:r>
            <a:r>
              <a:rPr lang="en-US" err="1"/>
              <a:t>conem</a:t>
            </a:r>
            <a:r>
              <a:rPr lang="en-US"/>
              <a:t> </a:t>
            </a:r>
            <a:r>
              <a:rPr lang="en-US" err="1"/>
              <a:t>rehend</a:t>
            </a:r>
            <a:r>
              <a:rPr lang="en-US"/>
              <a:t>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3151388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None/>
              <a:defRPr sz="1372" b="0" spc="0" baseline="0">
                <a:solidFill>
                  <a:schemeClr val="tx2"/>
                </a:solidFill>
                <a:latin typeface="+mj-lt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372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3383CEA-4FEB-4C9E-B7D6-3B36BC8EB7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449" y="3151388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None/>
              <a:defRPr sz="1372" b="0" spc="0" baseline="0">
                <a:solidFill>
                  <a:schemeClr val="tx2"/>
                </a:solidFill>
                <a:latin typeface="+mj-lt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372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5007055-7118-477F-B301-DB401591FA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49960" y="3151388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None/>
              <a:defRPr sz="1372" b="0" spc="0" baseline="0">
                <a:solidFill>
                  <a:schemeClr val="tx2"/>
                </a:solidFill>
                <a:latin typeface="+mj-lt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372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</p:txBody>
      </p:sp>
      <p:sp>
        <p:nvSpPr>
          <p:cNvPr id="23" name="Text Box 3">
            <a:extLst>
              <a:ext uri="{FF2B5EF4-FFF2-40B4-BE49-F238E27FC236}">
                <a16:creationId xmlns:a16="http://schemas.microsoft.com/office/drawing/2014/main" id="{DD31BD93-DFDF-4C46-8FDE-B1B55850B6B2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2951A14E-1D63-9E44-9361-FD57A8BD81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4169" y="3378439"/>
            <a:ext cx="3618381" cy="2059666"/>
          </a:xfrm>
          <a:prstGeom prst="rect">
            <a:avLst/>
          </a:prstGeom>
        </p:spPr>
        <p:txBody>
          <a:bodyPr lIns="0" tIns="0" rIns="0" bIns="0"/>
          <a:lstStyle>
            <a:lvl1pPr marL="280121" indent="-280121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1C3BF983-4009-1049-9AD7-C94BE3AA19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8449" y="3378439"/>
            <a:ext cx="3618381" cy="2059666"/>
          </a:xfrm>
          <a:prstGeom prst="rect">
            <a:avLst/>
          </a:prstGeom>
        </p:spPr>
        <p:txBody>
          <a:bodyPr lIns="0" tIns="0" rIns="0" bIns="0"/>
          <a:lstStyle>
            <a:lvl1pPr marL="280121" indent="-280121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2361C016-E331-F44F-ACAE-52E4AE73469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56766" y="3378439"/>
            <a:ext cx="3618381" cy="2059666"/>
          </a:xfrm>
          <a:prstGeom prst="rect">
            <a:avLst/>
          </a:prstGeom>
        </p:spPr>
        <p:txBody>
          <a:bodyPr lIns="0" tIns="0" rIns="0" bIns="0"/>
          <a:lstStyle>
            <a:lvl1pPr marL="280121" indent="-280121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989656075"/>
      </p:ext>
    </p:extLst>
  </p:cSld>
  <p:clrMapOvr>
    <a:masterClrMapping/>
  </p:clrMapOvr>
  <p:transition>
    <p:fade/>
  </p:transition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Text option 2: two columns copy heavy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9E39B6D-21AF-485C-B606-D6EA248988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995" y="2363622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  <a:endParaRPr lang="en-US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D0D85DDD-B7EA-4D73-BA98-A5ACF1DB2D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03151" y="2363622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  <a:endParaRPr lang="en-US"/>
          </a:p>
        </p:txBody>
      </p:sp>
      <p:sp>
        <p:nvSpPr>
          <p:cNvPr id="13" name="Text Box 3">
            <a:extLst>
              <a:ext uri="{FF2B5EF4-FFF2-40B4-BE49-F238E27FC236}">
                <a16:creationId xmlns:a16="http://schemas.microsoft.com/office/drawing/2014/main" id="{CCDF1654-4D2D-794C-BBB7-E1447C036FDB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82A6E05B-C65A-8C44-AC8B-AA08746E66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995" y="2593749"/>
            <a:ext cx="3618381" cy="20596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52482AC-A354-B546-9AAD-B3E0285120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86809" y="2593749"/>
            <a:ext cx="3618381" cy="20596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90052674"/>
      </p:ext>
    </p:extLst>
  </p:cSld>
  <p:clrMapOvr>
    <a:masterClrMapping/>
  </p:clrMapOvr>
  <p:transition>
    <p:fade/>
  </p:transition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"/>
          <a:stretch/>
        </p:blipFill>
        <p:spPr>
          <a:xfrm>
            <a:off x="8144083" y="1599720"/>
            <a:ext cx="3609417" cy="310372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"/>
          <a:stretch/>
        </p:blipFill>
        <p:spPr>
          <a:xfrm>
            <a:off x="4309002" y="1599721"/>
            <a:ext cx="3612531" cy="309939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4957" y="1599722"/>
            <a:ext cx="3609417" cy="310804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Text option 3: three columns images an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4927922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44083" y="4927922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97742EC-5845-4BB1-84A3-00C1CF89012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03151" y="4927922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501F238-570E-E648-9E57-DAA86A7A8ED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65332" y="2882153"/>
            <a:ext cx="3609043" cy="54318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877AA6F-F5D0-8349-8D7F-7A036C53AFE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03151" y="2875700"/>
            <a:ext cx="3618381" cy="54318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83A4321-3796-F044-9126-51A6AA308B7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44082" y="2888935"/>
            <a:ext cx="3609043" cy="54318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8" name="Text Box 3">
            <a:extLst>
              <a:ext uri="{FF2B5EF4-FFF2-40B4-BE49-F238E27FC236}">
                <a16:creationId xmlns:a16="http://schemas.microsoft.com/office/drawing/2014/main" id="{06DC0489-95B2-B74C-8FE4-80E75D67DE41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F22038DD-9076-B34B-B54A-107DF3F024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4957" y="5157653"/>
            <a:ext cx="3618381" cy="9055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0C89B53-FA50-F248-AD0B-933DE098D7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06077" y="5157653"/>
            <a:ext cx="3618381" cy="9055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C11EA858-BBCA-2149-9368-C1FDBC6C8DF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44083" y="5157653"/>
            <a:ext cx="3618381" cy="9055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400832152"/>
      </p:ext>
    </p:extLst>
  </p:cSld>
  <p:clrMapOvr>
    <a:masterClrMapping/>
  </p:clrMapOvr>
  <p:transition>
    <p:fade/>
  </p:transition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15"/>
          <p:cNvSpPr>
            <a:spLocks noGrp="1"/>
          </p:cNvSpPr>
          <p:nvPr>
            <p:ph sz="quarter" idx="25" hasCustomPrompt="1"/>
          </p:nvPr>
        </p:nvSpPr>
        <p:spPr>
          <a:xfrm>
            <a:off x="455995" y="2158886"/>
            <a:ext cx="1693247" cy="8958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6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Text option 4: Six columns (numbered list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3167817"/>
            <a:ext cx="1693247" cy="4425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378328" y="3167817"/>
            <a:ext cx="1693247" cy="44253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00662" y="3167817"/>
            <a:ext cx="1693247" cy="44253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6222995" y="3167817"/>
            <a:ext cx="1693247" cy="44253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145328" y="3167817"/>
            <a:ext cx="1693247" cy="44253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10067660" y="3167817"/>
            <a:ext cx="1693247" cy="44253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6" hasCustomPrompt="1"/>
          </p:nvPr>
        </p:nvSpPr>
        <p:spPr>
          <a:xfrm>
            <a:off x="2378328" y="2158886"/>
            <a:ext cx="1693247" cy="8958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6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27" hasCustomPrompt="1"/>
          </p:nvPr>
        </p:nvSpPr>
        <p:spPr>
          <a:xfrm>
            <a:off x="4300662" y="2158886"/>
            <a:ext cx="1693247" cy="8958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6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7" name="Content Placeholder 15"/>
          <p:cNvSpPr>
            <a:spLocks noGrp="1"/>
          </p:cNvSpPr>
          <p:nvPr>
            <p:ph sz="quarter" idx="28" hasCustomPrompt="1"/>
          </p:nvPr>
        </p:nvSpPr>
        <p:spPr>
          <a:xfrm>
            <a:off x="6222995" y="2158886"/>
            <a:ext cx="1693247" cy="8958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6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8" name="Content Placeholder 15"/>
          <p:cNvSpPr>
            <a:spLocks noGrp="1"/>
          </p:cNvSpPr>
          <p:nvPr>
            <p:ph sz="quarter" idx="29" hasCustomPrompt="1"/>
          </p:nvPr>
        </p:nvSpPr>
        <p:spPr>
          <a:xfrm>
            <a:off x="8145328" y="2158886"/>
            <a:ext cx="1693247" cy="8958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6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9" name="Content Placeholder 15"/>
          <p:cNvSpPr>
            <a:spLocks noGrp="1"/>
          </p:cNvSpPr>
          <p:nvPr>
            <p:ph sz="quarter" idx="30" hasCustomPrompt="1"/>
          </p:nvPr>
        </p:nvSpPr>
        <p:spPr>
          <a:xfrm>
            <a:off x="10067660" y="2158886"/>
            <a:ext cx="1693247" cy="8958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96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FF16C0-0541-41AD-98F7-A469609E8DC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5995" y="2025026"/>
            <a:ext cx="256787" cy="258381"/>
          </a:xfrm>
          <a:prstGeom prst="rect">
            <a:avLst/>
          </a:prstGeo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1.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95171A5B-905D-4832-B11A-13594619F33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379573" y="2025026"/>
            <a:ext cx="256787" cy="258381"/>
          </a:xfrm>
          <a:prstGeom prst="rect">
            <a:avLst/>
          </a:prstGeo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rgbClr val="000000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2.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DDBE933A-166C-4934-8425-2A89AAA211E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03151" y="2025026"/>
            <a:ext cx="256787" cy="258381"/>
          </a:xfrm>
          <a:prstGeom prst="rect">
            <a:avLst/>
          </a:prstGeo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rgbClr val="000000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3.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171069D2-CF68-4D89-9134-20A61AFA10D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29842" y="2025026"/>
            <a:ext cx="256787" cy="258381"/>
          </a:xfrm>
          <a:prstGeom prst="rect">
            <a:avLst/>
          </a:prstGeo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rgbClr val="000000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4.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77858A5B-7408-41FF-9369-C0F9B773A3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39413" y="2025026"/>
            <a:ext cx="256787" cy="258381"/>
          </a:xfrm>
          <a:prstGeom prst="rect">
            <a:avLst/>
          </a:prstGeo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rgbClr val="000000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5.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AF637A76-D1E1-49A2-AF33-3521BBC721C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067660" y="2025026"/>
            <a:ext cx="256787" cy="258381"/>
          </a:xfrm>
          <a:prstGeom prst="rect">
            <a:avLst/>
          </a:prstGeo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rgbClr val="000000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6.</a:t>
            </a:r>
          </a:p>
        </p:txBody>
      </p:sp>
      <p:sp>
        <p:nvSpPr>
          <p:cNvPr id="33" name="Text Box 3">
            <a:extLst>
              <a:ext uri="{FF2B5EF4-FFF2-40B4-BE49-F238E27FC236}">
                <a16:creationId xmlns:a16="http://schemas.microsoft.com/office/drawing/2014/main" id="{75395D73-9049-014E-BEF9-A35587DB4139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3CC09D91-3BB7-5C4A-98CF-F87FD6AACD8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4169" y="3622292"/>
            <a:ext cx="1693248" cy="2290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90A489FF-470D-734F-9769-61F47A78897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378329" y="3622292"/>
            <a:ext cx="1693248" cy="2290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6F43AC1C-4836-034C-B18E-A886EB0A095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300662" y="3622292"/>
            <a:ext cx="1693248" cy="2290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9221C77D-8F08-6C49-9011-B244AD138F0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29842" y="3622292"/>
            <a:ext cx="1693248" cy="2290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F3776908-857F-F24D-9AF6-14CF938B569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139413" y="3622292"/>
            <a:ext cx="1693248" cy="2290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EFB7F2E6-D12A-0A47-939B-737BAD81760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044584" y="3622292"/>
            <a:ext cx="1693248" cy="2290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15EF402B-0A39-4444-AF7E-380A1C2573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2637" y="2301518"/>
            <a:ext cx="647418" cy="64751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3E2F996C-B451-5D43-A1A7-18659348D8D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7498" y="2301518"/>
            <a:ext cx="647418" cy="647510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2164D954-D4BE-604E-A1FA-5D4A16CC776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6028" y="2301518"/>
            <a:ext cx="647418" cy="647510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5FC96516-B0E2-964A-9976-F62D8A3CA03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2756" y="2301518"/>
            <a:ext cx="647418" cy="647510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C42970E5-3D59-6D4C-802D-2A054118D50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2988" y="2301518"/>
            <a:ext cx="647418" cy="647510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32F713FA-C34D-0546-BEC6-2429F7B462C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11" y="2301518"/>
            <a:ext cx="647418" cy="647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917597"/>
      </p:ext>
    </p:extLst>
  </p:cSld>
  <p:clrMapOvr>
    <a:masterClrMapping/>
  </p:clrMapOvr>
  <p:transition>
    <p:fade/>
  </p:transition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 strike="noStrike"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8" name="Text Box 3">
            <a:extLst>
              <a:ext uri="{FF2B5EF4-FFF2-40B4-BE49-F238E27FC236}">
                <a16:creationId xmlns:a16="http://schemas.microsoft.com/office/drawing/2014/main" id="{3F1DAFF6-F27C-B74D-96EC-43A1B70AA064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296854107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2270E26-89BA-4369-9EF4-1B9EBAA3D00B}"/>
              </a:ext>
            </a:extLst>
          </p:cNvPr>
          <p:cNvSpPr/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solidFill>
            <a:srgbClr val="D2D2D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9" name="MS logo gray - EMF" descr="Microsoft logo, gray text version">
            <a:extLst>
              <a:ext uri="{FF2B5EF4-FFF2-40B4-BE49-F238E27FC236}">
                <a16:creationId xmlns:a16="http://schemas.microsoft.com/office/drawing/2014/main" id="{D03FE64B-525F-4B73-8C45-B4BC3BAD6A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E7317D9-DED5-46FF-B275-B2DB7FC09E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4208" y="1570863"/>
            <a:ext cx="5197584" cy="3716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961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1">
    <p:bg>
      <p:bgPr>
        <a:solidFill>
          <a:srgbClr val="EBEA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5"/>
          <p:cNvSpPr>
            <a:spLocks noGrp="1"/>
          </p:cNvSpPr>
          <p:nvPr>
            <p:ph type="title" hasCustomPrompt="1"/>
          </p:nvPr>
        </p:nvSpPr>
        <p:spPr>
          <a:xfrm>
            <a:off x="455994" y="941692"/>
            <a:ext cx="7454643" cy="355819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705" spc="-49" baseline="0" dirty="0">
                <a:solidFill>
                  <a:srgbClr val="000000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09010905"/>
      </p:ext>
    </p:extLst>
  </p:cSld>
  <p:clrMapOvr>
    <a:masterClrMapping/>
  </p:clrMapOvr>
  <p:transition>
    <p:fade/>
  </p:transition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/>
          <p:cNvSpPr>
            <a:spLocks noGrp="1"/>
          </p:cNvSpPr>
          <p:nvPr>
            <p:ph type="title" hasCustomPrompt="1"/>
          </p:nvPr>
        </p:nvSpPr>
        <p:spPr>
          <a:xfrm>
            <a:off x="455994" y="941692"/>
            <a:ext cx="7454643" cy="355819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705" spc="-49" baseline="0" dirty="0">
                <a:solidFill>
                  <a:srgbClr val="FFFFFF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526951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5" name="Title 35">
            <a:extLst>
              <a:ext uri="{FF2B5EF4-FFF2-40B4-BE49-F238E27FC236}">
                <a16:creationId xmlns:a16="http://schemas.microsoft.com/office/drawing/2014/main" id="{60388DA1-8C2D-4FFD-88BD-DE4D7CEFD0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4" y="941692"/>
            <a:ext cx="7454643" cy="355819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705" spc="-49" baseline="0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083194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841" y="0"/>
            <a:ext cx="597379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554195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Photo layout 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31D123-CA1A-4568-88C8-6B1287D07E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994" y="2363622"/>
            <a:ext cx="4822952" cy="4951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  <a:endParaRPr lang="en-US"/>
          </a:p>
          <a:p>
            <a:pPr lvl="1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E56201C-07C6-4B48-97C5-8ACFF3D0A9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5995" y="1922587"/>
            <a:ext cx="4822951" cy="2877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lang="en-US" sz="1961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Segoe UI Regular 20/24.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193607F-5D7C-414A-BD66-EADF11B22CA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29842" y="3121485"/>
            <a:ext cx="5973053" cy="54318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3" name="Text Box 3">
            <a:extLst>
              <a:ext uri="{FF2B5EF4-FFF2-40B4-BE49-F238E27FC236}">
                <a16:creationId xmlns:a16="http://schemas.microsoft.com/office/drawing/2014/main" id="{9B6CD1B2-B033-3544-BC3C-77A135C65972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B8FCD16-3426-8B48-803D-6B6E81EED21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5995" y="2576675"/>
            <a:ext cx="4822951" cy="6746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0D336736-F7E2-BA48-AD3E-B0037BAC681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55993" y="3428999"/>
            <a:ext cx="4822952" cy="4951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  <a:endParaRPr lang="en-US"/>
          </a:p>
          <a:p>
            <a:pPr lvl="1"/>
            <a:endParaRPr lang="en-US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FA36614-3522-794F-B70F-0659F06DAB3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55994" y="3639464"/>
            <a:ext cx="4822951" cy="6746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509674518"/>
      </p:ext>
    </p:extLst>
  </p:cSld>
  <p:clrMapOvr>
    <a:masterClrMapping/>
  </p:clrMapOvr>
  <p:transition>
    <p:fade/>
  </p:transition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Photo layout 2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4927922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00039" y="4927922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>
                <a:solidFill>
                  <a:schemeClr val="tx2"/>
                </a:solidFill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44083" y="4927922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>
                <a:solidFill>
                  <a:schemeClr val="tx2"/>
                </a:solidFill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"/>
          <a:stretch/>
        </p:blipFill>
        <p:spPr>
          <a:xfrm>
            <a:off x="8150360" y="2152783"/>
            <a:ext cx="3623053" cy="258991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5647" y="2152783"/>
            <a:ext cx="3648727" cy="258991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95368" y="2152781"/>
            <a:ext cx="3623052" cy="2589916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717A0C5-B07A-A34B-9DBC-AEA2B456E2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6424" y="3193694"/>
            <a:ext cx="3647951" cy="54318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5287B92-3963-B94C-821F-3908B3544A4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300039" y="3186832"/>
            <a:ext cx="3618381" cy="54318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DC31788-B7D8-9D46-BE0A-6B7EED7110B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50308" y="3186832"/>
            <a:ext cx="3612156" cy="54318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20" name="Text Box 3">
            <a:extLst>
              <a:ext uri="{FF2B5EF4-FFF2-40B4-BE49-F238E27FC236}">
                <a16:creationId xmlns:a16="http://schemas.microsoft.com/office/drawing/2014/main" id="{F848FF14-9025-D34E-A47B-6D1957DCA63E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B97163EF-E7E8-4446-98C1-DF17E29E737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4169" y="5158174"/>
            <a:ext cx="3618381" cy="9055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.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8E57B78A-F25C-4D46-917C-E53FD3A557E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302175" y="5158174"/>
            <a:ext cx="3616245" cy="9055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. 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1AA5291-B66D-8249-B809-BA15DD1EEA3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150308" y="5158174"/>
            <a:ext cx="3618381" cy="9055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. </a:t>
            </a:r>
          </a:p>
        </p:txBody>
      </p:sp>
    </p:spTree>
    <p:extLst>
      <p:ext uri="{BB962C8B-B14F-4D97-AF65-F5344CB8AC3E}">
        <p14:creationId xmlns:p14="http://schemas.microsoft.com/office/powerpoint/2010/main" val="3932014595"/>
      </p:ext>
    </p:extLst>
  </p:cSld>
  <p:clrMapOvr>
    <a:masterClrMapping/>
  </p:clrMapOvr>
  <p:transition>
    <p:fade/>
  </p:transition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4B95F29-56C3-4C85-A12B-0B0BE769E7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44774" y="418150"/>
            <a:ext cx="7747227" cy="64398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Device layout 1: one colum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802"/>
            <a:ext cx="4758211" cy="6035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1961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Large subhead Segoe UI Regular 20/24. Em volor resequaectur.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2707597"/>
            <a:ext cx="4758210" cy="2521331"/>
          </a:xfrm>
          <a:prstGeom prst="rect">
            <a:avLst/>
          </a:prstGeom>
        </p:spPr>
        <p:txBody>
          <a:bodyPr lIns="0" tIns="0" rIns="0" bIns="0"/>
          <a:lstStyle>
            <a:lvl1pPr marL="280121" indent="-280121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34476FE-7091-4DE7-A55E-3EF5A6569A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57959" y="3239966"/>
            <a:ext cx="5834041" cy="908839"/>
          </a:xfrm>
          <a:prstGeom prst="rect">
            <a:avLst/>
          </a:prstGeom>
        </p:spPr>
        <p:txBody>
          <a:bodyPr anchor="ctr" anchorCtr="0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4" name="Text Box 3">
            <a:extLst>
              <a:ext uri="{FF2B5EF4-FFF2-40B4-BE49-F238E27FC236}">
                <a16:creationId xmlns:a16="http://schemas.microsoft.com/office/drawing/2014/main" id="{9732C163-B0E6-5B41-A1A7-C570F404A2CB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802949622"/>
      </p:ext>
    </p:extLst>
  </p:cSld>
  <p:clrMapOvr>
    <a:masterClrMapping/>
  </p:clrMapOvr>
  <p:transition>
    <p:fade/>
  </p:transition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99DE98C-91A8-4163-A280-8BB561692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44774" y="418150"/>
            <a:ext cx="7747227" cy="6439851"/>
          </a:xfrm>
          <a:prstGeom prst="rect">
            <a:avLst/>
          </a:prstGeom>
        </p:spPr>
      </p:pic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784CA30E-A92E-4E40-944A-73B1CF9EEE0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57959" y="3239966"/>
            <a:ext cx="5834041" cy="908839"/>
          </a:xfrm>
          <a:prstGeom prst="rect">
            <a:avLst/>
          </a:prstGeom>
        </p:spPr>
        <p:txBody>
          <a:bodyPr anchor="ctr" anchorCtr="0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D17D4B4-B6B9-4273-ACCB-7A5ED46F35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672" y="2000739"/>
            <a:ext cx="1693247" cy="4425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</a:t>
            </a:r>
            <a:r>
              <a:rPr lang="en-US" err="1"/>
              <a:t>Semibold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B204BE2-B985-4315-8D5B-9C54B1074D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5798" y="2000739"/>
            <a:ext cx="1693247" cy="4425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</a:t>
            </a:r>
            <a:r>
              <a:rPr lang="en-US" err="1"/>
              <a:t>Semibold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89045D2-7C49-4F5C-A376-228A5A2B01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Device layout 2: two columns</a:t>
            </a:r>
          </a:p>
        </p:txBody>
      </p:sp>
      <p:sp>
        <p:nvSpPr>
          <p:cNvPr id="17" name="Text Box 3">
            <a:extLst>
              <a:ext uri="{FF2B5EF4-FFF2-40B4-BE49-F238E27FC236}">
                <a16:creationId xmlns:a16="http://schemas.microsoft.com/office/drawing/2014/main" id="{E9958694-2D93-5A49-BF9C-C2FD1753BAA3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02963930-27DC-A146-BED0-307A0CE5F43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4170" y="2452758"/>
            <a:ext cx="1693247" cy="2290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8EE99189-A4FF-8C44-809C-285F33AF913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385530" y="2452758"/>
            <a:ext cx="1693247" cy="2290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372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673318931"/>
      </p:ext>
    </p:extLst>
  </p:cSld>
  <p:clrMapOvr>
    <a:masterClrMapping/>
  </p:clrMapOvr>
  <p:transition>
    <p:fade/>
  </p:transition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3CDB1EA-72FB-46B3-89D4-DEE1F2EF72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4249" y="486947"/>
            <a:ext cx="10869930" cy="63710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Device layout 3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0473E679-3B6D-497A-A0F6-454C968B760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293976" y="3490037"/>
            <a:ext cx="7678751" cy="543185"/>
          </a:xfrm>
          <a:prstGeom prst="rect">
            <a:avLst/>
          </a:prstGeom>
        </p:spPr>
        <p:txBody>
          <a:bodyPr anchor="ctr" anchorCtr="0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A8F5F40B-56C9-1D43-9521-8583515F1C5D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1405514700"/>
      </p:ext>
    </p:extLst>
  </p:cSld>
  <p:clrMapOvr>
    <a:masterClrMapping/>
  </p:clrMapOvr>
  <p:transition>
    <p:fade/>
  </p:transition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/>
          </p:cNvSpPr>
          <p:nvPr>
            <p:ph type="chart" sz="quarter" idx="21"/>
          </p:nvPr>
        </p:nvSpPr>
        <p:spPr>
          <a:xfrm>
            <a:off x="455996" y="1950780"/>
            <a:ext cx="3618377" cy="353484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353"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Chart examp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5992" y="5857162"/>
            <a:ext cx="3618381" cy="3017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  <a:defRPr sz="980" b="0" i="0" spc="0">
                <a:solidFill>
                  <a:srgbClr val="000000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ts val="1176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980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303152" y="5857162"/>
            <a:ext cx="3607487" cy="3017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tabLst/>
              <a:defRPr lang="en-US" sz="980" b="0" i="0" spc="0" dirty="0" smtClean="0">
                <a:solidFill>
                  <a:srgbClr val="000000"/>
                </a:solidFill>
                <a:latin typeface="+mn-lt"/>
              </a:defRPr>
            </a:lvl1pPr>
          </a:lstStyle>
          <a:p>
            <a:pPr marL="0" lv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</a:pPr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  <p:sp>
        <p:nvSpPr>
          <p:cNvPr id="20" name="Chart Placeholder 6"/>
          <p:cNvSpPr>
            <a:spLocks noGrp="1"/>
          </p:cNvSpPr>
          <p:nvPr>
            <p:ph type="chart" sz="quarter" idx="22"/>
          </p:nvPr>
        </p:nvSpPr>
        <p:spPr>
          <a:xfrm>
            <a:off x="4303152" y="1950780"/>
            <a:ext cx="3607487" cy="353484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353"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/>
          <p:cNvSpPr>
            <a:spLocks noGrp="1"/>
          </p:cNvSpPr>
          <p:nvPr>
            <p:ph type="chart" sz="quarter" idx="23"/>
          </p:nvPr>
        </p:nvSpPr>
        <p:spPr>
          <a:xfrm>
            <a:off x="8139412" y="1950780"/>
            <a:ext cx="3623051" cy="353484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353"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BB6B82-41EF-4F96-AC4D-4B6DF0A1F54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5991" y="5670381"/>
            <a:ext cx="3629278" cy="241415"/>
          </a:xfrm>
          <a:prstGeom prst="rect">
            <a:avLst/>
          </a:prstGeom>
        </p:spPr>
        <p:txBody>
          <a:bodyPr tIns="0"/>
          <a:lstStyle>
            <a:lvl1pPr>
              <a:defRPr lang="en-US" sz="980" b="1" kern="1200" spc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aption title Segoe bold 10/12.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4EEFC93-5F54-47F0-9569-BECC76A76C9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14044" y="5670381"/>
            <a:ext cx="3629278" cy="241415"/>
          </a:xfrm>
          <a:prstGeom prst="rect">
            <a:avLst/>
          </a:prstGeom>
        </p:spPr>
        <p:txBody>
          <a:bodyPr tIns="0"/>
          <a:lstStyle>
            <a:lvl1pPr>
              <a:defRPr lang="en-US" sz="980" b="1" kern="1200" spc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aption title Segoe bold 10/12. 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5EDACCCB-301A-4273-9EA6-AD055BB5B0A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39413" y="5670381"/>
            <a:ext cx="3629278" cy="241415"/>
          </a:xfrm>
          <a:prstGeom prst="rect">
            <a:avLst/>
          </a:prstGeom>
        </p:spPr>
        <p:txBody>
          <a:bodyPr tIns="0"/>
          <a:lstStyle>
            <a:lvl1pPr>
              <a:defRPr lang="en-US" sz="980" b="1" kern="1200" spc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aption title Segoe bold 10/12. 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37057046-E219-41F6-8045-1E763292CB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39413" y="5857162"/>
            <a:ext cx="3607487" cy="3017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tabLst/>
              <a:defRPr lang="en-US" sz="980" b="0" i="0" spc="0" dirty="0" smtClean="0">
                <a:solidFill>
                  <a:srgbClr val="000000"/>
                </a:solidFill>
                <a:latin typeface="+mn-lt"/>
              </a:defRPr>
            </a:lvl1pPr>
          </a:lstStyle>
          <a:p>
            <a:pPr marL="0" lv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</a:pPr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  <p:sp>
        <p:nvSpPr>
          <p:cNvPr id="19" name="Text Box 3">
            <a:extLst>
              <a:ext uri="{FF2B5EF4-FFF2-40B4-BE49-F238E27FC236}">
                <a16:creationId xmlns:a16="http://schemas.microsoft.com/office/drawing/2014/main" id="{DD3304D6-24AF-6742-A22C-8D78DC39B073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51250866"/>
      </p:ext>
    </p:extLst>
  </p:cSld>
  <p:clrMapOvr>
    <a:masterClrMapping/>
  </p:clrMapOvr>
  <p:transition>
    <p:fade/>
  </p:transition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/>
              <a:t>Table styling</a:t>
            </a:r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55995" y="3924852"/>
            <a:ext cx="11306469" cy="546753"/>
          </a:xfrm>
          <a:prstGeom prst="rect">
            <a:avLst/>
          </a:pr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10" name="Text Box 3">
            <a:extLst>
              <a:ext uri="{FF2B5EF4-FFF2-40B4-BE49-F238E27FC236}">
                <a16:creationId xmlns:a16="http://schemas.microsoft.com/office/drawing/2014/main" id="{AD9F5927-827C-2E4D-8781-07CF39C27494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5"/>
            <a:ext cx="11306469" cy="2110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296504102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8497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026004-6E63-4034-A1B0-34BE8CEF3D76}"/>
              </a:ext>
            </a:extLst>
          </p:cNvPr>
          <p:cNvSpPr/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solidFill>
            <a:srgbClr val="00BC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00240D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B3B8AD8-E296-4E64-ADD0-A70C30EFB49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4208" y="1570863"/>
            <a:ext cx="5197584" cy="3716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672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3C370E04-F3D7-44F1-9863-6604D12FE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5" y="1845277"/>
            <a:ext cx="7454644" cy="1473396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74"/>
              </a:spcAft>
              <a:defRPr sz="2549" spc="-49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1F9C5D-BBFD-AE42-A1D5-DA2C27C2E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70" y="439310"/>
            <a:ext cx="1335673" cy="190278"/>
          </a:xfrm>
          <a:prstGeom prst="rect">
            <a:avLst/>
          </a:prstGeom>
        </p:spPr>
      </p:pic>
      <p:sp>
        <p:nvSpPr>
          <p:cNvPr id="6" name="Text Box 3">
            <a:extLst>
              <a:ext uri="{FF2B5EF4-FFF2-40B4-BE49-F238E27FC236}">
                <a16:creationId xmlns:a16="http://schemas.microsoft.com/office/drawing/2014/main" id="{4071864E-755E-AD40-A80D-10E454980F16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70" y="6451197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6412076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slide 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3C370E04-F3D7-44F1-9863-6604D12FE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5" y="1845277"/>
            <a:ext cx="7454644" cy="1473396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74"/>
              </a:spcAft>
              <a:defRPr sz="2549" spc="-49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sp>
        <p:nvSpPr>
          <p:cNvPr id="5" name="Text Box 3">
            <a:extLst>
              <a:ext uri="{FF2B5EF4-FFF2-40B4-BE49-F238E27FC236}">
                <a16:creationId xmlns:a16="http://schemas.microsoft.com/office/drawing/2014/main" id="{0AFD6FAE-B215-4CF5-A1C7-AE7803BB4E41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70" y="6451197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C1F9C5D-BBFD-AE42-A1D5-DA2C27C2E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70" y="439310"/>
            <a:ext cx="1335673" cy="19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0653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553998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7891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952371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86283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066107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03836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86158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3110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25737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36359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9334738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50012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8265793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7289055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AB72F22-3A6F-4A20-977A-AB974F4043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7593" y="4358705"/>
            <a:ext cx="2671795" cy="1910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2542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7809331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6967169-3BFF-48F2-957F-8A78DE6695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7593" y="4358705"/>
            <a:ext cx="2671795" cy="1910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5760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9126942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FB9AA58-93DB-418F-B77A-2B50F65D39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7593" y="4358705"/>
            <a:ext cx="2671795" cy="1910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709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27939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96684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36242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9781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14125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59104CAE-91B8-4A7E-9F8E-214C5F8809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1139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5419813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1" y="214605"/>
            <a:ext cx="11612207" cy="80199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59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Content Placeholder 29">
            <a:extLst>
              <a:ext uri="{FF2B5EF4-FFF2-40B4-BE49-F238E27FC236}">
                <a16:creationId xmlns:a16="http://schemas.microsoft.com/office/drawing/2014/main" id="{F8BB29DD-44A4-4426-B422-46C47C0E1EE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258491" y="1541411"/>
            <a:ext cx="2865892" cy="231625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en-US" sz="20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029" lvl="0" indent="-228029" algn="l" defTabSz="912114" rtl="0" eaLnBrk="1" latinLnBrk="0" hangingPunct="1">
              <a:lnSpc>
                <a:spcPct val="90000"/>
              </a:lnSpc>
              <a:spcBef>
                <a:spcPts val="998"/>
              </a:spcBef>
              <a:buFont typeface="Arial" panose="020B0604020202020204" pitchFamily="34" charset="0"/>
              <a:buChar char="•"/>
            </a:pPr>
            <a:r>
              <a:rPr lang="en-US"/>
              <a:t>Retenti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29">
            <a:extLst>
              <a:ext uri="{FF2B5EF4-FFF2-40B4-BE49-F238E27FC236}">
                <a16:creationId xmlns:a16="http://schemas.microsoft.com/office/drawing/2014/main" id="{46068081-8972-40A8-A424-E4F40D35A68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859485" y="1541411"/>
            <a:ext cx="2865892" cy="23162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029" lvl="0" indent="-228029" algn="l" defTabSz="912114" rtl="0" eaLnBrk="1" latinLnBrk="0" hangingPunct="1">
              <a:lnSpc>
                <a:spcPct val="90000"/>
              </a:lnSpc>
              <a:spcBef>
                <a:spcPts val="998"/>
              </a:spcBef>
              <a:buFont typeface="Arial" panose="020B0604020202020204" pitchFamily="34" charset="0"/>
              <a:buChar char="•"/>
            </a:pPr>
            <a:r>
              <a:rPr lang="en-US"/>
              <a:t>Satisfacti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9">
            <a:extLst>
              <a:ext uri="{FF2B5EF4-FFF2-40B4-BE49-F238E27FC236}">
                <a16:creationId xmlns:a16="http://schemas.microsoft.com/office/drawing/2014/main" id="{0007AE31-B4E1-4AE3-BB80-FE5169E9A5A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40377" y="1541411"/>
            <a:ext cx="2865892" cy="231625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en-US" sz="20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029" lvl="0" indent="-228029" algn="l" defTabSz="912114" rtl="0" eaLnBrk="1" latinLnBrk="0" hangingPunct="1">
              <a:lnSpc>
                <a:spcPct val="90000"/>
              </a:lnSpc>
              <a:spcBef>
                <a:spcPts val="998"/>
              </a:spcBef>
              <a:buFont typeface="Arial" panose="020B0604020202020204" pitchFamily="34" charset="0"/>
              <a:buChar char="•"/>
            </a:pPr>
            <a:r>
              <a:rPr lang="en-US"/>
              <a:t>Adopti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29">
            <a:extLst>
              <a:ext uri="{FF2B5EF4-FFF2-40B4-BE49-F238E27FC236}">
                <a16:creationId xmlns:a16="http://schemas.microsoft.com/office/drawing/2014/main" id="{38095733-32A6-4AEE-8ACA-18B6D1A83C1C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2538549" y="4280257"/>
            <a:ext cx="2865892" cy="23162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029" lvl="0" indent="-228029" algn="l" defTabSz="912114" rtl="0" eaLnBrk="1" latinLnBrk="0" hangingPunct="1">
              <a:lnSpc>
                <a:spcPct val="90000"/>
              </a:lnSpc>
              <a:spcBef>
                <a:spcPts val="998"/>
              </a:spcBef>
              <a:buFont typeface="Arial" panose="020B0604020202020204" pitchFamily="34" charset="0"/>
              <a:buChar char="•"/>
            </a:pPr>
            <a:r>
              <a:rPr lang="en-US"/>
              <a:t>Engagement (breadth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29">
            <a:extLst>
              <a:ext uri="{FF2B5EF4-FFF2-40B4-BE49-F238E27FC236}">
                <a16:creationId xmlns:a16="http://schemas.microsoft.com/office/drawing/2014/main" id="{D2101B65-9CE7-4065-9157-478E75333AC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979919" y="4280257"/>
            <a:ext cx="2865892" cy="23162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029" lvl="0" indent="-228029" algn="l" defTabSz="912114" rtl="0" eaLnBrk="1" latinLnBrk="0" hangingPunct="1">
              <a:lnSpc>
                <a:spcPct val="90000"/>
              </a:lnSpc>
              <a:spcBef>
                <a:spcPts val="998"/>
              </a:spcBef>
              <a:buFont typeface="Arial" panose="020B0604020202020204" pitchFamily="34" charset="0"/>
              <a:buChar char="•"/>
            </a:pPr>
            <a:r>
              <a:rPr lang="en-US"/>
              <a:t>Engagement (depth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4523635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1" y="214605"/>
            <a:ext cx="11612207" cy="80199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59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016599"/>
            <a:ext cx="11612206" cy="5339750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>
            <a:normAutofit/>
          </a:bodyPr>
          <a:lstStyle>
            <a:lvl1pPr marL="228029" indent="-228029">
              <a:buFont typeface="Wingdings" charset="2"/>
              <a:buChar char="§"/>
              <a:defRPr sz="1795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84086" indent="-228029">
              <a:buFont typeface="Wingdings" charset="2"/>
              <a:buChar char="ü"/>
              <a:defRPr sz="1795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0143" indent="-228029">
              <a:buFont typeface="Courier New" charset="0"/>
              <a:buChar char="o"/>
              <a:defRPr sz="1795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596200" indent="-228029">
              <a:buFont typeface="Wingdings" charset="2"/>
              <a:buChar char="Ø"/>
              <a:defRPr sz="1795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2257" indent="-228029">
              <a:buFont typeface="Wingdings" charset="2"/>
              <a:buChar char="v"/>
              <a:defRPr sz="1795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97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r" defTabSz="9121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E5D54C-0D7A-4FF7-AF7B-57BAE1C99EB4}" type="slidenum">
              <a:rPr kumimoji="0" lang="en-US" sz="1197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21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97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28575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7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9121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7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NDOWS AND DEVICES GROUP</a:t>
            </a:r>
          </a:p>
        </p:txBody>
      </p:sp>
    </p:spTree>
    <p:extLst>
      <p:ext uri="{BB962C8B-B14F-4D97-AF65-F5344CB8AC3E}">
        <p14:creationId xmlns:p14="http://schemas.microsoft.com/office/powerpoint/2010/main" val="157252812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956" y="77140"/>
            <a:ext cx="11576243" cy="892525"/>
          </a:xfrm>
        </p:spPr>
        <p:txBody>
          <a:bodyPr/>
          <a:lstStyle>
            <a:lvl1pPr>
              <a:defRPr sz="3200" b="0" spc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10956" y="6293920"/>
            <a:ext cx="11576243" cy="2256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here to insert sourc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11150" y="1070067"/>
            <a:ext cx="11576050" cy="5152871"/>
          </a:xfrm>
          <a:prstGeom prst="rect">
            <a:avLst/>
          </a:prstGeom>
        </p:spPr>
        <p:txBody>
          <a:bodyPr/>
          <a:lstStyle>
            <a:lvl1pPr marL="225425" indent="-225425">
              <a:defRPr sz="1800" spc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463550" indent="-238125">
              <a:buFont typeface="Wingdings" panose="05000000000000000000" pitchFamily="2" charset="2"/>
              <a:buChar char="ü"/>
              <a:defRPr sz="1800" spc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2pPr>
            <a:lvl3pPr marL="688975" indent="-225425">
              <a:buFont typeface="Courier New" panose="02070309020205020404" pitchFamily="49" charset="0"/>
              <a:buChar char="o"/>
              <a:defRPr sz="1800" spc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3pPr>
            <a:lvl4pPr marL="914400" indent="-225425">
              <a:buFont typeface="Wingdings" panose="05000000000000000000" pitchFamily="2" charset="2"/>
              <a:buChar char="Ø"/>
              <a:defRPr sz="1800" spc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4pPr>
            <a:lvl5pPr marL="1139825" indent="-225425">
              <a:buFont typeface="Wingdings" panose="05000000000000000000" pitchFamily="2" charset="2"/>
              <a:buChar char="v"/>
              <a:tabLst/>
              <a:defRPr sz="1800" spc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982537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69240" y="289511"/>
            <a:ext cx="11493678" cy="794064"/>
          </a:xfrm>
        </p:spPr>
        <p:txBody>
          <a:bodyPr/>
          <a:lstStyle>
            <a:lvl1pPr marL="0" indent="0"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>
                <a:ln w="3175">
                  <a:noFill/>
                </a:ln>
                <a:gradFill>
                  <a:gsLst>
                    <a:gs pos="1250">
                      <a:schemeClr val="accent1"/>
                    </a:gs>
                    <a:gs pos="100000">
                      <a:schemeClr val="accent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Header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787163824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209610" y="2"/>
            <a:ext cx="5982390" cy="6858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87B2D435-6763-4273-8B58-EEB8756175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6" y="440495"/>
            <a:ext cx="5555966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 1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145843"/>
            <a:ext cx="5555965" cy="2573509"/>
          </a:xfrm>
        </p:spPr>
        <p:txBody>
          <a:bodyPr wrap="square"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9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</p:txBody>
      </p:sp>
    </p:spTree>
    <p:extLst>
      <p:ext uri="{BB962C8B-B14F-4D97-AF65-F5344CB8AC3E}">
        <p14:creationId xmlns:p14="http://schemas.microsoft.com/office/powerpoint/2010/main" val="10241461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29545" y="3029995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Microsoft 365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6427" y="4838790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68" spc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F4A718E-6F7C-414B-B5B4-AA6809C768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9544" y="437139"/>
            <a:ext cx="896425" cy="190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7437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bg>
      <p:bgPr>
        <a:solidFill>
          <a:srgbClr val="02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CA1BD43-4947-4C7D-B1C8-B6C8FC3789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681" y="437142"/>
            <a:ext cx="896425" cy="19114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E73B716-5AC1-4E6F-99C0-F195B0C587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545" y="3029995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Microsoft 365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78FD896-9F6B-4251-9F12-35FEF1AF74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427" y="4838790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68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949662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81828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computer&#10;&#10;Description generated with very high confidence">
            <a:extLst>
              <a:ext uri="{FF2B5EF4-FFF2-40B4-BE49-F238E27FC236}">
                <a16:creationId xmlns:a16="http://schemas.microsoft.com/office/drawing/2014/main" id="{526CAB38-C067-42AB-B30D-0B60633D91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b="-1"/>
          <a:stretch/>
        </p:blipFill>
        <p:spPr>
          <a:xfrm>
            <a:off x="1766" y="0"/>
            <a:ext cx="12188468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49DE887-6B72-4CA7-9C1C-CD555B5F7493}"/>
              </a:ext>
            </a:extLst>
          </p:cNvPr>
          <p:cNvSpPr/>
          <p:nvPr userDrawn="1"/>
        </p:nvSpPr>
        <p:spPr bwMode="auto">
          <a:xfrm>
            <a:off x="1" y="0"/>
            <a:ext cx="7262561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5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918950D-BA52-4C37-9FC7-9B2441DAB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545" y="3029995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Microsoft 365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B7969DA-51E9-4FB3-BFCC-63C88E80862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427" y="4838790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68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4F71F07-3FF3-4902-A108-DE5C884EF8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681" y="437142"/>
            <a:ext cx="896425" cy="191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510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425" y="1202871"/>
            <a:ext cx="3632388" cy="1172553"/>
          </a:xfrm>
        </p:spPr>
        <p:txBody>
          <a:bodyPr lIns="0" tIns="0" rIns="0" bIns="0"/>
          <a:lstStyle>
            <a:lvl1pPr>
              <a:defRPr sz="1961" spc="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12722" y="1202872"/>
            <a:ext cx="3618382" cy="3289228"/>
          </a:xfrm>
        </p:spPr>
        <p:txBody>
          <a:bodyPr wrap="square" lIns="0" tIns="0" rIns="0" bIns="0">
            <a:noAutofit/>
          </a:bodyPr>
          <a:lstStyle>
            <a:lvl1pPr marL="0" marR="0" indent="0" algn="l" defTabSz="507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961" spc="0" baseline="0">
                <a:solidFill>
                  <a:schemeClr val="accent1"/>
                </a:solidFill>
                <a:latin typeface="+mj-lt"/>
              </a:defRPr>
            </a:lvl1pPr>
            <a:lvl2pPr marL="224097" indent="0">
              <a:buNone/>
              <a:defRPr sz="1765"/>
            </a:lvl2pPr>
            <a:lvl3pPr marL="448193" indent="0">
              <a:buNone/>
              <a:defRPr sz="1765"/>
            </a:lvl3pPr>
            <a:lvl4pPr marL="672290" indent="0">
              <a:buNone/>
              <a:defRPr sz="1765"/>
            </a:lvl4pPr>
            <a:lvl5pPr marL="896386" indent="0">
              <a:buNone/>
              <a:defRPr sz="1765"/>
            </a:lvl5pPr>
          </a:lstStyle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60233618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2139703"/>
            <a:ext cx="11339774" cy="122317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None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None/>
              <a:defRPr sz="1961">
                <a:solidFill>
                  <a:srgbClr val="000000"/>
                </a:solidFill>
              </a:defRPr>
            </a:lvl2pPr>
            <a:lvl3pPr marL="448193" indent="0">
              <a:spcBef>
                <a:spcPts val="0"/>
              </a:spcBef>
              <a:spcAft>
                <a:spcPts val="1274"/>
              </a:spcAft>
              <a:buNone/>
              <a:defRPr sz="1961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26pt</a:t>
            </a:r>
          </a:p>
          <a:p>
            <a:pPr lvl="1"/>
            <a:r>
              <a:rPr lang="en-US"/>
              <a:t>Second level Segoe UI 20pt</a:t>
            </a:r>
          </a:p>
          <a:p>
            <a:pPr lvl="2"/>
            <a:r>
              <a:rPr lang="en-US"/>
              <a:t>Third level Segoe UI 20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7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pt</a:t>
            </a:r>
          </a:p>
        </p:txBody>
      </p:sp>
    </p:spTree>
    <p:extLst>
      <p:ext uri="{BB962C8B-B14F-4D97-AF65-F5344CB8AC3E}">
        <p14:creationId xmlns:p14="http://schemas.microsoft.com/office/powerpoint/2010/main" val="3107071855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slide (with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9" y="2141396"/>
            <a:ext cx="11339774" cy="1223171"/>
          </a:xfrm>
        </p:spPr>
        <p:txBody>
          <a:bodyPr wrap="square" lIns="0" tIns="0" rIns="0" bIns="0">
            <a:spAutoFit/>
          </a:bodyPr>
          <a:lstStyle>
            <a:lvl1pPr marL="268916" indent="-268916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Clr>
                <a:srgbClr val="000000"/>
              </a:buClr>
              <a:buSzPct val="77000"/>
              <a:buFont typeface="Arial" panose="020B0604020202020204" pitchFamily="34" charset="0"/>
              <a:buChar char="•"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537832" indent="-224097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Clr>
                <a:srgbClr val="000000"/>
              </a:buClr>
              <a:buSzPct val="77000"/>
              <a:buFont typeface="Arial" panose="020B0604020202020204" pitchFamily="34" charset="0"/>
              <a:buChar char="•"/>
              <a:defRPr sz="1961">
                <a:solidFill>
                  <a:srgbClr val="000000"/>
                </a:solidFill>
              </a:defRPr>
            </a:lvl2pPr>
            <a:lvl3pPr marL="806748" indent="-224097">
              <a:spcBef>
                <a:spcPts val="0"/>
              </a:spcBef>
              <a:spcAft>
                <a:spcPts val="1274"/>
              </a:spcAft>
              <a:buClr>
                <a:srgbClr val="000000"/>
              </a:buClr>
              <a:buSzPct val="77000"/>
              <a:buFont typeface="Arial" panose="020B0604020202020204" pitchFamily="34" charset="0"/>
              <a:buChar char="•"/>
              <a:defRPr sz="1961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26pt</a:t>
            </a:r>
          </a:p>
          <a:p>
            <a:pPr lvl="1"/>
            <a:r>
              <a:rPr lang="en-US"/>
              <a:t>Second level Segoe UI 20pt</a:t>
            </a:r>
          </a:p>
          <a:p>
            <a:pPr lvl="2"/>
            <a:r>
              <a:rPr lang="en-US"/>
              <a:t>Third level Segoe UI 20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5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pt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F94EA65-2CBF-4A04-9D22-169D8572F3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423" y="1083833"/>
            <a:ext cx="11339774" cy="353070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None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None/>
              <a:defRPr sz="1961">
                <a:solidFill>
                  <a:schemeClr val="tx2"/>
                </a:solidFill>
              </a:defRPr>
            </a:lvl2pPr>
            <a:lvl3pPr marL="448193" indent="0">
              <a:spcBef>
                <a:spcPts val="0"/>
              </a:spcBef>
              <a:spcAft>
                <a:spcPts val="1274"/>
              </a:spcAft>
              <a:buNone/>
              <a:defRPr sz="1961"/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title Segoe UI 26pt</a:t>
            </a:r>
          </a:p>
        </p:txBody>
      </p:sp>
    </p:spTree>
    <p:extLst>
      <p:ext uri="{BB962C8B-B14F-4D97-AF65-F5344CB8AC3E}">
        <p14:creationId xmlns:p14="http://schemas.microsoft.com/office/powerpoint/2010/main" val="3523228660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5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992388964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209610" y="2"/>
            <a:ext cx="5982390" cy="6858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87B2D435-6763-4273-8B58-EEB8756175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6" y="440495"/>
            <a:ext cx="5555966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 1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145843"/>
            <a:ext cx="5555965" cy="2573509"/>
          </a:xfrm>
        </p:spPr>
        <p:txBody>
          <a:bodyPr wrap="square"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9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</p:txBody>
      </p:sp>
    </p:spTree>
    <p:extLst>
      <p:ext uri="{BB962C8B-B14F-4D97-AF65-F5344CB8AC3E}">
        <p14:creationId xmlns:p14="http://schemas.microsoft.com/office/powerpoint/2010/main" val="30066336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26424" y="2135537"/>
            <a:ext cx="3632388" cy="258381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 hasCustomPrompt="1"/>
          </p:nvPr>
        </p:nvSpPr>
        <p:spPr>
          <a:xfrm>
            <a:off x="4281364" y="2135537"/>
            <a:ext cx="3623050" cy="2583813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8126964" y="2135538"/>
            <a:ext cx="3634002" cy="2583814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4927922"/>
            <a:ext cx="3630521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 b="1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4927922"/>
            <a:ext cx="3623050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4927922"/>
            <a:ext cx="3630521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7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 2</a:t>
            </a:r>
          </a:p>
        </p:txBody>
      </p:sp>
    </p:spTree>
    <p:extLst>
      <p:ext uri="{BB962C8B-B14F-4D97-AF65-F5344CB8AC3E}">
        <p14:creationId xmlns:p14="http://schemas.microsoft.com/office/powerpoint/2010/main" val="1155980571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nline Image Placeholder 2">
            <a:extLst>
              <a:ext uri="{FF2B5EF4-FFF2-40B4-BE49-F238E27FC236}">
                <a16:creationId xmlns:a16="http://schemas.microsoft.com/office/drawing/2014/main" id="{562D5679-B66F-A244-9E94-0FFE5F1B6168}"/>
              </a:ext>
            </a:extLst>
          </p:cNvPr>
          <p:cNvSpPr>
            <a:spLocks noGrp="1"/>
          </p:cNvSpPr>
          <p:nvPr>
            <p:ph type="clipArt" sz="quarter" idx="11" hasCustomPrompt="1"/>
          </p:nvPr>
        </p:nvSpPr>
        <p:spPr>
          <a:xfrm>
            <a:off x="5982392" y="2145843"/>
            <a:ext cx="5780073" cy="3756460"/>
          </a:xfrm>
        </p:spPr>
        <p:txBody>
          <a:bodyPr anchor="ctr">
            <a:noAutofit/>
          </a:bodyPr>
          <a:lstStyle>
            <a:lvl1pPr algn="ctr">
              <a:defRPr sz="1961"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26425" y="2145843"/>
            <a:ext cx="5138175" cy="2573509"/>
          </a:xfrm>
        </p:spPr>
        <p:txBody>
          <a:bodyPr wrap="square"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9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60CBD1C-0AFE-4EB9-94D7-943981FE0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7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Device layout</a:t>
            </a:r>
          </a:p>
        </p:txBody>
      </p:sp>
    </p:spTree>
    <p:extLst>
      <p:ext uri="{BB962C8B-B14F-4D97-AF65-F5344CB8AC3E}">
        <p14:creationId xmlns:p14="http://schemas.microsoft.com/office/powerpoint/2010/main" val="1379849370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layout: three columns graphic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426425" y="1599723"/>
            <a:ext cx="3632388" cy="31289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897219" y="1958468"/>
            <a:ext cx="2698612" cy="2411476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4281363" y="1599723"/>
            <a:ext cx="3623052" cy="31289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8126965" y="1599723"/>
            <a:ext cx="3635499" cy="31289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Content Placeholder 15"/>
          <p:cNvSpPr>
            <a:spLocks noGrp="1"/>
          </p:cNvSpPr>
          <p:nvPr userDrawn="1">
            <p:ph sz="quarter" idx="18" hasCustomPrompt="1"/>
          </p:nvPr>
        </p:nvSpPr>
        <p:spPr>
          <a:xfrm>
            <a:off x="4746694" y="1958468"/>
            <a:ext cx="2698612" cy="2411476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5"/>
          <p:cNvSpPr>
            <a:spLocks noGrp="1"/>
          </p:cNvSpPr>
          <p:nvPr userDrawn="1">
            <p:ph sz="quarter" idx="19" hasCustomPrompt="1"/>
          </p:nvPr>
        </p:nvSpPr>
        <p:spPr>
          <a:xfrm>
            <a:off x="8598490" y="1958468"/>
            <a:ext cx="2698612" cy="2411476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C74E6E5-9DAD-4A14-9C20-D9F9150874F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26424" y="440497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Graphic layout: three columns graphic an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B052D15-67DF-4845-863F-FEC853640A9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26426" y="4927922"/>
            <a:ext cx="3627659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 b="1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5ECD4C7-D870-4003-9FA8-85EBBED87940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281363" y="4927922"/>
            <a:ext cx="3623051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A9BECBA-B2CC-4EE6-B54E-9ADB03EB2595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26964" y="4927922"/>
            <a:ext cx="3635502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37781063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layout: four columns graphic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9594C393-E06E-3A4C-A658-2526A14DA5A1}"/>
              </a:ext>
            </a:extLst>
          </p:cNvPr>
          <p:cNvSpPr/>
          <p:nvPr userDrawn="1"/>
        </p:nvSpPr>
        <p:spPr bwMode="auto">
          <a:xfrm>
            <a:off x="9109046" y="1590387"/>
            <a:ext cx="2653417" cy="31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>
            <a:outerShdw blurRad="76200" algn="ctr" rotWithShape="0">
              <a:schemeClr val="bg2">
                <a:lumMod val="50000"/>
                <a:alpha val="8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011C51E-94BA-C44D-ABF4-E87C4124DAF0}"/>
              </a:ext>
            </a:extLst>
          </p:cNvPr>
          <p:cNvSpPr/>
          <p:nvPr userDrawn="1"/>
        </p:nvSpPr>
        <p:spPr bwMode="auto">
          <a:xfrm>
            <a:off x="6214841" y="1590387"/>
            <a:ext cx="2653417" cy="31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>
            <a:outerShdw blurRad="76200" algn="ctr" rotWithShape="0">
              <a:schemeClr val="bg2">
                <a:lumMod val="50000"/>
                <a:alpha val="8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6DDB665-2DD7-AE40-9862-C6E8E22E9215}"/>
              </a:ext>
            </a:extLst>
          </p:cNvPr>
          <p:cNvSpPr/>
          <p:nvPr userDrawn="1"/>
        </p:nvSpPr>
        <p:spPr bwMode="auto">
          <a:xfrm>
            <a:off x="3320634" y="1590387"/>
            <a:ext cx="2653417" cy="31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>
            <a:outerShdw blurRad="76200" algn="ctr" rotWithShape="0">
              <a:schemeClr val="bg2">
                <a:lumMod val="50000"/>
                <a:alpha val="8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CD677DE-AA2C-984C-BAE1-54D5F0B518CE}"/>
              </a:ext>
            </a:extLst>
          </p:cNvPr>
          <p:cNvSpPr/>
          <p:nvPr userDrawn="1"/>
        </p:nvSpPr>
        <p:spPr bwMode="auto">
          <a:xfrm>
            <a:off x="426426" y="1590387"/>
            <a:ext cx="2653417" cy="31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>
            <a:outerShdw blurRad="76200" algn="ctr" rotWithShape="0">
              <a:schemeClr val="bg2">
                <a:lumMod val="50000"/>
                <a:alpha val="8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47712A-15EB-884C-BF95-7C690BA77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35826"/>
            <a:ext cx="11336039" cy="74401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Graphic layout: four columns graphic and text</a:t>
            </a:r>
          </a:p>
        </p:txBody>
      </p:sp>
      <p:sp>
        <p:nvSpPr>
          <p:cNvPr id="4" name="Content Placeholder 15">
            <a:extLst>
              <a:ext uri="{FF2B5EF4-FFF2-40B4-BE49-F238E27FC236}">
                <a16:creationId xmlns:a16="http://schemas.microsoft.com/office/drawing/2014/main" id="{F580A529-D3A8-5643-80BA-3E2BE1AA8D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966751" y="2135537"/>
            <a:ext cx="1572767" cy="2038660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" name="Content Placeholder 15">
            <a:extLst>
              <a:ext uri="{FF2B5EF4-FFF2-40B4-BE49-F238E27FC236}">
                <a16:creationId xmlns:a16="http://schemas.microsoft.com/office/drawing/2014/main" id="{1F6D7A4B-5FFE-2741-8477-E0CAA019B07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849259" y="2135537"/>
            <a:ext cx="1596164" cy="2038660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7CF99F6-2487-AC48-8A09-B34B72BD5F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6" y="4927922"/>
            <a:ext cx="2653417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 b="1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F7B5F75-90C0-F44E-9322-8FF1108BD3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20634" y="4927922"/>
            <a:ext cx="2653417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E444E9C-8096-FE42-BE2A-094180C611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4841" y="4927922"/>
            <a:ext cx="2653417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  <p:sp>
        <p:nvSpPr>
          <p:cNvPr id="13" name="Content Placeholder 15">
            <a:extLst>
              <a:ext uri="{FF2B5EF4-FFF2-40B4-BE49-F238E27FC236}">
                <a16:creationId xmlns:a16="http://schemas.microsoft.com/office/drawing/2014/main" id="{30602BFF-4B8C-D046-AD65-47970BC89DF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743466" y="2135537"/>
            <a:ext cx="1596164" cy="2038660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88A8CB35-A244-544E-8BAE-53CB85074FB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637672" y="2135537"/>
            <a:ext cx="1596164" cy="2038660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8D35D15-66F4-4840-BA72-4B7AB5A24E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09046" y="4927922"/>
            <a:ext cx="2653417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7145124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02355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26424" y="2135536"/>
            <a:ext cx="11336039" cy="4288197"/>
          </a:xfrm>
        </p:spPr>
        <p:txBody>
          <a:bodyPr bIns="1737360" anchor="ctr">
            <a:noAutofit/>
          </a:bodyPr>
          <a:lstStyle>
            <a:lvl1pPr algn="ctr">
              <a:defRPr sz="1961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4F997AC3-87B6-4E0B-88C2-A05069E413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7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able layout</a:t>
            </a:r>
          </a:p>
        </p:txBody>
      </p:sp>
    </p:spTree>
    <p:extLst>
      <p:ext uri="{BB962C8B-B14F-4D97-AF65-F5344CB8AC3E}">
        <p14:creationId xmlns:p14="http://schemas.microsoft.com/office/powerpoint/2010/main" val="3437567838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21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spc="-147" dirty="0">
                <a:solidFill>
                  <a:srgbClr val="000000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447562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bg>
      <p:bgPr>
        <a:solidFill>
          <a:srgbClr val="02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>
            <a:extLst>
              <a:ext uri="{FF2B5EF4-FFF2-40B4-BE49-F238E27FC236}">
                <a16:creationId xmlns:a16="http://schemas.microsoft.com/office/drawing/2014/main" id="{51E9DCD3-357B-4AF7-BDD2-18E09F714F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1184321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spc="-147" dirty="0">
                <a:solidFill>
                  <a:schemeClr val="tx2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890341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in a blue shirt&#10;&#10;Description generated with high confidence">
            <a:extLst>
              <a:ext uri="{FF2B5EF4-FFF2-40B4-BE49-F238E27FC236}">
                <a16:creationId xmlns:a16="http://schemas.microsoft.com/office/drawing/2014/main" id="{6ED214DD-0EEC-4ACC-A022-15CDD9C0AD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"/>
            <a:ext cx="12190264" cy="6857996"/>
          </a:xfrm>
          <a:prstGeom prst="rect">
            <a:avLst/>
          </a:prstGeom>
        </p:spPr>
      </p:pic>
      <p:sp>
        <p:nvSpPr>
          <p:cNvPr id="5" name="Title 35">
            <a:extLst>
              <a:ext uri="{FF2B5EF4-FFF2-40B4-BE49-F238E27FC236}">
                <a16:creationId xmlns:a16="http://schemas.microsoft.com/office/drawing/2014/main" id="{8441881C-06B8-4CD2-ADC6-DFD3519E6A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1184321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spc="-147" dirty="0">
                <a:solidFill>
                  <a:srgbClr val="000000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665785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6601883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07DE85-B70F-4309-8506-6C011BC20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1829711"/>
            <a:ext cx="7477989" cy="1473396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74"/>
              </a:spcAft>
              <a:defRPr sz="2549" spc="-147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sp>
        <p:nvSpPr>
          <p:cNvPr id="7" name="Text Box 3">
            <a:extLst>
              <a:ext uri="{FF2B5EF4-FFF2-40B4-BE49-F238E27FC236}">
                <a16:creationId xmlns:a16="http://schemas.microsoft.com/office/drawing/2014/main" id="{F3523A4C-09FD-49AC-AA6D-1A6E7B7893EE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rgbClr val="000000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4C8B45-9D01-4389-94BD-CBAF3D8B35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9544" y="437139"/>
            <a:ext cx="896425" cy="190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5429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blue">
    <p:bg>
      <p:bgPr>
        <a:solidFill>
          <a:srgbClr val="02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26425" y="1829711"/>
            <a:ext cx="7477989" cy="1473396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74"/>
              </a:spcAft>
              <a:defRPr sz="2549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sp>
        <p:nvSpPr>
          <p:cNvPr id="4" name="Text Box 3">
            <a:extLst>
              <a:ext uri="{FF2B5EF4-FFF2-40B4-BE49-F238E27FC236}">
                <a16:creationId xmlns:a16="http://schemas.microsoft.com/office/drawing/2014/main" id="{1688BD8D-D2E4-4DFC-B39C-D55D84362354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2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36BDE7C-8AED-4A87-A171-2EB14E4B98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681" y="437142"/>
            <a:ext cx="896425" cy="191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0650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69232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6FAD87F-DBF5-4E2F-A61B-3CCEC5C7D0B9}"/>
              </a:ext>
            </a:extLst>
          </p:cNvPr>
          <p:cNvGrpSpPr/>
          <p:nvPr userDrawn="1"/>
        </p:nvGrpSpPr>
        <p:grpSpPr bwMode="ltGray">
          <a:xfrm>
            <a:off x="8710812" y="1771650"/>
            <a:ext cx="3481189" cy="4196081"/>
            <a:chOff x="8710812" y="1771650"/>
            <a:chExt cx="3481189" cy="4196081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6B0365F1-E7DF-4958-962E-9FFD3A39414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3720628"/>
              <a:ext cx="531187" cy="974975"/>
            </a:xfrm>
            <a:custGeom>
              <a:avLst/>
              <a:gdLst>
                <a:gd name="T0" fmla="*/ 547 w 547"/>
                <a:gd name="T1" fmla="*/ 704 h 1004"/>
                <a:gd name="T2" fmla="*/ 0 w 547"/>
                <a:gd name="T3" fmla="*/ 1004 h 1004"/>
                <a:gd name="T4" fmla="*/ 0 w 547"/>
                <a:gd name="T5" fmla="*/ 300 h 1004"/>
                <a:gd name="T6" fmla="*/ 547 w 547"/>
                <a:gd name="T7" fmla="*/ 0 h 1004"/>
                <a:gd name="T8" fmla="*/ 547 w 547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4"/>
                  </a:moveTo>
                  <a:lnTo>
                    <a:pt x="0" y="1004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4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39253E4C-431D-4257-8CC7-C1456CD2F32D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8040" y="3720628"/>
              <a:ext cx="532157" cy="974975"/>
            </a:xfrm>
            <a:custGeom>
              <a:avLst/>
              <a:gdLst>
                <a:gd name="T0" fmla="*/ 0 w 548"/>
                <a:gd name="T1" fmla="*/ 704 h 1004"/>
                <a:gd name="T2" fmla="*/ 548 w 548"/>
                <a:gd name="T3" fmla="*/ 1004 h 1004"/>
                <a:gd name="T4" fmla="*/ 548 w 548"/>
                <a:gd name="T5" fmla="*/ 300 h 1004"/>
                <a:gd name="T6" fmla="*/ 0 w 548"/>
                <a:gd name="T7" fmla="*/ 0 h 1004"/>
                <a:gd name="T8" fmla="*/ 0 w 548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4"/>
                  </a:moveTo>
                  <a:lnTo>
                    <a:pt x="548" y="1004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4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E928826C-9C74-4194-A556-98EC9A96F6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4404276"/>
              <a:ext cx="1063344" cy="586538"/>
            </a:xfrm>
            <a:custGeom>
              <a:avLst/>
              <a:gdLst>
                <a:gd name="T0" fmla="*/ 547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7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7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7ACB5DE1-DAC6-4C99-B2CC-0EB12CE0D5F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5D630C8B-3A7C-4321-A3EF-B1D0A698F7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2969" y="2748567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2A590461-2675-4E4A-B9BB-BF5471E895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3434156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48EAECFD-0CA3-492F-BA94-22EF6EB2205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62FFEC32-2F2F-43F4-9C21-7F15A26966A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3434157"/>
              <a:ext cx="1063345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  <a:gd name="connsiteX0" fmla="*/ 5005 w 10000"/>
                <a:gd name="connsiteY0" fmla="*/ 0 h 10000"/>
                <a:gd name="connsiteX1" fmla="*/ 0 w 10000"/>
                <a:gd name="connsiteY1" fmla="*/ 4967 h 10000"/>
                <a:gd name="connsiteX2" fmla="*/ 5048 w 10000"/>
                <a:gd name="connsiteY2" fmla="*/ 10000 h 10000"/>
                <a:gd name="connsiteX3" fmla="*/ 10000 w 10000"/>
                <a:gd name="connsiteY3" fmla="*/ 4967 h 10000"/>
                <a:gd name="connsiteX4" fmla="*/ 5005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5005" y="0"/>
                  </a:moveTo>
                  <a:lnTo>
                    <a:pt x="0" y="4967"/>
                  </a:lnTo>
                  <a:lnTo>
                    <a:pt x="5048" y="10000"/>
                  </a:lnTo>
                  <a:lnTo>
                    <a:pt x="10000" y="4967"/>
                  </a:lnTo>
                  <a:lnTo>
                    <a:pt x="5005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3">
              <a:extLst>
                <a:ext uri="{FF2B5EF4-FFF2-40B4-BE49-F238E27FC236}">
                  <a16:creationId xmlns:a16="http://schemas.microsoft.com/office/drawing/2014/main" id="{647709D2-F4CC-4414-B183-427A6D2A22A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1823" y="2748566"/>
              <a:ext cx="534332" cy="982635"/>
            </a:xfrm>
            <a:custGeom>
              <a:avLst/>
              <a:gdLst>
                <a:gd name="T0" fmla="*/ 0 w 548"/>
                <a:gd name="T1" fmla="*/ 706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6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72928ABA-DF2E-4C8E-B194-7FA5282298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3616" y="3434158"/>
              <a:ext cx="1060195" cy="586539"/>
            </a:xfrm>
            <a:custGeom>
              <a:avLst/>
              <a:gdLst>
                <a:gd name="T0" fmla="*/ 548 w 1096"/>
                <a:gd name="T1" fmla="*/ 0 h 604"/>
                <a:gd name="T2" fmla="*/ 0 w 1096"/>
                <a:gd name="T3" fmla="*/ 300 h 604"/>
                <a:gd name="T4" fmla="*/ 560 w 1096"/>
                <a:gd name="T5" fmla="*/ 604 h 604"/>
                <a:gd name="T6" fmla="*/ 1096 w 1096"/>
                <a:gd name="T7" fmla="*/ 300 h 604"/>
                <a:gd name="T8" fmla="*/ 548 w 1096"/>
                <a:gd name="T9" fmla="*/ 0 h 604"/>
                <a:gd name="connsiteX0" fmla="*/ 5000 w 9956"/>
                <a:gd name="connsiteY0" fmla="*/ 0 h 10000"/>
                <a:gd name="connsiteX1" fmla="*/ 0 w 9956"/>
                <a:gd name="connsiteY1" fmla="*/ 4967 h 10000"/>
                <a:gd name="connsiteX2" fmla="*/ 5109 w 9956"/>
                <a:gd name="connsiteY2" fmla="*/ 10000 h 10000"/>
                <a:gd name="connsiteX3" fmla="*/ 9956 w 9956"/>
                <a:gd name="connsiteY3" fmla="*/ 4967 h 10000"/>
                <a:gd name="connsiteX4" fmla="*/ 5000 w 9956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56" h="10000">
                  <a:moveTo>
                    <a:pt x="5000" y="0"/>
                  </a:moveTo>
                  <a:lnTo>
                    <a:pt x="0" y="4967"/>
                  </a:lnTo>
                  <a:lnTo>
                    <a:pt x="5109" y="10000"/>
                  </a:lnTo>
                  <a:lnTo>
                    <a:pt x="9956" y="4967"/>
                  </a:lnTo>
                  <a:lnTo>
                    <a:pt x="5000" y="0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5A52C6C9-8220-4E26-B41D-1AA4F49DF9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1771650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8548CD94-9B34-4B91-BB2B-8736861E89E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1673" y="1771650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CFFFDB94-105D-4570-A938-4AD7CE4AE78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2457240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id="{AC2A78A9-4071-45DC-BAE8-1C643EDD9B0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1" y="1771650"/>
              <a:ext cx="531187" cy="976917"/>
            </a:xfrm>
            <a:custGeom>
              <a:avLst/>
              <a:gdLst>
                <a:gd name="T0" fmla="*/ 547 w 547"/>
                <a:gd name="T1" fmla="*/ 706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0EEF9B-FB8E-409B-A24F-BD7570B88204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895988" y="1771650"/>
              <a:ext cx="296013" cy="847641"/>
            </a:xfrm>
            <a:custGeom>
              <a:avLst/>
              <a:gdLst>
                <a:gd name="connsiteX0" fmla="*/ 0 w 296013"/>
                <a:gd name="connsiteY0" fmla="*/ 0 h 847641"/>
                <a:gd name="connsiteX1" fmla="*/ 296013 w 296013"/>
                <a:gd name="connsiteY1" fmla="*/ 162051 h 847641"/>
                <a:gd name="connsiteX2" fmla="*/ 296013 w 296013"/>
                <a:gd name="connsiteY2" fmla="*/ 847641 h 847641"/>
                <a:gd name="connsiteX3" fmla="*/ 0 w 296013"/>
                <a:gd name="connsiteY3" fmla="*/ 685590 h 84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013" h="847641">
                  <a:moveTo>
                    <a:pt x="0" y="0"/>
                  </a:moveTo>
                  <a:lnTo>
                    <a:pt x="296013" y="162051"/>
                  </a:lnTo>
                  <a:lnTo>
                    <a:pt x="296013" y="847641"/>
                  </a:lnTo>
                  <a:lnTo>
                    <a:pt x="0" y="685590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90FC8DE-C4AD-4BD3-9506-276C17F0C33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0" y="2457240"/>
              <a:ext cx="827200" cy="593577"/>
            </a:xfrm>
            <a:custGeom>
              <a:avLst/>
              <a:gdLst>
                <a:gd name="connsiteX0" fmla="*/ 531141 w 827200"/>
                <a:gd name="connsiteY0" fmla="*/ 0 h 593577"/>
                <a:gd name="connsiteX1" fmla="*/ 827200 w 827200"/>
                <a:gd name="connsiteY1" fmla="*/ 162066 h 593577"/>
                <a:gd name="connsiteX2" fmla="*/ 827200 w 827200"/>
                <a:gd name="connsiteY2" fmla="*/ 425095 h 593577"/>
                <a:gd name="connsiteX3" fmla="*/ 529758 w 827200"/>
                <a:gd name="connsiteY3" fmla="*/ 593577 h 593577"/>
                <a:gd name="connsiteX4" fmla="*/ 0 w 827200"/>
                <a:gd name="connsiteY4" fmla="*/ 291334 h 59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7200" h="593577">
                  <a:moveTo>
                    <a:pt x="531141" y="0"/>
                  </a:moveTo>
                  <a:lnTo>
                    <a:pt x="827200" y="162066"/>
                  </a:lnTo>
                  <a:lnTo>
                    <a:pt x="827200" y="425095"/>
                  </a:lnTo>
                  <a:lnTo>
                    <a:pt x="529758" y="593577"/>
                  </a:lnTo>
                  <a:lnTo>
                    <a:pt x="0" y="291334"/>
                  </a:lnTo>
                  <a:close/>
                </a:path>
              </a:pathLst>
            </a:custGeom>
            <a:solidFill>
              <a:srgbClr val="303030"/>
            </a:solidFill>
            <a:ln w="9525">
              <a:solidFill>
                <a:srgbClr val="30303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eform 21">
              <a:extLst>
                <a:ext uri="{FF2B5EF4-FFF2-40B4-BE49-F238E27FC236}">
                  <a16:creationId xmlns:a16="http://schemas.microsoft.com/office/drawing/2014/main" id="{77297A5A-69AC-4DF4-95F9-A09D48D814E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4400391"/>
              <a:ext cx="531187" cy="976917"/>
            </a:xfrm>
            <a:custGeom>
              <a:avLst/>
              <a:gdLst>
                <a:gd name="T0" fmla="*/ 547 w 547"/>
                <a:gd name="T1" fmla="*/ 707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7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7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2">
              <a:extLst>
                <a:ext uri="{FF2B5EF4-FFF2-40B4-BE49-F238E27FC236}">
                  <a16:creationId xmlns:a16="http://schemas.microsoft.com/office/drawing/2014/main" id="{E65087DC-7AC8-4AA7-9010-A067ADE1CF79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47210" y="4400391"/>
              <a:ext cx="532157" cy="976917"/>
            </a:xfrm>
            <a:custGeom>
              <a:avLst/>
              <a:gdLst>
                <a:gd name="T0" fmla="*/ 0 w 548"/>
                <a:gd name="T1" fmla="*/ 707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7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7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3B4C2EBB-4C89-4380-A5E7-A7BD40C2B90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5086952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">
              <a:extLst>
                <a:ext uri="{FF2B5EF4-FFF2-40B4-BE49-F238E27FC236}">
                  <a16:creationId xmlns:a16="http://schemas.microsoft.com/office/drawing/2014/main" id="{0D7CD4FA-6D18-4E1F-9C7D-91AA2E32B2B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4697545"/>
              <a:ext cx="531187" cy="974975"/>
            </a:xfrm>
            <a:custGeom>
              <a:avLst/>
              <a:gdLst>
                <a:gd name="T0" fmla="*/ 547 w 547"/>
                <a:gd name="T1" fmla="*/ 705 h 1004"/>
                <a:gd name="T2" fmla="*/ 0 w 547"/>
                <a:gd name="T3" fmla="*/ 1004 h 1004"/>
                <a:gd name="T4" fmla="*/ 0 w 547"/>
                <a:gd name="T5" fmla="*/ 298 h 1004"/>
                <a:gd name="T6" fmla="*/ 547 w 547"/>
                <a:gd name="T7" fmla="*/ 0 h 1004"/>
                <a:gd name="T8" fmla="*/ 547 w 547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5"/>
                  </a:moveTo>
                  <a:lnTo>
                    <a:pt x="0" y="1004"/>
                  </a:lnTo>
                  <a:lnTo>
                    <a:pt x="0" y="298"/>
                  </a:lnTo>
                  <a:lnTo>
                    <a:pt x="547" y="0"/>
                  </a:lnTo>
                  <a:lnTo>
                    <a:pt x="547" y="705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5">
              <a:extLst>
                <a:ext uri="{FF2B5EF4-FFF2-40B4-BE49-F238E27FC236}">
                  <a16:creationId xmlns:a16="http://schemas.microsoft.com/office/drawing/2014/main" id="{5D06D6BE-8F81-4F1F-9E44-429E129C195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51709" y="4697545"/>
              <a:ext cx="532157" cy="974975"/>
            </a:xfrm>
            <a:custGeom>
              <a:avLst/>
              <a:gdLst>
                <a:gd name="T0" fmla="*/ 0 w 548"/>
                <a:gd name="T1" fmla="*/ 705 h 1004"/>
                <a:gd name="T2" fmla="*/ 548 w 548"/>
                <a:gd name="T3" fmla="*/ 1004 h 1004"/>
                <a:gd name="T4" fmla="*/ 548 w 548"/>
                <a:gd name="T5" fmla="*/ 298 h 1004"/>
                <a:gd name="T6" fmla="*/ 0 w 548"/>
                <a:gd name="T7" fmla="*/ 0 h 1004"/>
                <a:gd name="T8" fmla="*/ 0 w 548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5"/>
                  </a:moveTo>
                  <a:lnTo>
                    <a:pt x="548" y="1004"/>
                  </a:lnTo>
                  <a:lnTo>
                    <a:pt x="548" y="298"/>
                  </a:lnTo>
                  <a:lnTo>
                    <a:pt x="0" y="0"/>
                  </a:lnTo>
                  <a:lnTo>
                    <a:pt x="0" y="705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">
              <a:extLst>
                <a:ext uri="{FF2B5EF4-FFF2-40B4-BE49-F238E27FC236}">
                  <a16:creationId xmlns:a16="http://schemas.microsoft.com/office/drawing/2014/main" id="{3F7CF64D-F067-41E4-8D9F-41FF3897282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5382163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791479" y="3074916"/>
            <a:ext cx="2321486" cy="14055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74192" y="3183752"/>
            <a:ext cx="2712307" cy="1367241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738939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7757" y="585788"/>
            <a:ext cx="2691631" cy="276999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00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>
                <a:latin typeface="+mj-lt"/>
              </a:rPr>
              <a:t>Session code here</a:t>
            </a:r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DCBAFEF-FDA0-4148-B6F8-D1D9029A0218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9BE868E-A240-4959-BD66-6BC44EE5A4A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DDB4654-32A2-47CE-B324-C597C756E402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18BE353-242E-4429-9D4C-1D50CEEC277C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2B25198-469F-44A8-946B-689A24DC3C72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5460766-0EE4-4C99-BD2E-1BAD7FD9C3AC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EFBC909F-DC50-4DDC-91C9-2509E0F5633F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E0DC1718-52A4-4705-AE14-45A352ACBC2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D51C16AF-F6FA-4CD2-B0A5-3663CD02799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3A105041-F999-49D6-BE4B-7630F1204F6C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190B08C-67D4-4DAD-8158-2B4D4A1318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43F7B37-FD03-4D73-932B-77D49AB6A515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8F01A60D-F904-4399-87EA-23E33C45969F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450C50C-26FC-42C5-BA39-AE97627B772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8924B0-E78A-4770-AF30-C78056E7AAAB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D8AB0228-AC44-413D-A029-1BBF7B18CBCC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89C067BE-7550-4D8F-9A42-B78AB594CD54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54D97435-6932-4E2A-A217-DEA06FDA510A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FF9C9FB6-79F2-41F1-872D-2184B91C8E00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577AEC4-9502-4D2D-B373-2F1CB4EFF9B8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13EA48F-163A-410A-8C97-A08AA1B2EE50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3E1E199B-B230-4884-9F60-9B781B11B8FF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B98E4A3-2599-4DEB-8ECC-F004500FBF6A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6B74F55-4583-4B26-A4E0-71C00B14AFF6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C4D1900-D812-4B27-AC50-B2795AD953C3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83ECFC2-9749-4525-973B-EAA0BC0FC62B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A3ABF7E-B2D4-4B7A-9B6E-0EB3223E4EE4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43029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1092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82965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78672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4827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83749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97999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68238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66583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200F7B6E-608C-4712-A939-BEBE059E295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DC5E8A2-8275-4F90-BA55-9B66D81C4A9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6C563208-4732-48A3-81E6-533A2E2DD53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DD0ADC22-C4D5-4BE8-99A8-91566ADDBF5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91C4D457-0F93-4853-AB02-01C200DE6658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E8D605B0-4DEE-4101-AC83-CD1D15D14DB9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EF14ED5-2275-4C01-96DD-1D24FE9FD6EE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F31E8C76-6A67-4E1C-BCC4-8D2ABCC0212A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ABDD9FA-82C7-4E69-9895-354AD0BDD19E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2A7CD18E-2839-44B2-9BA7-6356529D686A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0B7E64CE-434E-410A-823C-4872E71DD278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0D92AA81-D52A-4877-AE2C-AB5B4D374D19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BE84D11A-0DE4-40A8-BB80-889FF30CCE03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80E0B5D-2F12-4C6E-92C5-3765C579ADE8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765DAB00-242D-4D78-B6BF-F678C14B519F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D824698C-3D67-4D42-9DE6-531F5A0C7EA3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699246CD-F05A-4044-B7A4-384A7B272509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6930CAB-4305-4191-AD01-9D22AAD264D9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7FBC50E9-9F0E-4D62-9AA6-DC145681D1EA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9610B7D-2856-472A-B98F-5684402C6C99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173E078-D753-4C8F-98BB-75D0CBE314FE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EAA82456-62CD-4C42-91A4-3FFD8F19BCBD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41ABB687-FC0A-4A48-8466-BF8A1129E230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EEA91BF-1A44-4FB0-92F0-23098E7BBFCD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11C6A8E-CEC6-4129-9FB2-A426C6CE84EB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205B8F1F-9F8A-42BF-8770-AEABCEC35D18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36EE7F2A-0858-47D2-B1D0-D33BCD933AB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0701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C39AAC9F-C8B8-422E-93FC-08A064104000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09379AA-B540-4886-8794-46BA10F3D91B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9E5BC201-014B-48F5-BAC0-4FBBACCBF586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F72CD027-1ABE-4E4A-BE9E-EF73250F92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52C85D91-63CC-4FF7-A826-BE886CDB017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55C67E6-D930-403F-9550-70EC2A102AB5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BDB9C074-A5A6-4082-9FCD-D487FD8013E5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E3D79EB-E5E0-4CA3-A7CE-50069CC73F1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42F892FB-2465-40CF-A81F-AC989DC09CE4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E8BADF38-50C7-4E4B-AA00-660BF4161C96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A51B782C-38CF-4C16-8A55-9C1BEA5AF3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61A234A0-3B09-4E85-880A-C885FBEE2401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B6516D46-39CD-420E-9263-03065B10F8F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B28F64C-F49A-4F09-A9C2-8502680A64D7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AE00412-2C1C-4CAB-B1D4-B046A4B37C24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01030AB7-3DE7-407A-98DE-751351FCBFB5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0074BD83-98DD-4084-9D1E-CDACFD005AFF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47C85498-5D07-457D-BA73-99E2EB50130B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3DF2CE11-90A6-43A8-B2DC-45295F10CB64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65F154A-ABA1-4F9A-97F8-C50108DD1A97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4AC8DFE-7BB0-4D98-AA21-405DB4B06225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F39938CF-5CFF-4707-BBDD-DD19FA0A50F1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73332E5E-0308-4370-A841-A20570A69BDF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9E46D602-7D42-411E-8BA6-6F74E13FE60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53F344C1-9929-4E86-BB1A-05E12D1570DF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6933AFD-19AA-49B8-BCF7-2D0EAA89273D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9FB75AC2-D122-402F-B448-B0118576BB4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6607426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3B08910-F1C3-47B2-8C69-1B107282064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FE7A031-B4AB-4071-98FF-24E766F9BB5C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6DC7067D-3957-4163-9442-C167A0A6216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9AE235F-4F6C-4565-AADC-752626D64B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EAADF52-7CC0-4715-8BAC-4186C7CE9B0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8AC140A-9DFB-45B7-82C2-CF25166A0D41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3436FDC7-3DF0-4E6A-B4A8-7EB4FF30AAF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D72FB5AA-3C69-4BB6-9C10-682E95EF1AAE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20321A7F-C5FC-4514-A3AC-41CC16FA85FD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3C4B3CE-95D2-45A5-917E-A5389B118222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A5270AF0-DA91-4FF8-9B1C-35937E49D88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1B4AB4EC-0302-4902-B797-9B84C91FDE1B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941D13F-2DD6-4121-8220-CC08400DD382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98F2381-17CE-4672-96D3-D3E4A8C1115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6A42BAE-DCEA-4A1A-8779-E499D67DA7B9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8D7995E7-6761-41BA-BE88-30DD0DF70D22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4D7B6AA-459B-44CF-9930-A05720C41315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0EBE7D0E-F0D6-4EA3-A151-C26BF3138977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118A379-1639-4C1C-9E5B-A39F1CD0A9D9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8DE972F-9FF1-4743-BF7F-15CC5403A6C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95596FA-D3B2-4953-81FC-9958337AF5DC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D57090A-B887-4CA7-A022-90564F12A9A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F9749B2E-C284-42A2-A061-B635FBBBD461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A74F4CD-889D-4E91-AB27-CCB11E8677AE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CE97AB5-F3D1-4D1A-8F2F-166F6F85A189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5281A29-9018-48AF-8B81-EB9F71FE5ABA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2B1B3F07-773E-4FC0-9A04-73F52683190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15168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5.xml"/><Relationship Id="rId13" Type="http://schemas.openxmlformats.org/officeDocument/2006/relationships/slideLayout" Target="../slideLayouts/slideLayout200.xml"/><Relationship Id="rId18" Type="http://schemas.openxmlformats.org/officeDocument/2006/relationships/slideLayout" Target="../slideLayouts/slideLayout205.xml"/><Relationship Id="rId3" Type="http://schemas.openxmlformats.org/officeDocument/2006/relationships/slideLayout" Target="../slideLayouts/slideLayout190.xml"/><Relationship Id="rId21" Type="http://schemas.openxmlformats.org/officeDocument/2006/relationships/theme" Target="../theme/theme10.xml"/><Relationship Id="rId7" Type="http://schemas.openxmlformats.org/officeDocument/2006/relationships/slideLayout" Target="../slideLayouts/slideLayout194.xml"/><Relationship Id="rId12" Type="http://schemas.openxmlformats.org/officeDocument/2006/relationships/slideLayout" Target="../slideLayouts/slideLayout199.xml"/><Relationship Id="rId17" Type="http://schemas.openxmlformats.org/officeDocument/2006/relationships/slideLayout" Target="../slideLayouts/slideLayout204.xml"/><Relationship Id="rId2" Type="http://schemas.openxmlformats.org/officeDocument/2006/relationships/slideLayout" Target="../slideLayouts/slideLayout189.xml"/><Relationship Id="rId16" Type="http://schemas.openxmlformats.org/officeDocument/2006/relationships/slideLayout" Target="../slideLayouts/slideLayout203.xml"/><Relationship Id="rId20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1" Type="http://schemas.openxmlformats.org/officeDocument/2006/relationships/slideLayout" Target="../slideLayouts/slideLayout198.xml"/><Relationship Id="rId5" Type="http://schemas.openxmlformats.org/officeDocument/2006/relationships/slideLayout" Target="../slideLayouts/slideLayout192.xml"/><Relationship Id="rId15" Type="http://schemas.openxmlformats.org/officeDocument/2006/relationships/slideLayout" Target="../slideLayouts/slideLayout202.xml"/><Relationship Id="rId23" Type="http://schemas.openxmlformats.org/officeDocument/2006/relationships/image" Target="../media/image37.png"/><Relationship Id="rId10" Type="http://schemas.openxmlformats.org/officeDocument/2006/relationships/slideLayout" Target="../slideLayouts/slideLayout197.xml"/><Relationship Id="rId19" Type="http://schemas.openxmlformats.org/officeDocument/2006/relationships/slideLayout" Target="../slideLayouts/slideLayout206.xml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Relationship Id="rId14" Type="http://schemas.openxmlformats.org/officeDocument/2006/relationships/slideLayout" Target="../slideLayouts/slideLayout201.xml"/><Relationship Id="rId22" Type="http://schemas.openxmlformats.org/officeDocument/2006/relationships/image" Target="../media/image18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5.xml"/><Relationship Id="rId13" Type="http://schemas.openxmlformats.org/officeDocument/2006/relationships/slideLayout" Target="../slideLayouts/slideLayout220.xml"/><Relationship Id="rId18" Type="http://schemas.openxmlformats.org/officeDocument/2006/relationships/slideLayout" Target="../slideLayouts/slideLayout225.xml"/><Relationship Id="rId26" Type="http://schemas.openxmlformats.org/officeDocument/2006/relationships/slideLayout" Target="../slideLayouts/slideLayout233.xml"/><Relationship Id="rId3" Type="http://schemas.openxmlformats.org/officeDocument/2006/relationships/slideLayout" Target="../slideLayouts/slideLayout210.xml"/><Relationship Id="rId21" Type="http://schemas.openxmlformats.org/officeDocument/2006/relationships/slideLayout" Target="../slideLayouts/slideLayout228.xml"/><Relationship Id="rId7" Type="http://schemas.openxmlformats.org/officeDocument/2006/relationships/slideLayout" Target="../slideLayouts/slideLayout214.xml"/><Relationship Id="rId12" Type="http://schemas.openxmlformats.org/officeDocument/2006/relationships/slideLayout" Target="../slideLayouts/slideLayout219.xml"/><Relationship Id="rId17" Type="http://schemas.openxmlformats.org/officeDocument/2006/relationships/slideLayout" Target="../slideLayouts/slideLayout224.xml"/><Relationship Id="rId25" Type="http://schemas.openxmlformats.org/officeDocument/2006/relationships/slideLayout" Target="../slideLayouts/slideLayout232.xml"/><Relationship Id="rId2" Type="http://schemas.openxmlformats.org/officeDocument/2006/relationships/slideLayout" Target="../slideLayouts/slideLayout209.xml"/><Relationship Id="rId16" Type="http://schemas.openxmlformats.org/officeDocument/2006/relationships/slideLayout" Target="../slideLayouts/slideLayout223.xml"/><Relationship Id="rId20" Type="http://schemas.openxmlformats.org/officeDocument/2006/relationships/slideLayout" Target="../slideLayouts/slideLayout227.xml"/><Relationship Id="rId1" Type="http://schemas.openxmlformats.org/officeDocument/2006/relationships/slideLayout" Target="../slideLayouts/slideLayout208.xml"/><Relationship Id="rId6" Type="http://schemas.openxmlformats.org/officeDocument/2006/relationships/slideLayout" Target="../slideLayouts/slideLayout213.xml"/><Relationship Id="rId11" Type="http://schemas.openxmlformats.org/officeDocument/2006/relationships/slideLayout" Target="../slideLayouts/slideLayout218.xml"/><Relationship Id="rId24" Type="http://schemas.openxmlformats.org/officeDocument/2006/relationships/slideLayout" Target="../slideLayouts/slideLayout231.xml"/><Relationship Id="rId5" Type="http://schemas.openxmlformats.org/officeDocument/2006/relationships/slideLayout" Target="../slideLayouts/slideLayout212.xml"/><Relationship Id="rId15" Type="http://schemas.openxmlformats.org/officeDocument/2006/relationships/slideLayout" Target="../slideLayouts/slideLayout222.xml"/><Relationship Id="rId23" Type="http://schemas.openxmlformats.org/officeDocument/2006/relationships/slideLayout" Target="../slideLayouts/slideLayout230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217.xml"/><Relationship Id="rId19" Type="http://schemas.openxmlformats.org/officeDocument/2006/relationships/slideLayout" Target="../slideLayouts/slideLayout226.xml"/><Relationship Id="rId4" Type="http://schemas.openxmlformats.org/officeDocument/2006/relationships/slideLayout" Target="../slideLayouts/slideLayout211.xml"/><Relationship Id="rId9" Type="http://schemas.openxmlformats.org/officeDocument/2006/relationships/slideLayout" Target="../slideLayouts/slideLayout216.xml"/><Relationship Id="rId14" Type="http://schemas.openxmlformats.org/officeDocument/2006/relationships/slideLayout" Target="../slideLayouts/slideLayout221.xml"/><Relationship Id="rId22" Type="http://schemas.openxmlformats.org/officeDocument/2006/relationships/slideLayout" Target="../slideLayouts/slideLayout229.xml"/><Relationship Id="rId27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1.xml"/><Relationship Id="rId13" Type="http://schemas.openxmlformats.org/officeDocument/2006/relationships/slideLayout" Target="../slideLayouts/slideLayout246.xml"/><Relationship Id="rId18" Type="http://schemas.openxmlformats.org/officeDocument/2006/relationships/slideLayout" Target="../slideLayouts/slideLayout251.xml"/><Relationship Id="rId3" Type="http://schemas.openxmlformats.org/officeDocument/2006/relationships/slideLayout" Target="../slideLayouts/slideLayout236.xml"/><Relationship Id="rId21" Type="http://schemas.openxmlformats.org/officeDocument/2006/relationships/image" Target="../media/image18.emf"/><Relationship Id="rId7" Type="http://schemas.openxmlformats.org/officeDocument/2006/relationships/slideLayout" Target="../slideLayouts/slideLayout240.xml"/><Relationship Id="rId12" Type="http://schemas.openxmlformats.org/officeDocument/2006/relationships/slideLayout" Target="../slideLayouts/slideLayout245.xml"/><Relationship Id="rId17" Type="http://schemas.openxmlformats.org/officeDocument/2006/relationships/slideLayout" Target="../slideLayouts/slideLayout250.xml"/><Relationship Id="rId2" Type="http://schemas.openxmlformats.org/officeDocument/2006/relationships/slideLayout" Target="../slideLayouts/slideLayout235.xml"/><Relationship Id="rId16" Type="http://schemas.openxmlformats.org/officeDocument/2006/relationships/slideLayout" Target="../slideLayouts/slideLayout249.xml"/><Relationship Id="rId20" Type="http://schemas.openxmlformats.org/officeDocument/2006/relationships/theme" Target="../theme/theme12.xml"/><Relationship Id="rId1" Type="http://schemas.openxmlformats.org/officeDocument/2006/relationships/slideLayout" Target="../slideLayouts/slideLayout234.xml"/><Relationship Id="rId6" Type="http://schemas.openxmlformats.org/officeDocument/2006/relationships/slideLayout" Target="../slideLayouts/slideLayout239.xml"/><Relationship Id="rId11" Type="http://schemas.openxmlformats.org/officeDocument/2006/relationships/slideLayout" Target="../slideLayouts/slideLayout244.xml"/><Relationship Id="rId5" Type="http://schemas.openxmlformats.org/officeDocument/2006/relationships/slideLayout" Target="../slideLayouts/slideLayout238.xml"/><Relationship Id="rId15" Type="http://schemas.openxmlformats.org/officeDocument/2006/relationships/slideLayout" Target="../slideLayouts/slideLayout248.xml"/><Relationship Id="rId10" Type="http://schemas.openxmlformats.org/officeDocument/2006/relationships/slideLayout" Target="../slideLayouts/slideLayout243.xml"/><Relationship Id="rId19" Type="http://schemas.openxmlformats.org/officeDocument/2006/relationships/slideLayout" Target="../slideLayouts/slideLayout252.xml"/><Relationship Id="rId4" Type="http://schemas.openxmlformats.org/officeDocument/2006/relationships/slideLayout" Target="../slideLayouts/slideLayout237.xml"/><Relationship Id="rId9" Type="http://schemas.openxmlformats.org/officeDocument/2006/relationships/slideLayout" Target="../slideLayouts/slideLayout242.xml"/><Relationship Id="rId14" Type="http://schemas.openxmlformats.org/officeDocument/2006/relationships/slideLayout" Target="../slideLayouts/slideLayout247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5.xml"/><Relationship Id="rId18" Type="http://schemas.openxmlformats.org/officeDocument/2006/relationships/slideLayout" Target="../slideLayouts/slideLayout270.xml"/><Relationship Id="rId26" Type="http://schemas.openxmlformats.org/officeDocument/2006/relationships/slideLayout" Target="../slideLayouts/slideLayout278.xml"/><Relationship Id="rId39" Type="http://schemas.openxmlformats.org/officeDocument/2006/relationships/slideLayout" Target="../slideLayouts/slideLayout291.xml"/><Relationship Id="rId21" Type="http://schemas.openxmlformats.org/officeDocument/2006/relationships/slideLayout" Target="../slideLayouts/slideLayout273.xml"/><Relationship Id="rId34" Type="http://schemas.openxmlformats.org/officeDocument/2006/relationships/slideLayout" Target="../slideLayouts/slideLayout286.xml"/><Relationship Id="rId42" Type="http://schemas.openxmlformats.org/officeDocument/2006/relationships/slideLayout" Target="../slideLayouts/slideLayout294.xml"/><Relationship Id="rId47" Type="http://schemas.openxmlformats.org/officeDocument/2006/relationships/theme" Target="../theme/theme13.xml"/><Relationship Id="rId7" Type="http://schemas.openxmlformats.org/officeDocument/2006/relationships/slideLayout" Target="../slideLayouts/slideLayout259.xml"/><Relationship Id="rId2" Type="http://schemas.openxmlformats.org/officeDocument/2006/relationships/slideLayout" Target="../slideLayouts/slideLayout254.xml"/><Relationship Id="rId16" Type="http://schemas.openxmlformats.org/officeDocument/2006/relationships/slideLayout" Target="../slideLayouts/slideLayout268.xml"/><Relationship Id="rId29" Type="http://schemas.openxmlformats.org/officeDocument/2006/relationships/slideLayout" Target="../slideLayouts/slideLayout281.xml"/><Relationship Id="rId1" Type="http://schemas.openxmlformats.org/officeDocument/2006/relationships/slideLayout" Target="../slideLayouts/slideLayout253.xml"/><Relationship Id="rId6" Type="http://schemas.openxmlformats.org/officeDocument/2006/relationships/slideLayout" Target="../slideLayouts/slideLayout258.xml"/><Relationship Id="rId11" Type="http://schemas.openxmlformats.org/officeDocument/2006/relationships/slideLayout" Target="../slideLayouts/slideLayout263.xml"/><Relationship Id="rId24" Type="http://schemas.openxmlformats.org/officeDocument/2006/relationships/slideLayout" Target="../slideLayouts/slideLayout276.xml"/><Relationship Id="rId32" Type="http://schemas.openxmlformats.org/officeDocument/2006/relationships/slideLayout" Target="../slideLayouts/slideLayout284.xml"/><Relationship Id="rId37" Type="http://schemas.openxmlformats.org/officeDocument/2006/relationships/slideLayout" Target="../slideLayouts/slideLayout289.xml"/><Relationship Id="rId40" Type="http://schemas.openxmlformats.org/officeDocument/2006/relationships/slideLayout" Target="../slideLayouts/slideLayout292.xml"/><Relationship Id="rId45" Type="http://schemas.openxmlformats.org/officeDocument/2006/relationships/slideLayout" Target="../slideLayouts/slideLayout297.xml"/><Relationship Id="rId5" Type="http://schemas.openxmlformats.org/officeDocument/2006/relationships/slideLayout" Target="../slideLayouts/slideLayout257.xml"/><Relationship Id="rId15" Type="http://schemas.openxmlformats.org/officeDocument/2006/relationships/slideLayout" Target="../slideLayouts/slideLayout267.xml"/><Relationship Id="rId23" Type="http://schemas.openxmlformats.org/officeDocument/2006/relationships/slideLayout" Target="../slideLayouts/slideLayout275.xml"/><Relationship Id="rId28" Type="http://schemas.openxmlformats.org/officeDocument/2006/relationships/slideLayout" Target="../slideLayouts/slideLayout280.xml"/><Relationship Id="rId36" Type="http://schemas.openxmlformats.org/officeDocument/2006/relationships/slideLayout" Target="../slideLayouts/slideLayout288.xml"/><Relationship Id="rId10" Type="http://schemas.openxmlformats.org/officeDocument/2006/relationships/slideLayout" Target="../slideLayouts/slideLayout262.xml"/><Relationship Id="rId19" Type="http://schemas.openxmlformats.org/officeDocument/2006/relationships/slideLayout" Target="../slideLayouts/slideLayout271.xml"/><Relationship Id="rId31" Type="http://schemas.openxmlformats.org/officeDocument/2006/relationships/slideLayout" Target="../slideLayouts/slideLayout283.xml"/><Relationship Id="rId44" Type="http://schemas.openxmlformats.org/officeDocument/2006/relationships/slideLayout" Target="../slideLayouts/slideLayout296.xml"/><Relationship Id="rId4" Type="http://schemas.openxmlformats.org/officeDocument/2006/relationships/slideLayout" Target="../slideLayouts/slideLayout256.xml"/><Relationship Id="rId9" Type="http://schemas.openxmlformats.org/officeDocument/2006/relationships/slideLayout" Target="../slideLayouts/slideLayout261.xml"/><Relationship Id="rId14" Type="http://schemas.openxmlformats.org/officeDocument/2006/relationships/slideLayout" Target="../slideLayouts/slideLayout266.xml"/><Relationship Id="rId22" Type="http://schemas.openxmlformats.org/officeDocument/2006/relationships/slideLayout" Target="../slideLayouts/slideLayout274.xml"/><Relationship Id="rId27" Type="http://schemas.openxmlformats.org/officeDocument/2006/relationships/slideLayout" Target="../slideLayouts/slideLayout279.xml"/><Relationship Id="rId30" Type="http://schemas.openxmlformats.org/officeDocument/2006/relationships/slideLayout" Target="../slideLayouts/slideLayout282.xml"/><Relationship Id="rId35" Type="http://schemas.openxmlformats.org/officeDocument/2006/relationships/slideLayout" Target="../slideLayouts/slideLayout287.xml"/><Relationship Id="rId43" Type="http://schemas.openxmlformats.org/officeDocument/2006/relationships/slideLayout" Target="../slideLayouts/slideLayout295.xml"/><Relationship Id="rId48" Type="http://schemas.openxmlformats.org/officeDocument/2006/relationships/image" Target="../media/image49.emf"/><Relationship Id="rId8" Type="http://schemas.openxmlformats.org/officeDocument/2006/relationships/slideLayout" Target="../slideLayouts/slideLayout260.xml"/><Relationship Id="rId3" Type="http://schemas.openxmlformats.org/officeDocument/2006/relationships/slideLayout" Target="../slideLayouts/slideLayout255.xml"/><Relationship Id="rId12" Type="http://schemas.openxmlformats.org/officeDocument/2006/relationships/slideLayout" Target="../slideLayouts/slideLayout264.xml"/><Relationship Id="rId17" Type="http://schemas.openxmlformats.org/officeDocument/2006/relationships/slideLayout" Target="../slideLayouts/slideLayout269.xml"/><Relationship Id="rId25" Type="http://schemas.openxmlformats.org/officeDocument/2006/relationships/slideLayout" Target="../slideLayouts/slideLayout277.xml"/><Relationship Id="rId33" Type="http://schemas.openxmlformats.org/officeDocument/2006/relationships/slideLayout" Target="../slideLayouts/slideLayout285.xml"/><Relationship Id="rId38" Type="http://schemas.openxmlformats.org/officeDocument/2006/relationships/slideLayout" Target="../slideLayouts/slideLayout290.xml"/><Relationship Id="rId46" Type="http://schemas.openxmlformats.org/officeDocument/2006/relationships/slideLayout" Target="../slideLayouts/slideLayout298.xml"/><Relationship Id="rId20" Type="http://schemas.openxmlformats.org/officeDocument/2006/relationships/slideLayout" Target="../slideLayouts/slideLayout272.xml"/><Relationship Id="rId41" Type="http://schemas.openxmlformats.org/officeDocument/2006/relationships/slideLayout" Target="../slideLayouts/slideLayout29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6.xml"/><Relationship Id="rId13" Type="http://schemas.openxmlformats.org/officeDocument/2006/relationships/slideLayout" Target="../slideLayouts/slideLayout311.xml"/><Relationship Id="rId18" Type="http://schemas.openxmlformats.org/officeDocument/2006/relationships/slideLayout" Target="../slideLayouts/slideLayout316.xml"/><Relationship Id="rId26" Type="http://schemas.openxmlformats.org/officeDocument/2006/relationships/theme" Target="../theme/theme14.xml"/><Relationship Id="rId3" Type="http://schemas.openxmlformats.org/officeDocument/2006/relationships/slideLayout" Target="../slideLayouts/slideLayout301.xml"/><Relationship Id="rId21" Type="http://schemas.openxmlformats.org/officeDocument/2006/relationships/slideLayout" Target="../slideLayouts/slideLayout319.xml"/><Relationship Id="rId7" Type="http://schemas.openxmlformats.org/officeDocument/2006/relationships/slideLayout" Target="../slideLayouts/slideLayout305.xml"/><Relationship Id="rId12" Type="http://schemas.openxmlformats.org/officeDocument/2006/relationships/slideLayout" Target="../slideLayouts/slideLayout310.xml"/><Relationship Id="rId17" Type="http://schemas.openxmlformats.org/officeDocument/2006/relationships/slideLayout" Target="../slideLayouts/slideLayout315.xml"/><Relationship Id="rId25" Type="http://schemas.openxmlformats.org/officeDocument/2006/relationships/slideLayout" Target="../slideLayouts/slideLayout323.xml"/><Relationship Id="rId2" Type="http://schemas.openxmlformats.org/officeDocument/2006/relationships/slideLayout" Target="../slideLayouts/slideLayout300.xml"/><Relationship Id="rId16" Type="http://schemas.openxmlformats.org/officeDocument/2006/relationships/slideLayout" Target="../slideLayouts/slideLayout314.xml"/><Relationship Id="rId20" Type="http://schemas.openxmlformats.org/officeDocument/2006/relationships/slideLayout" Target="../slideLayouts/slideLayout318.xml"/><Relationship Id="rId1" Type="http://schemas.openxmlformats.org/officeDocument/2006/relationships/slideLayout" Target="../slideLayouts/slideLayout299.xml"/><Relationship Id="rId6" Type="http://schemas.openxmlformats.org/officeDocument/2006/relationships/slideLayout" Target="../slideLayouts/slideLayout304.xml"/><Relationship Id="rId11" Type="http://schemas.openxmlformats.org/officeDocument/2006/relationships/slideLayout" Target="../slideLayouts/slideLayout309.xml"/><Relationship Id="rId24" Type="http://schemas.openxmlformats.org/officeDocument/2006/relationships/slideLayout" Target="../slideLayouts/slideLayout322.xml"/><Relationship Id="rId5" Type="http://schemas.openxmlformats.org/officeDocument/2006/relationships/slideLayout" Target="../slideLayouts/slideLayout303.xml"/><Relationship Id="rId15" Type="http://schemas.openxmlformats.org/officeDocument/2006/relationships/slideLayout" Target="../slideLayouts/slideLayout313.xml"/><Relationship Id="rId23" Type="http://schemas.openxmlformats.org/officeDocument/2006/relationships/slideLayout" Target="../slideLayouts/slideLayout321.xml"/><Relationship Id="rId10" Type="http://schemas.openxmlformats.org/officeDocument/2006/relationships/slideLayout" Target="../slideLayouts/slideLayout308.xml"/><Relationship Id="rId19" Type="http://schemas.openxmlformats.org/officeDocument/2006/relationships/slideLayout" Target="../slideLayouts/slideLayout317.xml"/><Relationship Id="rId4" Type="http://schemas.openxmlformats.org/officeDocument/2006/relationships/slideLayout" Target="../slideLayouts/slideLayout302.xml"/><Relationship Id="rId9" Type="http://schemas.openxmlformats.org/officeDocument/2006/relationships/slideLayout" Target="../slideLayouts/slideLayout307.xml"/><Relationship Id="rId14" Type="http://schemas.openxmlformats.org/officeDocument/2006/relationships/slideLayout" Target="../slideLayouts/slideLayout312.xml"/><Relationship Id="rId22" Type="http://schemas.openxmlformats.org/officeDocument/2006/relationships/slideLayout" Target="../slideLayouts/slideLayout320.xml"/><Relationship Id="rId27" Type="http://schemas.openxmlformats.org/officeDocument/2006/relationships/image" Target="../media/image58.png"/></Relationships>
</file>

<file path=ppt/slideMasters/_rels/slideMaster1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6.xml"/><Relationship Id="rId18" Type="http://schemas.openxmlformats.org/officeDocument/2006/relationships/slideLayout" Target="../slideLayouts/slideLayout341.xml"/><Relationship Id="rId26" Type="http://schemas.openxmlformats.org/officeDocument/2006/relationships/slideLayout" Target="../slideLayouts/slideLayout349.xml"/><Relationship Id="rId39" Type="http://schemas.openxmlformats.org/officeDocument/2006/relationships/slideLayout" Target="../slideLayouts/slideLayout362.xml"/><Relationship Id="rId21" Type="http://schemas.openxmlformats.org/officeDocument/2006/relationships/slideLayout" Target="../slideLayouts/slideLayout344.xml"/><Relationship Id="rId34" Type="http://schemas.openxmlformats.org/officeDocument/2006/relationships/slideLayout" Target="../slideLayouts/slideLayout357.xml"/><Relationship Id="rId42" Type="http://schemas.openxmlformats.org/officeDocument/2006/relationships/slideLayout" Target="../slideLayouts/slideLayout365.xml"/><Relationship Id="rId47" Type="http://schemas.openxmlformats.org/officeDocument/2006/relationships/theme" Target="../theme/theme15.xml"/><Relationship Id="rId7" Type="http://schemas.openxmlformats.org/officeDocument/2006/relationships/slideLayout" Target="../slideLayouts/slideLayout330.xml"/><Relationship Id="rId2" Type="http://schemas.openxmlformats.org/officeDocument/2006/relationships/slideLayout" Target="../slideLayouts/slideLayout325.xml"/><Relationship Id="rId16" Type="http://schemas.openxmlformats.org/officeDocument/2006/relationships/slideLayout" Target="../slideLayouts/slideLayout339.xml"/><Relationship Id="rId29" Type="http://schemas.openxmlformats.org/officeDocument/2006/relationships/slideLayout" Target="../slideLayouts/slideLayout352.xml"/><Relationship Id="rId1" Type="http://schemas.openxmlformats.org/officeDocument/2006/relationships/slideLayout" Target="../slideLayouts/slideLayout324.xml"/><Relationship Id="rId6" Type="http://schemas.openxmlformats.org/officeDocument/2006/relationships/slideLayout" Target="../slideLayouts/slideLayout329.xml"/><Relationship Id="rId11" Type="http://schemas.openxmlformats.org/officeDocument/2006/relationships/slideLayout" Target="../slideLayouts/slideLayout334.xml"/><Relationship Id="rId24" Type="http://schemas.openxmlformats.org/officeDocument/2006/relationships/slideLayout" Target="../slideLayouts/slideLayout347.xml"/><Relationship Id="rId32" Type="http://schemas.openxmlformats.org/officeDocument/2006/relationships/slideLayout" Target="../slideLayouts/slideLayout355.xml"/><Relationship Id="rId37" Type="http://schemas.openxmlformats.org/officeDocument/2006/relationships/slideLayout" Target="../slideLayouts/slideLayout360.xml"/><Relationship Id="rId40" Type="http://schemas.openxmlformats.org/officeDocument/2006/relationships/slideLayout" Target="../slideLayouts/slideLayout363.xml"/><Relationship Id="rId45" Type="http://schemas.openxmlformats.org/officeDocument/2006/relationships/slideLayout" Target="../slideLayouts/slideLayout368.xml"/><Relationship Id="rId5" Type="http://schemas.openxmlformats.org/officeDocument/2006/relationships/slideLayout" Target="../slideLayouts/slideLayout328.xml"/><Relationship Id="rId15" Type="http://schemas.openxmlformats.org/officeDocument/2006/relationships/slideLayout" Target="../slideLayouts/slideLayout338.xml"/><Relationship Id="rId23" Type="http://schemas.openxmlformats.org/officeDocument/2006/relationships/slideLayout" Target="../slideLayouts/slideLayout346.xml"/><Relationship Id="rId28" Type="http://schemas.openxmlformats.org/officeDocument/2006/relationships/slideLayout" Target="../slideLayouts/slideLayout351.xml"/><Relationship Id="rId36" Type="http://schemas.openxmlformats.org/officeDocument/2006/relationships/slideLayout" Target="../slideLayouts/slideLayout359.xml"/><Relationship Id="rId10" Type="http://schemas.openxmlformats.org/officeDocument/2006/relationships/slideLayout" Target="../slideLayouts/slideLayout333.xml"/><Relationship Id="rId19" Type="http://schemas.openxmlformats.org/officeDocument/2006/relationships/slideLayout" Target="../slideLayouts/slideLayout342.xml"/><Relationship Id="rId31" Type="http://schemas.openxmlformats.org/officeDocument/2006/relationships/slideLayout" Target="../slideLayouts/slideLayout354.xml"/><Relationship Id="rId44" Type="http://schemas.openxmlformats.org/officeDocument/2006/relationships/slideLayout" Target="../slideLayouts/slideLayout367.xml"/><Relationship Id="rId4" Type="http://schemas.openxmlformats.org/officeDocument/2006/relationships/slideLayout" Target="../slideLayouts/slideLayout327.xml"/><Relationship Id="rId9" Type="http://schemas.openxmlformats.org/officeDocument/2006/relationships/slideLayout" Target="../slideLayouts/slideLayout332.xml"/><Relationship Id="rId14" Type="http://schemas.openxmlformats.org/officeDocument/2006/relationships/slideLayout" Target="../slideLayouts/slideLayout337.xml"/><Relationship Id="rId22" Type="http://schemas.openxmlformats.org/officeDocument/2006/relationships/slideLayout" Target="../slideLayouts/slideLayout345.xml"/><Relationship Id="rId27" Type="http://schemas.openxmlformats.org/officeDocument/2006/relationships/slideLayout" Target="../slideLayouts/slideLayout350.xml"/><Relationship Id="rId30" Type="http://schemas.openxmlformats.org/officeDocument/2006/relationships/slideLayout" Target="../slideLayouts/slideLayout353.xml"/><Relationship Id="rId35" Type="http://schemas.openxmlformats.org/officeDocument/2006/relationships/slideLayout" Target="../slideLayouts/slideLayout358.xml"/><Relationship Id="rId43" Type="http://schemas.openxmlformats.org/officeDocument/2006/relationships/slideLayout" Target="../slideLayouts/slideLayout366.xml"/><Relationship Id="rId8" Type="http://schemas.openxmlformats.org/officeDocument/2006/relationships/slideLayout" Target="../slideLayouts/slideLayout331.xml"/><Relationship Id="rId3" Type="http://schemas.openxmlformats.org/officeDocument/2006/relationships/slideLayout" Target="../slideLayouts/slideLayout326.xml"/><Relationship Id="rId12" Type="http://schemas.openxmlformats.org/officeDocument/2006/relationships/slideLayout" Target="../slideLayouts/slideLayout335.xml"/><Relationship Id="rId17" Type="http://schemas.openxmlformats.org/officeDocument/2006/relationships/slideLayout" Target="../slideLayouts/slideLayout340.xml"/><Relationship Id="rId25" Type="http://schemas.openxmlformats.org/officeDocument/2006/relationships/slideLayout" Target="../slideLayouts/slideLayout348.xml"/><Relationship Id="rId33" Type="http://schemas.openxmlformats.org/officeDocument/2006/relationships/slideLayout" Target="../slideLayouts/slideLayout356.xml"/><Relationship Id="rId38" Type="http://schemas.openxmlformats.org/officeDocument/2006/relationships/slideLayout" Target="../slideLayouts/slideLayout361.xml"/><Relationship Id="rId46" Type="http://schemas.openxmlformats.org/officeDocument/2006/relationships/slideLayout" Target="../slideLayouts/slideLayout369.xml"/><Relationship Id="rId20" Type="http://schemas.openxmlformats.org/officeDocument/2006/relationships/slideLayout" Target="../slideLayouts/slideLayout343.xml"/><Relationship Id="rId41" Type="http://schemas.openxmlformats.org/officeDocument/2006/relationships/slideLayout" Target="../slideLayouts/slideLayout364.xml"/></Relationships>
</file>

<file path=ppt/slideMasters/_rels/slideMaster1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82.xml"/><Relationship Id="rId18" Type="http://schemas.openxmlformats.org/officeDocument/2006/relationships/slideLayout" Target="../slideLayouts/slideLayout387.xml"/><Relationship Id="rId26" Type="http://schemas.openxmlformats.org/officeDocument/2006/relationships/slideLayout" Target="../slideLayouts/slideLayout395.xml"/><Relationship Id="rId3" Type="http://schemas.openxmlformats.org/officeDocument/2006/relationships/slideLayout" Target="../slideLayouts/slideLayout372.xml"/><Relationship Id="rId21" Type="http://schemas.openxmlformats.org/officeDocument/2006/relationships/slideLayout" Target="../slideLayouts/slideLayout390.xml"/><Relationship Id="rId34" Type="http://schemas.openxmlformats.org/officeDocument/2006/relationships/theme" Target="../theme/theme16.xml"/><Relationship Id="rId7" Type="http://schemas.openxmlformats.org/officeDocument/2006/relationships/slideLayout" Target="../slideLayouts/slideLayout376.xml"/><Relationship Id="rId12" Type="http://schemas.openxmlformats.org/officeDocument/2006/relationships/slideLayout" Target="../slideLayouts/slideLayout381.xml"/><Relationship Id="rId17" Type="http://schemas.openxmlformats.org/officeDocument/2006/relationships/slideLayout" Target="../slideLayouts/slideLayout386.xml"/><Relationship Id="rId25" Type="http://schemas.openxmlformats.org/officeDocument/2006/relationships/slideLayout" Target="../slideLayouts/slideLayout394.xml"/><Relationship Id="rId33" Type="http://schemas.openxmlformats.org/officeDocument/2006/relationships/slideLayout" Target="../slideLayouts/slideLayout402.xml"/><Relationship Id="rId2" Type="http://schemas.openxmlformats.org/officeDocument/2006/relationships/slideLayout" Target="../slideLayouts/slideLayout371.xml"/><Relationship Id="rId16" Type="http://schemas.openxmlformats.org/officeDocument/2006/relationships/slideLayout" Target="../slideLayouts/slideLayout385.xml"/><Relationship Id="rId20" Type="http://schemas.openxmlformats.org/officeDocument/2006/relationships/slideLayout" Target="../slideLayouts/slideLayout389.xml"/><Relationship Id="rId29" Type="http://schemas.openxmlformats.org/officeDocument/2006/relationships/slideLayout" Target="../slideLayouts/slideLayout398.xml"/><Relationship Id="rId1" Type="http://schemas.openxmlformats.org/officeDocument/2006/relationships/slideLayout" Target="../slideLayouts/slideLayout370.xml"/><Relationship Id="rId6" Type="http://schemas.openxmlformats.org/officeDocument/2006/relationships/slideLayout" Target="../slideLayouts/slideLayout375.xml"/><Relationship Id="rId11" Type="http://schemas.openxmlformats.org/officeDocument/2006/relationships/slideLayout" Target="../slideLayouts/slideLayout380.xml"/><Relationship Id="rId24" Type="http://schemas.openxmlformats.org/officeDocument/2006/relationships/slideLayout" Target="../slideLayouts/slideLayout393.xml"/><Relationship Id="rId32" Type="http://schemas.openxmlformats.org/officeDocument/2006/relationships/slideLayout" Target="../slideLayouts/slideLayout401.xml"/><Relationship Id="rId5" Type="http://schemas.openxmlformats.org/officeDocument/2006/relationships/slideLayout" Target="../slideLayouts/slideLayout374.xml"/><Relationship Id="rId15" Type="http://schemas.openxmlformats.org/officeDocument/2006/relationships/slideLayout" Target="../slideLayouts/slideLayout384.xml"/><Relationship Id="rId23" Type="http://schemas.openxmlformats.org/officeDocument/2006/relationships/slideLayout" Target="../slideLayouts/slideLayout392.xml"/><Relationship Id="rId28" Type="http://schemas.openxmlformats.org/officeDocument/2006/relationships/slideLayout" Target="../slideLayouts/slideLayout397.xml"/><Relationship Id="rId10" Type="http://schemas.openxmlformats.org/officeDocument/2006/relationships/slideLayout" Target="../slideLayouts/slideLayout379.xml"/><Relationship Id="rId19" Type="http://schemas.openxmlformats.org/officeDocument/2006/relationships/slideLayout" Target="../slideLayouts/slideLayout388.xml"/><Relationship Id="rId31" Type="http://schemas.openxmlformats.org/officeDocument/2006/relationships/slideLayout" Target="../slideLayouts/slideLayout400.xml"/><Relationship Id="rId4" Type="http://schemas.openxmlformats.org/officeDocument/2006/relationships/slideLayout" Target="../slideLayouts/slideLayout373.xml"/><Relationship Id="rId9" Type="http://schemas.openxmlformats.org/officeDocument/2006/relationships/slideLayout" Target="../slideLayouts/slideLayout378.xml"/><Relationship Id="rId14" Type="http://schemas.openxmlformats.org/officeDocument/2006/relationships/slideLayout" Target="../slideLayouts/slideLayout383.xml"/><Relationship Id="rId22" Type="http://schemas.openxmlformats.org/officeDocument/2006/relationships/slideLayout" Target="../slideLayouts/slideLayout391.xml"/><Relationship Id="rId27" Type="http://schemas.openxmlformats.org/officeDocument/2006/relationships/slideLayout" Target="../slideLayouts/slideLayout396.xml"/><Relationship Id="rId30" Type="http://schemas.openxmlformats.org/officeDocument/2006/relationships/slideLayout" Target="../slideLayouts/slideLayout399.xml"/><Relationship Id="rId35" Type="http://schemas.openxmlformats.org/officeDocument/2006/relationships/image" Target="../media/image73.png"/><Relationship Id="rId8" Type="http://schemas.openxmlformats.org/officeDocument/2006/relationships/slideLayout" Target="../slideLayouts/slideLayout37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theme" Target="../theme/theme3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70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0" Type="http://schemas.openxmlformats.org/officeDocument/2006/relationships/slideLayout" Target="../slideLayouts/slideLayout87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23" Type="http://schemas.openxmlformats.org/officeDocument/2006/relationships/image" Target="../media/image19.png"/><Relationship Id="rId10" Type="http://schemas.openxmlformats.org/officeDocument/2006/relationships/slideLayout" Target="../slideLayouts/slideLayout77.xml"/><Relationship Id="rId19" Type="http://schemas.openxmlformats.org/officeDocument/2006/relationships/slideLayout" Target="../slideLayouts/slideLayout86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image" Target="../media/image1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slideLayout" Target="../slideLayouts/slideLayout125.xml"/><Relationship Id="rId18" Type="http://schemas.openxmlformats.org/officeDocument/2006/relationships/slideLayout" Target="../slideLayouts/slideLayout130.xml"/><Relationship Id="rId3" Type="http://schemas.openxmlformats.org/officeDocument/2006/relationships/slideLayout" Target="../slideLayouts/slideLayout115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4.xml"/><Relationship Id="rId17" Type="http://schemas.openxmlformats.org/officeDocument/2006/relationships/slideLayout" Target="../slideLayouts/slideLayout129.xml"/><Relationship Id="rId2" Type="http://schemas.openxmlformats.org/officeDocument/2006/relationships/slideLayout" Target="../slideLayouts/slideLayout114.xml"/><Relationship Id="rId16" Type="http://schemas.openxmlformats.org/officeDocument/2006/relationships/slideLayout" Target="../slideLayouts/slideLayout128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5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22.xml"/><Relationship Id="rId19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slideLayout" Target="../slideLayouts/slideLayout12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10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.xml"/><Relationship Id="rId13" Type="http://schemas.openxmlformats.org/officeDocument/2006/relationships/slideLayout" Target="../slideLayouts/slideLayout160.xml"/><Relationship Id="rId18" Type="http://schemas.openxmlformats.org/officeDocument/2006/relationships/slideLayout" Target="../slideLayouts/slideLayout165.xml"/><Relationship Id="rId3" Type="http://schemas.openxmlformats.org/officeDocument/2006/relationships/slideLayout" Target="../slideLayouts/slideLayout150.xml"/><Relationship Id="rId21" Type="http://schemas.openxmlformats.org/officeDocument/2006/relationships/theme" Target="../theme/theme8.xml"/><Relationship Id="rId7" Type="http://schemas.openxmlformats.org/officeDocument/2006/relationships/slideLayout" Target="../slideLayouts/slideLayout154.xml"/><Relationship Id="rId12" Type="http://schemas.openxmlformats.org/officeDocument/2006/relationships/slideLayout" Target="../slideLayouts/slideLayout159.xml"/><Relationship Id="rId17" Type="http://schemas.openxmlformats.org/officeDocument/2006/relationships/slideLayout" Target="../slideLayouts/slideLayout164.xml"/><Relationship Id="rId2" Type="http://schemas.openxmlformats.org/officeDocument/2006/relationships/slideLayout" Target="../slideLayouts/slideLayout149.xml"/><Relationship Id="rId16" Type="http://schemas.openxmlformats.org/officeDocument/2006/relationships/slideLayout" Target="../slideLayouts/slideLayout163.xml"/><Relationship Id="rId20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5" Type="http://schemas.openxmlformats.org/officeDocument/2006/relationships/slideLayout" Target="../slideLayouts/slideLayout152.xml"/><Relationship Id="rId15" Type="http://schemas.openxmlformats.org/officeDocument/2006/relationships/slideLayout" Target="../slideLayouts/slideLayout162.xml"/><Relationship Id="rId10" Type="http://schemas.openxmlformats.org/officeDocument/2006/relationships/slideLayout" Target="../slideLayouts/slideLayout157.xml"/><Relationship Id="rId19" Type="http://schemas.openxmlformats.org/officeDocument/2006/relationships/slideLayout" Target="../slideLayouts/slideLayout166.xml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Relationship Id="rId14" Type="http://schemas.openxmlformats.org/officeDocument/2006/relationships/slideLayout" Target="../slideLayouts/slideLayout161.xml"/><Relationship Id="rId22" Type="http://schemas.openxmlformats.org/officeDocument/2006/relationships/image" Target="../media/image18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13" Type="http://schemas.openxmlformats.org/officeDocument/2006/relationships/slideLayout" Target="../slideLayouts/slideLayout180.xml"/><Relationship Id="rId18" Type="http://schemas.openxmlformats.org/officeDocument/2006/relationships/slideLayout" Target="../slideLayouts/slideLayout185.xml"/><Relationship Id="rId3" Type="http://schemas.openxmlformats.org/officeDocument/2006/relationships/slideLayout" Target="../slideLayouts/slideLayout170.xml"/><Relationship Id="rId21" Type="http://schemas.openxmlformats.org/officeDocument/2006/relationships/theme" Target="../theme/theme9.xml"/><Relationship Id="rId7" Type="http://schemas.openxmlformats.org/officeDocument/2006/relationships/slideLayout" Target="../slideLayouts/slideLayout174.xml"/><Relationship Id="rId12" Type="http://schemas.openxmlformats.org/officeDocument/2006/relationships/slideLayout" Target="../slideLayouts/slideLayout179.xml"/><Relationship Id="rId17" Type="http://schemas.openxmlformats.org/officeDocument/2006/relationships/slideLayout" Target="../slideLayouts/slideLayout184.xml"/><Relationship Id="rId2" Type="http://schemas.openxmlformats.org/officeDocument/2006/relationships/slideLayout" Target="../slideLayouts/slideLayout169.xml"/><Relationship Id="rId16" Type="http://schemas.openxmlformats.org/officeDocument/2006/relationships/slideLayout" Target="../slideLayouts/slideLayout183.xml"/><Relationship Id="rId20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72.xml"/><Relationship Id="rId15" Type="http://schemas.openxmlformats.org/officeDocument/2006/relationships/slideLayout" Target="../slideLayouts/slideLayout182.xml"/><Relationship Id="rId23" Type="http://schemas.openxmlformats.org/officeDocument/2006/relationships/image" Target="../media/image33.png"/><Relationship Id="rId10" Type="http://schemas.openxmlformats.org/officeDocument/2006/relationships/slideLayout" Target="../slideLayouts/slideLayout177.xml"/><Relationship Id="rId19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slideLayout" Target="../slideLayouts/slideLayout181.xml"/><Relationship Id="rId22" Type="http://schemas.openxmlformats.org/officeDocument/2006/relationships/image" Target="../media/image18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626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5" r:id="rId1"/>
    <p:sldLayoutId id="2147484673" r:id="rId2"/>
    <p:sldLayoutId id="2147484679" r:id="rId3"/>
    <p:sldLayoutId id="2147484680" r:id="rId4"/>
    <p:sldLayoutId id="2147484681" r:id="rId5"/>
    <p:sldLayoutId id="2147484682" r:id="rId6"/>
    <p:sldLayoutId id="2147484683" r:id="rId7"/>
    <p:sldLayoutId id="2147484684" r:id="rId8"/>
    <p:sldLayoutId id="2147484685" r:id="rId9"/>
    <p:sldLayoutId id="2147484717" r:id="rId10"/>
    <p:sldLayoutId id="2147484728" r:id="rId11"/>
    <p:sldLayoutId id="2147484690" r:id="rId12"/>
    <p:sldLayoutId id="2147484692" r:id="rId13"/>
    <p:sldLayoutId id="2147484694" r:id="rId14"/>
    <p:sldLayoutId id="2147484695" r:id="rId15"/>
    <p:sldLayoutId id="2147484697" r:id="rId16"/>
    <p:sldLayoutId id="2147484698" r:id="rId17"/>
    <p:sldLayoutId id="2147484699" r:id="rId18"/>
    <p:sldLayoutId id="2147485178" r:id="rId1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6424" y="435826"/>
            <a:ext cx="11336039" cy="744014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37320" y="1866618"/>
            <a:ext cx="11336039" cy="12764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687021" y="3012080"/>
            <a:ext cx="6858623" cy="833218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B75A86E2-DC9B-4CB0-9A0D-6F18FD22340B}"/>
              </a:ext>
            </a:extLst>
          </p:cNvPr>
          <p:cNvGrpSpPr/>
          <p:nvPr userDrawn="1"/>
        </p:nvGrpSpPr>
        <p:grpSpPr>
          <a:xfrm>
            <a:off x="12245886" y="2"/>
            <a:ext cx="391204" cy="6858001"/>
            <a:chOff x="12930471" y="246575"/>
            <a:chExt cx="384981" cy="6747951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F66C9DB-A981-45BC-B811-A6F95811A81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9941010" y="3620084"/>
              <a:ext cx="6363903" cy="384981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F47187D-ECA7-40DA-AAE3-7CBF2C6E67B2}"/>
                </a:ext>
              </a:extLst>
            </p:cNvPr>
            <p:cNvSpPr/>
            <p:nvPr userDrawn="1"/>
          </p:nvSpPr>
          <p:spPr bwMode="auto">
            <a:xfrm>
              <a:off x="12930471" y="246575"/>
              <a:ext cx="384981" cy="384048"/>
            </a:xfrm>
            <a:prstGeom prst="rect">
              <a:avLst/>
            </a:prstGeom>
            <a:solidFill>
              <a:srgbClr val="F3F3F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27432" tIns="45720" rIns="27432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13927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392" b="1">
                  <a:solidFill>
                    <a:srgbClr val="000000"/>
                  </a:solidFill>
                  <a:ea typeface="Segoe UI" pitchFamily="34" charset="0"/>
                  <a:cs typeface="Segoe UI" pitchFamily="34" charset="0"/>
                </a:rPr>
                <a:t>Light gray</a:t>
              </a:r>
            </a:p>
            <a:p>
              <a:pPr algn="l" defTabSz="913927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94">
                  <a:solidFill>
                    <a:srgbClr val="000000"/>
                  </a:solidFill>
                  <a:ea typeface="Segoe UI" pitchFamily="34" charset="0"/>
                  <a:cs typeface="Segoe UI" pitchFamily="34" charset="0"/>
                </a:rPr>
                <a:t>R243 G243 B24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61604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24" r:id="rId1"/>
    <p:sldLayoutId id="2147484925" r:id="rId2"/>
    <p:sldLayoutId id="2147484926" r:id="rId3"/>
    <p:sldLayoutId id="2147484927" r:id="rId4"/>
    <p:sldLayoutId id="2147484928" r:id="rId5"/>
    <p:sldLayoutId id="2147484929" r:id="rId6"/>
    <p:sldLayoutId id="2147484930" r:id="rId7"/>
    <p:sldLayoutId id="2147484931" r:id="rId8"/>
    <p:sldLayoutId id="2147484932" r:id="rId9"/>
    <p:sldLayoutId id="2147484933" r:id="rId10"/>
    <p:sldLayoutId id="2147484934" r:id="rId11"/>
    <p:sldLayoutId id="2147484935" r:id="rId12"/>
    <p:sldLayoutId id="2147484936" r:id="rId13"/>
    <p:sldLayoutId id="2147484937" r:id="rId14"/>
    <p:sldLayoutId id="2147484938" r:id="rId15"/>
    <p:sldLayoutId id="2147484939" r:id="rId16"/>
    <p:sldLayoutId id="2147484940" r:id="rId17"/>
    <p:sldLayoutId id="2147484941" r:id="rId18"/>
    <p:sldLayoutId id="2147484942" r:id="rId19"/>
    <p:sldLayoutId id="2147484943" r:id="rId20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3136" b="0" kern="1200" cap="none" spc="-147" baseline="0" dirty="0" smtClean="0">
          <a:ln w="3175">
            <a:noFill/>
          </a:ln>
          <a:solidFill>
            <a:srgbClr val="000000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192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549" kern="1200" spc="0" baseline="0">
          <a:solidFill>
            <a:srgbClr val="000000"/>
          </a:solidFill>
          <a:latin typeface="+mn-lt"/>
          <a:ea typeface="+mn-ea"/>
          <a:cs typeface="+mn-cs"/>
        </a:defRPr>
      </a:lvl1pPr>
      <a:lvl2pPr marL="224054" marR="0" indent="0" algn="l" defTabSz="914192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961" kern="1200" spc="0" baseline="0">
          <a:solidFill>
            <a:srgbClr val="000000"/>
          </a:solidFill>
          <a:latin typeface="+mn-lt"/>
          <a:ea typeface="+mn-ea"/>
          <a:cs typeface="+mn-cs"/>
        </a:defRPr>
      </a:lvl2pPr>
      <a:lvl3pPr marL="448107" marR="0" indent="0" algn="l" defTabSz="914192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7" kern="1200" spc="0" baseline="0">
          <a:solidFill>
            <a:srgbClr val="000000"/>
          </a:solidFill>
          <a:latin typeface="+mn-lt"/>
          <a:ea typeface="+mn-ea"/>
          <a:cs typeface="+mn-cs"/>
        </a:defRPr>
      </a:lvl3pPr>
      <a:lvl4pPr marL="672161" marR="0" indent="0" algn="l" defTabSz="914192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7" kern="1200" spc="0" baseline="0">
          <a:solidFill>
            <a:srgbClr val="000000"/>
          </a:solidFill>
          <a:latin typeface="+mn-lt"/>
          <a:ea typeface="+mn-ea"/>
          <a:cs typeface="+mn-cs"/>
        </a:defRPr>
      </a:lvl4pPr>
      <a:lvl5pPr marL="896214" marR="0" indent="0" algn="l" defTabSz="914192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7" kern="1200" spc="0" baseline="0">
          <a:solidFill>
            <a:srgbClr val="000000"/>
          </a:soli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1401">
          <p15:clr>
            <a:srgbClr val="C35EA4"/>
          </p15:clr>
        </p15:guide>
        <p15:guide id="4" pos="1547">
          <p15:clr>
            <a:srgbClr val="C35EA4"/>
          </p15:clr>
        </p15:guide>
        <p15:guide id="5" pos="2660">
          <p15:clr>
            <a:srgbClr val="C35EA4"/>
          </p15:clr>
        </p15:guide>
        <p15:guide id="6" pos="2806">
          <p15:clr>
            <a:srgbClr val="C35EA4"/>
          </p15:clr>
        </p15:guide>
        <p15:guide id="7" pos="3921">
          <p15:clr>
            <a:srgbClr val="C35EA4"/>
          </p15:clr>
        </p15:guide>
        <p15:guide id="8" pos="4069">
          <p15:clr>
            <a:srgbClr val="C35EA4"/>
          </p15:clr>
        </p15:guide>
        <p15:guide id="9" pos="5181">
          <p15:clr>
            <a:srgbClr val="C35EA4"/>
          </p15:clr>
        </p15:guide>
        <p15:guide id="10" pos="5327">
          <p15:clr>
            <a:srgbClr val="C35EA4"/>
          </p15:clr>
        </p15:guide>
        <p15:guide id="11" pos="6444">
          <p15:clr>
            <a:srgbClr val="C35EA4"/>
          </p15:clr>
        </p15:guide>
        <p15:guide id="12" pos="6590">
          <p15:clr>
            <a:srgbClr val="C35EA4"/>
          </p15:clr>
        </p15:guide>
        <p15:guide id="16" pos="279">
          <p15:clr>
            <a:srgbClr val="F26B43"/>
          </p15:clr>
        </p15:guide>
        <p15:guide id="17" pos="7565">
          <p15:clr>
            <a:srgbClr val="F26B43"/>
          </p15:clr>
        </p15:guide>
        <p15:guide id="18" orient="horz" pos="773">
          <p15:clr>
            <a:srgbClr val="5ACBF0"/>
          </p15:clr>
        </p15:guide>
        <p15:guide id="19" orient="horz" pos="1399">
          <p15:clr>
            <a:srgbClr val="5ACBF0"/>
          </p15:clr>
        </p15:guide>
        <p15:guide id="20" orient="horz" pos="624">
          <p15:clr>
            <a:srgbClr val="5ACBF0"/>
          </p15:clr>
        </p15:guide>
        <p15:guide id="21" orient="horz" pos="1545">
          <p15:clr>
            <a:srgbClr val="5ACBF0"/>
          </p15:clr>
        </p15:guide>
        <p15:guide id="22" orient="horz" pos="2169">
          <p15:clr>
            <a:srgbClr val="5ACBF0"/>
          </p15:clr>
        </p15:guide>
        <p15:guide id="23" orient="horz" pos="2320">
          <p15:clr>
            <a:srgbClr val="5ACBF0"/>
          </p15:clr>
        </p15:guide>
        <p15:guide id="25" orient="horz" pos="286">
          <p15:clr>
            <a:srgbClr val="F26B43"/>
          </p15:clr>
        </p15:guide>
        <p15:guide id="26" orient="horz" pos="4123">
          <p15:clr>
            <a:srgbClr val="F26B43"/>
          </p15:clr>
        </p15:guide>
        <p15:guide id="27" orient="horz" pos="2947">
          <p15:clr>
            <a:srgbClr val="5ACBF0"/>
          </p15:clr>
        </p15:guide>
        <p15:guide id="28" orient="horz" pos="3092">
          <p15:clr>
            <a:srgbClr val="5ACBF0"/>
          </p15:clr>
        </p15:guide>
        <p15:guide id="29" orient="horz" pos="3721">
          <p15:clr>
            <a:srgbClr val="5ACBF0"/>
          </p15:clr>
        </p15:guide>
        <p15:guide id="30" orient="horz" pos="3867">
          <p15:clr>
            <a:srgbClr val="5ACBF0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0597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6" r:id="rId1"/>
    <p:sldLayoutId id="2147484947" r:id="rId2"/>
    <p:sldLayoutId id="2147484948" r:id="rId3"/>
    <p:sldLayoutId id="2147484949" r:id="rId4"/>
    <p:sldLayoutId id="2147484950" r:id="rId5"/>
    <p:sldLayoutId id="2147484951" r:id="rId6"/>
    <p:sldLayoutId id="2147484952" r:id="rId7"/>
    <p:sldLayoutId id="2147484953" r:id="rId8"/>
    <p:sldLayoutId id="2147484954" r:id="rId9"/>
    <p:sldLayoutId id="2147484955" r:id="rId10"/>
    <p:sldLayoutId id="2147484956" r:id="rId11"/>
    <p:sldLayoutId id="2147484957" r:id="rId12"/>
    <p:sldLayoutId id="2147484958" r:id="rId13"/>
    <p:sldLayoutId id="2147484959" r:id="rId14"/>
    <p:sldLayoutId id="2147484960" r:id="rId15"/>
    <p:sldLayoutId id="2147484961" r:id="rId16"/>
    <p:sldLayoutId id="2147484962" r:id="rId17"/>
    <p:sldLayoutId id="2147484963" r:id="rId18"/>
    <p:sldLayoutId id="2147484964" r:id="rId19"/>
    <p:sldLayoutId id="2147484965" r:id="rId20"/>
    <p:sldLayoutId id="2147484966" r:id="rId21"/>
    <p:sldLayoutId id="2147484967" r:id="rId22"/>
    <p:sldLayoutId id="2147484968" r:id="rId23"/>
    <p:sldLayoutId id="2147484969" r:id="rId24"/>
    <p:sldLayoutId id="2147484970" r:id="rId25"/>
    <p:sldLayoutId id="2147484975" r:id="rId26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181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84" r:id="rId1"/>
    <p:sldLayoutId id="2147484985" r:id="rId2"/>
    <p:sldLayoutId id="2147484986" r:id="rId3"/>
    <p:sldLayoutId id="2147484987" r:id="rId4"/>
    <p:sldLayoutId id="2147484988" r:id="rId5"/>
    <p:sldLayoutId id="2147484989" r:id="rId6"/>
    <p:sldLayoutId id="2147484990" r:id="rId7"/>
    <p:sldLayoutId id="2147484991" r:id="rId8"/>
    <p:sldLayoutId id="2147484992" r:id="rId9"/>
    <p:sldLayoutId id="2147484993" r:id="rId10"/>
    <p:sldLayoutId id="2147484994" r:id="rId11"/>
    <p:sldLayoutId id="2147484995" r:id="rId12"/>
    <p:sldLayoutId id="2147484996" r:id="rId13"/>
    <p:sldLayoutId id="2147484997" r:id="rId14"/>
    <p:sldLayoutId id="2147484998" r:id="rId15"/>
    <p:sldLayoutId id="2147484999" r:id="rId16"/>
    <p:sldLayoutId id="2147485000" r:id="rId17"/>
    <p:sldLayoutId id="2147485005" r:id="rId18"/>
    <p:sldLayoutId id="2147485006" r:id="rId19"/>
  </p:sldLayoutIdLst>
  <p:transition>
    <p:fade/>
  </p:transition>
  <p:hf sldNum="0"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751182" y="1670556"/>
            <a:ext cx="4527899" cy="1138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731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22" r:id="rId1"/>
    <p:sldLayoutId id="2147485023" r:id="rId2"/>
    <p:sldLayoutId id="2147485024" r:id="rId3"/>
    <p:sldLayoutId id="2147485025" r:id="rId4"/>
    <p:sldLayoutId id="2147485026" r:id="rId5"/>
    <p:sldLayoutId id="2147485027" r:id="rId6"/>
    <p:sldLayoutId id="2147485028" r:id="rId7"/>
    <p:sldLayoutId id="2147485029" r:id="rId8"/>
    <p:sldLayoutId id="2147485030" r:id="rId9"/>
    <p:sldLayoutId id="2147485031" r:id="rId10"/>
    <p:sldLayoutId id="2147485032" r:id="rId11"/>
    <p:sldLayoutId id="2147485033" r:id="rId12"/>
    <p:sldLayoutId id="2147485034" r:id="rId13"/>
    <p:sldLayoutId id="2147485035" r:id="rId14"/>
    <p:sldLayoutId id="2147485036" r:id="rId15"/>
    <p:sldLayoutId id="2147485037" r:id="rId16"/>
    <p:sldLayoutId id="2147485038" r:id="rId17"/>
    <p:sldLayoutId id="2147485039" r:id="rId18"/>
    <p:sldLayoutId id="2147485040" r:id="rId19"/>
    <p:sldLayoutId id="2147485041" r:id="rId20"/>
    <p:sldLayoutId id="2147485042" r:id="rId21"/>
    <p:sldLayoutId id="2147485043" r:id="rId22"/>
    <p:sldLayoutId id="2147485044" r:id="rId23"/>
    <p:sldLayoutId id="2147485045" r:id="rId24"/>
    <p:sldLayoutId id="2147485046" r:id="rId25"/>
    <p:sldLayoutId id="2147485047" r:id="rId26"/>
    <p:sldLayoutId id="2147485048" r:id="rId27"/>
    <p:sldLayoutId id="2147485049" r:id="rId28"/>
    <p:sldLayoutId id="2147485050" r:id="rId29"/>
    <p:sldLayoutId id="2147485051" r:id="rId30"/>
    <p:sldLayoutId id="2147485052" r:id="rId31"/>
    <p:sldLayoutId id="2147485053" r:id="rId32"/>
    <p:sldLayoutId id="2147485054" r:id="rId33"/>
    <p:sldLayoutId id="2147485055" r:id="rId34"/>
    <p:sldLayoutId id="2147485056" r:id="rId35"/>
    <p:sldLayoutId id="2147485057" r:id="rId36"/>
    <p:sldLayoutId id="2147485058" r:id="rId37"/>
    <p:sldLayoutId id="2147485059" r:id="rId38"/>
    <p:sldLayoutId id="2147485060" r:id="rId39"/>
    <p:sldLayoutId id="2147485061" r:id="rId40"/>
    <p:sldLayoutId id="2147485062" r:id="rId41"/>
    <p:sldLayoutId id="2147485063" r:id="rId42"/>
    <p:sldLayoutId id="2147485064" r:id="rId43"/>
    <p:sldLayoutId id="2147485065" r:id="rId44"/>
    <p:sldLayoutId id="2147485066" r:id="rId45"/>
    <p:sldLayoutId id="2147485067" r:id="rId46"/>
  </p:sldLayoutIdLst>
  <p:transition advClick="0"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529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8">
          <p15:clr>
            <a:srgbClr val="C35EA4"/>
          </p15:clr>
        </p15:guide>
        <p15:guide id="24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302127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92451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069" r:id="rId1"/>
    <p:sldLayoutId id="2147485070" r:id="rId2"/>
    <p:sldLayoutId id="2147485071" r:id="rId3"/>
    <p:sldLayoutId id="2147485072" r:id="rId4"/>
    <p:sldLayoutId id="2147485073" r:id="rId5"/>
    <p:sldLayoutId id="2147485074" r:id="rId6"/>
    <p:sldLayoutId id="2147485075" r:id="rId7"/>
    <p:sldLayoutId id="2147485076" r:id="rId8"/>
    <p:sldLayoutId id="2147485077" r:id="rId9"/>
    <p:sldLayoutId id="2147485078" r:id="rId10"/>
    <p:sldLayoutId id="2147485079" r:id="rId11"/>
    <p:sldLayoutId id="2147485080" r:id="rId12"/>
    <p:sldLayoutId id="2147485081" r:id="rId13"/>
    <p:sldLayoutId id="2147485082" r:id="rId14"/>
    <p:sldLayoutId id="2147485083" r:id="rId15"/>
    <p:sldLayoutId id="2147485084" r:id="rId16"/>
    <p:sldLayoutId id="2147485085" r:id="rId17"/>
    <p:sldLayoutId id="2147485086" r:id="rId18"/>
    <p:sldLayoutId id="2147485087" r:id="rId19"/>
    <p:sldLayoutId id="2147485088" r:id="rId20"/>
    <p:sldLayoutId id="2147485089" r:id="rId21"/>
    <p:sldLayoutId id="2147485090" r:id="rId22"/>
    <p:sldLayoutId id="2147485091" r:id="rId23"/>
    <p:sldLayoutId id="2147485092" r:id="rId24"/>
    <p:sldLayoutId id="2147485093" r:id="rId25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529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6">
          <p15:clr>
            <a:srgbClr val="C35EA4"/>
          </p15:clr>
        </p15:guide>
        <p15:guide id="24" pos="7547">
          <p15:clr>
            <a:srgbClr val="C35EA4"/>
          </p15:clr>
        </p15:guide>
        <p15:guide id="25" orient="horz" pos="305">
          <p15:clr>
            <a:srgbClr val="C35EA4"/>
          </p15:clr>
        </p15:guide>
        <p15:guide id="26" orient="horz" pos="4106">
          <p15:clr>
            <a:srgbClr val="C35EA4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370910" y="-8231"/>
            <a:ext cx="936898" cy="5662632"/>
            <a:chOff x="12618967" y="-8395"/>
            <a:chExt cx="955684" cy="5775360"/>
          </a:xfrm>
        </p:grpSpPr>
        <p:grpSp>
          <p:nvGrpSpPr>
            <p:cNvPr id="18" name="Group 17"/>
            <p:cNvGrpSpPr/>
            <p:nvPr userDrawn="1"/>
          </p:nvGrpSpPr>
          <p:grpSpPr>
            <a:xfrm>
              <a:off x="12618967" y="-8395"/>
              <a:ext cx="955684" cy="5724185"/>
              <a:chOff x="12618967" y="-8395"/>
              <a:chExt cx="955684" cy="5724185"/>
            </a:xfrm>
          </p:grpSpPr>
          <p:grpSp>
            <p:nvGrpSpPr>
              <p:cNvPr id="26" name="Group 25"/>
              <p:cNvGrpSpPr/>
              <p:nvPr userDrawn="1"/>
            </p:nvGrpSpPr>
            <p:grpSpPr>
              <a:xfrm rot="5400000">
                <a:off x="11580864" y="1044098"/>
                <a:ext cx="2705442" cy="629236"/>
                <a:chOff x="1584344" y="4543426"/>
                <a:chExt cx="2705442" cy="629236"/>
              </a:xfrm>
            </p:grpSpPr>
            <p:sp>
              <p:nvSpPr>
                <p:cNvPr id="37" name="Rectangle 36"/>
                <p:cNvSpPr/>
                <p:nvPr userDrawn="1"/>
              </p:nvSpPr>
              <p:spPr bwMode="auto">
                <a:xfrm>
                  <a:off x="1586734" y="4543428"/>
                  <a:ext cx="869930" cy="28976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13741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Orange</a:t>
                  </a:r>
                </a:p>
                <a:p>
                  <a:pPr algn="l" defTabSz="913741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490" baseline="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216 G:59 B:1</a:t>
                  </a:r>
                  <a:endPara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1" name="Rectangle 40"/>
                <p:cNvSpPr/>
                <p:nvPr userDrawn="1"/>
              </p:nvSpPr>
              <p:spPr bwMode="auto">
                <a:xfrm>
                  <a:off x="2505456" y="4543427"/>
                  <a:ext cx="869930" cy="289766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13741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Blue</a:t>
                  </a:r>
                </a:p>
                <a:p>
                  <a:pPr algn="l" defTabSz="913741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490" baseline="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0 G:120 B:215</a:t>
                  </a:r>
                  <a:endPara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2" name="Rectangle 41"/>
                <p:cNvSpPr/>
                <p:nvPr userDrawn="1"/>
              </p:nvSpPr>
              <p:spPr bwMode="auto">
                <a:xfrm>
                  <a:off x="3419856" y="4543426"/>
                  <a:ext cx="869930" cy="289766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13741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 dirty="0">
                      <a:gradFill>
                        <a:gsLst>
                          <a:gs pos="14644">
                            <a:schemeClr val="tx1"/>
                          </a:gs>
                          <a:gs pos="42000">
                            <a:schemeClr val="tx1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Light Green</a:t>
                  </a:r>
                </a:p>
                <a:p>
                  <a:pPr algn="l" defTabSz="913741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dirty="0">
                      <a:gradFill>
                        <a:gsLst>
                          <a:gs pos="10042">
                            <a:schemeClr val="tx1"/>
                          </a:gs>
                          <a:gs pos="39000">
                            <a:schemeClr val="tx1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490" baseline="0" dirty="0">
                      <a:gradFill>
                        <a:gsLst>
                          <a:gs pos="10042">
                            <a:schemeClr val="tx1"/>
                          </a:gs>
                          <a:gs pos="39000">
                            <a:schemeClr val="tx1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186 G:216 B:10</a:t>
                  </a:r>
                  <a:endParaRPr lang="en-US" sz="490" dirty="0">
                    <a:gradFill>
                      <a:gsLst>
                        <a:gs pos="10042">
                          <a:schemeClr val="tx1"/>
                        </a:gs>
                        <a:gs pos="39000">
                          <a:schemeClr val="tx1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3" name="Rectangle 42"/>
                <p:cNvSpPr/>
                <p:nvPr userDrawn="1"/>
              </p:nvSpPr>
              <p:spPr bwMode="auto">
                <a:xfrm>
                  <a:off x="2498744" y="4882896"/>
                  <a:ext cx="869930" cy="289766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13741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Purple</a:t>
                  </a:r>
                </a:p>
                <a:p>
                  <a:pPr algn="l" defTabSz="913741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dirty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490" baseline="0" dirty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92 G:45 B:145</a:t>
                  </a:r>
                  <a:endPara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4" name="Rectangle 43"/>
                <p:cNvSpPr/>
                <p:nvPr userDrawn="1"/>
              </p:nvSpPr>
              <p:spPr bwMode="auto">
                <a:xfrm>
                  <a:off x="3413144" y="4882895"/>
                  <a:ext cx="869930" cy="289766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13741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Dark Blue</a:t>
                  </a:r>
                </a:p>
                <a:p>
                  <a:pPr algn="l" defTabSz="913741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dirty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490" baseline="0" dirty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0 G:32 B:80</a:t>
                  </a:r>
                  <a:endPara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5" name="Rectangle 44"/>
                <p:cNvSpPr/>
                <p:nvPr userDrawn="1"/>
              </p:nvSpPr>
              <p:spPr bwMode="auto">
                <a:xfrm>
                  <a:off x="1584344" y="4882896"/>
                  <a:ext cx="869930" cy="289766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13741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 dirty="0">
                      <a:gradFill>
                        <a:gsLst>
                          <a:gs pos="14644">
                            <a:schemeClr val="tx1"/>
                          </a:gs>
                          <a:gs pos="42000">
                            <a:schemeClr val="tx1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Yellow</a:t>
                  </a:r>
                </a:p>
                <a:p>
                  <a:pPr marL="0" algn="l" defTabSz="913741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kern="1200" dirty="0">
                      <a:gradFill>
                        <a:gsLst>
                          <a:gs pos="10042">
                            <a:schemeClr val="tx1"/>
                          </a:gs>
                          <a:gs pos="39000">
                            <a:schemeClr val="tx1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R:255 G:185 B:0</a:t>
                  </a:r>
                </a:p>
              </p:txBody>
            </p:sp>
          </p:grpSp>
          <p:grpSp>
            <p:nvGrpSpPr>
              <p:cNvPr id="27" name="Group 26"/>
              <p:cNvGrpSpPr/>
              <p:nvPr userDrawn="1"/>
            </p:nvGrpSpPr>
            <p:grpSpPr>
              <a:xfrm rot="5400000">
                <a:off x="11870606" y="3812276"/>
                <a:ext cx="1786491" cy="289766"/>
                <a:chOff x="4476564" y="4543426"/>
                <a:chExt cx="1786491" cy="289766"/>
              </a:xfrm>
            </p:grpSpPr>
            <p:sp>
              <p:nvSpPr>
                <p:cNvPr id="33" name="Rectangle 32"/>
                <p:cNvSpPr/>
                <p:nvPr userDrawn="1"/>
              </p:nvSpPr>
              <p:spPr bwMode="auto">
                <a:xfrm>
                  <a:off x="4476564" y="4543426"/>
                  <a:ext cx="869930" cy="289766"/>
                </a:xfrm>
                <a:prstGeom prst="rect">
                  <a:avLst/>
                </a:prstGeom>
                <a:solidFill>
                  <a:srgbClr val="00188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13741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Mid-Blue</a:t>
                  </a:r>
                </a:p>
                <a:p>
                  <a:pPr marL="0" algn="l" defTabSz="913741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kern="1200" dirty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R:0 G:24 B:143</a:t>
                  </a:r>
                </a:p>
              </p:txBody>
            </p:sp>
            <p:sp>
              <p:nvSpPr>
                <p:cNvPr id="19" name="Rectangle 18"/>
                <p:cNvSpPr/>
                <p:nvPr userDrawn="1"/>
              </p:nvSpPr>
              <p:spPr bwMode="auto">
                <a:xfrm>
                  <a:off x="5393125" y="4543426"/>
                  <a:ext cx="869930" cy="289766"/>
                </a:xfrm>
                <a:prstGeom prst="rect">
                  <a:avLst/>
                </a:prstGeom>
                <a:solidFill>
                  <a:srgbClr val="00BCF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13741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 kern="1200" baseline="0" dirty="0">
                      <a:gradFill>
                        <a:gsLst>
                          <a:gs pos="14644">
                            <a:schemeClr val="tx1"/>
                          </a:gs>
                          <a:gs pos="42000">
                            <a:schemeClr val="tx1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Light Blue</a:t>
                  </a:r>
                </a:p>
                <a:p>
                  <a:pPr marL="0" algn="l" defTabSz="913741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kern="1200" dirty="0">
                      <a:gradFill>
                        <a:gsLst>
                          <a:gs pos="10042">
                            <a:schemeClr val="tx1"/>
                          </a:gs>
                          <a:gs pos="39000">
                            <a:schemeClr val="tx1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R:0 G:188 B:242</a:t>
                  </a:r>
                </a:p>
              </p:txBody>
            </p:sp>
          </p:grpSp>
          <p:sp>
            <p:nvSpPr>
              <p:cNvPr id="28" name="TextBox 27"/>
              <p:cNvSpPr txBox="1"/>
              <p:nvPr userDrawn="1"/>
            </p:nvSpPr>
            <p:spPr>
              <a:xfrm rot="5400000">
                <a:off x="12979639" y="256886"/>
                <a:ext cx="860293" cy="329731"/>
              </a:xfrm>
              <a:prstGeom prst="rect">
                <a:avLst/>
              </a:prstGeom>
              <a:noFill/>
            </p:spPr>
            <p:txBody>
              <a:bodyPr wrap="none" lIns="0" tIns="91440" rIns="182880" bIns="91440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98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Main colors</a:t>
                </a:r>
              </a:p>
            </p:txBody>
          </p:sp>
          <p:sp>
            <p:nvSpPr>
              <p:cNvPr id="32" name="TextBox 31"/>
              <p:cNvSpPr txBox="1"/>
              <p:nvPr userDrawn="1"/>
            </p:nvSpPr>
            <p:spPr>
              <a:xfrm rot="5400000">
                <a:off x="11746692" y="4228747"/>
                <a:ext cx="2647253" cy="326834"/>
              </a:xfrm>
              <a:prstGeom prst="rect">
                <a:avLst/>
              </a:prstGeom>
              <a:noFill/>
            </p:spPr>
            <p:txBody>
              <a:bodyPr wrap="none" lIns="0" tIns="91440" rIns="182880" bIns="91440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98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Secondary colors (use only when</a:t>
                </a:r>
                <a:r>
                  <a:rPr lang="en-US" sz="980" baseline="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necessary)</a:t>
                </a:r>
                <a:endParaRPr lang="en-US" sz="98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p:grpSp>
        <p:sp>
          <p:nvSpPr>
            <p:cNvPr id="20" name="Rectangle 19"/>
            <p:cNvSpPr/>
            <p:nvPr userDrawn="1"/>
          </p:nvSpPr>
          <p:spPr bwMode="auto">
            <a:xfrm rot="5400000">
              <a:off x="12328886" y="5187117"/>
              <a:ext cx="869930" cy="289766"/>
            </a:xfrm>
            <a:prstGeom prst="rect">
              <a:avLst/>
            </a:prstGeom>
            <a:solidFill>
              <a:srgbClr val="505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1374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kern="1200" baseline="0" dirty="0">
                  <a:gradFill>
                    <a:gsLst>
                      <a:gs pos="12389">
                        <a:srgbClr val="FFFFFF"/>
                      </a:gs>
                      <a:gs pos="46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Gray</a:t>
              </a:r>
            </a:p>
            <a:p>
              <a:pPr marL="0" algn="l" defTabSz="91374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kern="1200" dirty="0">
                  <a:gradFill>
                    <a:gsLst>
                      <a:gs pos="12389">
                        <a:srgbClr val="FFFFFF"/>
                      </a:gs>
                      <a:gs pos="46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R:80 G:80 B: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85574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6" r:id="rId1"/>
    <p:sldLayoutId id="2147485097" r:id="rId2"/>
    <p:sldLayoutId id="2147485098" r:id="rId3"/>
    <p:sldLayoutId id="2147485099" r:id="rId4"/>
    <p:sldLayoutId id="2147485100" r:id="rId5"/>
    <p:sldLayoutId id="2147485101" r:id="rId6"/>
    <p:sldLayoutId id="2147485102" r:id="rId7"/>
    <p:sldLayoutId id="2147485103" r:id="rId8"/>
    <p:sldLayoutId id="2147485104" r:id="rId9"/>
    <p:sldLayoutId id="2147485105" r:id="rId10"/>
    <p:sldLayoutId id="2147485106" r:id="rId11"/>
    <p:sldLayoutId id="2147485107" r:id="rId12"/>
    <p:sldLayoutId id="2147485108" r:id="rId13"/>
    <p:sldLayoutId id="2147485109" r:id="rId14"/>
    <p:sldLayoutId id="2147485110" r:id="rId15"/>
    <p:sldLayoutId id="2147485111" r:id="rId16"/>
    <p:sldLayoutId id="2147485112" r:id="rId17"/>
    <p:sldLayoutId id="2147485113" r:id="rId18"/>
    <p:sldLayoutId id="2147485114" r:id="rId19"/>
    <p:sldLayoutId id="2147485115" r:id="rId20"/>
    <p:sldLayoutId id="2147485116" r:id="rId21"/>
    <p:sldLayoutId id="2147485117" r:id="rId22"/>
    <p:sldLayoutId id="2147485118" r:id="rId23"/>
    <p:sldLayoutId id="2147485119" r:id="rId24"/>
    <p:sldLayoutId id="2147485120" r:id="rId25"/>
    <p:sldLayoutId id="2147485121" r:id="rId26"/>
    <p:sldLayoutId id="2147485122" r:id="rId27"/>
    <p:sldLayoutId id="2147485123" r:id="rId28"/>
    <p:sldLayoutId id="2147485124" r:id="rId29"/>
    <p:sldLayoutId id="2147485125" r:id="rId30"/>
    <p:sldLayoutId id="2147485126" r:id="rId31"/>
    <p:sldLayoutId id="2147485127" r:id="rId32"/>
    <p:sldLayoutId id="2147485128" r:id="rId33"/>
    <p:sldLayoutId id="2147485129" r:id="rId34"/>
    <p:sldLayoutId id="2147485130" r:id="rId35"/>
    <p:sldLayoutId id="2147485131" r:id="rId36"/>
    <p:sldLayoutId id="2147485132" r:id="rId37"/>
    <p:sldLayoutId id="2147485133" r:id="rId38"/>
    <p:sldLayoutId id="2147485134" r:id="rId39"/>
    <p:sldLayoutId id="2147485135" r:id="rId40"/>
    <p:sldLayoutId id="2147485136" r:id="rId41"/>
    <p:sldLayoutId id="2147485137" r:id="rId42"/>
    <p:sldLayoutId id="2147485138" r:id="rId43"/>
    <p:sldLayoutId id="2147485139" r:id="rId44"/>
    <p:sldLayoutId id="2147485140" r:id="rId45"/>
    <p:sldLayoutId id="2147485141" r:id="rId46"/>
  </p:sldLayoutIdLst>
  <p:transition>
    <p:fade/>
  </p:transition>
  <p:txStyles>
    <p:titleStyle>
      <a:lvl1pPr algn="l" defTabSz="914004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12" marR="0" indent="-336012" algn="l" defTabSz="91400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391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464" marR="0" indent="-236452" algn="l" defTabSz="91400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027" marR="0" indent="-224008" algn="l" defTabSz="91400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96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036" marR="0" indent="-224008" algn="l" defTabSz="91400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043" marR="0" indent="-224008" algn="l" defTabSz="91400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514" indent="-228502" algn="l" defTabSz="914004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17" indent="-228502" algn="l" defTabSz="914004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519" indent="-228502" algn="l" defTabSz="914004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522" indent="-228502" algn="l" defTabSz="914004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04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002" algn="l" defTabSz="914004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004" algn="l" defTabSz="914004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007" algn="l" defTabSz="914004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010" algn="l" defTabSz="914004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013" algn="l" defTabSz="914004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015" algn="l" defTabSz="914004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9018" algn="l" defTabSz="914004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6021" algn="l" defTabSz="914004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AEA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5994" y="556381"/>
            <a:ext cx="11303917" cy="813819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/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55994" y="1817560"/>
            <a:ext cx="11231768" cy="2021853"/>
          </a:xfrm>
          <a:prstGeom prst="rect">
            <a:avLst/>
          </a:prstGeom>
        </p:spPr>
        <p:txBody>
          <a:bodyPr vert="horz" wrap="square" lIns="0" tIns="91440" rIns="146304" bIns="91440" rtlCol="0">
            <a:spAutoFit/>
          </a:bodyPr>
          <a:lstStyle/>
          <a:p>
            <a:pPr lvl="1"/>
            <a:r>
              <a:rPr lang="en-US"/>
              <a:t>Large: subhead Segoe UI Regular 20/24</a:t>
            </a:r>
          </a:p>
          <a:p>
            <a:pPr lvl="1"/>
            <a:endParaRPr lang="en-US"/>
          </a:p>
          <a:p>
            <a:pPr lvl="2"/>
            <a:r>
              <a:rPr lang="en-US"/>
              <a:t>Medium: paragraph heading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  <a:p>
            <a:pPr lvl="3"/>
            <a:r>
              <a:rPr lang="en-US"/>
              <a:t>Medium: paragraph body copy Segoe UI Regular 14/18</a:t>
            </a:r>
          </a:p>
          <a:p>
            <a:pPr lvl="3"/>
            <a:endParaRPr lang="en-US"/>
          </a:p>
          <a:p>
            <a:pPr lvl="4"/>
            <a:r>
              <a:rPr lang="en-US"/>
              <a:t>Small: caption heading Segoe UI Bold 10/12</a:t>
            </a:r>
          </a:p>
          <a:p>
            <a:pPr lvl="6"/>
            <a:r>
              <a:rPr lang="en-US"/>
              <a:t>Small: caption body copy Segoe UI Regular 10/12</a:t>
            </a:r>
          </a:p>
          <a:p>
            <a:pPr lvl="6"/>
            <a:endParaRPr lang="en-US"/>
          </a:p>
          <a:p>
            <a:pPr lvl="6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432277" y="2842059"/>
            <a:ext cx="6843271" cy="116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140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45" r:id="rId1"/>
    <p:sldLayoutId id="2147485146" r:id="rId2"/>
    <p:sldLayoutId id="2147485147" r:id="rId3"/>
    <p:sldLayoutId id="2147485148" r:id="rId4"/>
    <p:sldLayoutId id="2147485149" r:id="rId5"/>
    <p:sldLayoutId id="2147485150" r:id="rId6"/>
    <p:sldLayoutId id="2147485151" r:id="rId7"/>
    <p:sldLayoutId id="2147485152" r:id="rId8"/>
    <p:sldLayoutId id="2147485153" r:id="rId9"/>
    <p:sldLayoutId id="2147485154" r:id="rId10"/>
    <p:sldLayoutId id="2147485155" r:id="rId11"/>
    <p:sldLayoutId id="2147485156" r:id="rId12"/>
    <p:sldLayoutId id="2147485157" r:id="rId13"/>
    <p:sldLayoutId id="2147485158" r:id="rId14"/>
    <p:sldLayoutId id="2147485159" r:id="rId15"/>
    <p:sldLayoutId id="2147485160" r:id="rId16"/>
    <p:sldLayoutId id="2147485161" r:id="rId17"/>
    <p:sldLayoutId id="2147485162" r:id="rId18"/>
    <p:sldLayoutId id="2147485163" r:id="rId19"/>
    <p:sldLayoutId id="2147485164" r:id="rId20"/>
    <p:sldLayoutId id="2147485165" r:id="rId21"/>
    <p:sldLayoutId id="2147485166" r:id="rId22"/>
    <p:sldLayoutId id="2147485167" r:id="rId23"/>
    <p:sldLayoutId id="2147485168" r:id="rId24"/>
    <p:sldLayoutId id="2147485169" r:id="rId25"/>
    <p:sldLayoutId id="2147485170" r:id="rId26"/>
    <p:sldLayoutId id="2147485171" r:id="rId27"/>
    <p:sldLayoutId id="2147485172" r:id="rId28"/>
    <p:sldLayoutId id="2147485173" r:id="rId29"/>
    <p:sldLayoutId id="2147485174" r:id="rId30"/>
    <p:sldLayoutId id="2147485175" r:id="rId31"/>
    <p:sldLayoutId id="2147485176" r:id="rId32"/>
    <p:sldLayoutId id="2147485177" r:id="rId33"/>
  </p:sldLayoutIdLst>
  <p:transition>
    <p:fade/>
  </p:transition>
  <p:hf hd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2745" b="0" kern="1200" cap="none" spc="-49" baseline="0" dirty="0" smtClean="0">
          <a:ln w="3175">
            <a:noFill/>
          </a:ln>
          <a:solidFill>
            <a:srgbClr val="000000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353" kern="1200" spc="-49" baseline="0">
          <a:solidFill>
            <a:srgbClr val="000000"/>
          </a:solidFill>
          <a:latin typeface="+mj-lt"/>
          <a:ea typeface="+mn-ea"/>
          <a:cs typeface="+mn-cs"/>
        </a:defRPr>
      </a:lvl1pPr>
      <a:lvl2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Tx/>
        <a:buNone/>
        <a:tabLst/>
        <a:defRPr sz="1961" kern="1200" spc="0" baseline="0">
          <a:solidFill>
            <a:srgbClr val="000000"/>
          </a:solidFill>
          <a:latin typeface="+mn-lt"/>
          <a:ea typeface="+mn-ea"/>
          <a:cs typeface="+mn-cs"/>
        </a:defRPr>
      </a:lvl2pPr>
      <a:lvl3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chemeClr val="tx2"/>
          </a:solidFill>
          <a:latin typeface="+mj-lt"/>
          <a:ea typeface="+mn-ea"/>
          <a:cs typeface="+mn-cs"/>
        </a:defRPr>
      </a:lvl3pPr>
      <a:lvl4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4pPr>
      <a:lvl5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980" b="1" kern="1200" spc="0" baseline="0">
          <a:solidFill>
            <a:srgbClr val="000000"/>
          </a:solidFill>
          <a:latin typeface="+mn-lt"/>
          <a:ea typeface="+mn-ea"/>
          <a:cs typeface="+mn-cs"/>
        </a:defRPr>
      </a:lvl5pPr>
      <a:lvl6pPr marL="2285916" indent="0" algn="l" defTabSz="914367" rtl="0" eaLnBrk="1" latinLnBrk="0" hangingPunct="1">
        <a:spcBef>
          <a:spcPct val="20000"/>
        </a:spcBef>
        <a:buFont typeface="Arial" pitchFamily="34" charset="0"/>
        <a:buNone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6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itchFamily="34" charset="0"/>
        <a:buNone/>
        <a:defRPr sz="980" kern="1200">
          <a:solidFill>
            <a:srgbClr val="000000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1" pos="1349">
          <p15:clr>
            <a:srgbClr val="C35EA4"/>
          </p15:clr>
        </p15:guide>
        <p15:guide id="32" pos="1528">
          <p15:clr>
            <a:srgbClr val="C35EA4"/>
          </p15:clr>
        </p15:guide>
        <p15:guide id="33" pos="2621">
          <p15:clr>
            <a:srgbClr val="C35EA4"/>
          </p15:clr>
        </p15:guide>
        <p15:guide id="34" pos="2765">
          <p15:clr>
            <a:srgbClr val="C35EA4"/>
          </p15:clr>
        </p15:guide>
        <p15:guide id="35" pos="3854">
          <p15:clr>
            <a:srgbClr val="C35EA4"/>
          </p15:clr>
        </p15:guide>
        <p15:guide id="36" pos="4003">
          <p15:clr>
            <a:srgbClr val="C35EA4"/>
          </p15:clr>
        </p15:guide>
        <p15:guide id="37" pos="5083">
          <p15:clr>
            <a:srgbClr val="C35EA4"/>
          </p15:clr>
        </p15:guide>
        <p15:guide id="38" pos="5230">
          <p15:clr>
            <a:srgbClr val="C35EA4"/>
          </p15:clr>
        </p15:guide>
        <p15:guide id="39" pos="6323">
          <p15:clr>
            <a:srgbClr val="C35EA4"/>
          </p15:clr>
        </p15:guide>
        <p15:guide id="40" pos="6469">
          <p15:clr>
            <a:srgbClr val="C35EA4"/>
          </p15:clr>
        </p15:guide>
        <p15:guide id="41" pos="269">
          <p15:clr>
            <a:srgbClr val="F26B43"/>
          </p15:clr>
        </p15:guide>
        <p15:guide id="42" pos="7565">
          <p15:clr>
            <a:srgbClr val="F26B43"/>
          </p15:clr>
        </p15:guide>
        <p15:guide id="43" orient="horz" pos="751">
          <p15:clr>
            <a:srgbClr val="5ACBF0"/>
          </p15:clr>
        </p15:guide>
        <p15:guide id="44" orient="horz" pos="1387">
          <p15:clr>
            <a:srgbClr val="5ACBF0"/>
          </p15:clr>
        </p15:guide>
        <p15:guide id="45" orient="horz" pos="605">
          <p15:clr>
            <a:srgbClr val="5ACBF0"/>
          </p15:clr>
        </p15:guide>
        <p15:guide id="46" orient="horz" pos="1514">
          <p15:clr>
            <a:srgbClr val="5ACBF0"/>
          </p15:clr>
        </p15:guide>
        <p15:guide id="47" orient="horz" pos="2130">
          <p15:clr>
            <a:srgbClr val="5ACBF0"/>
          </p15:clr>
        </p15:guide>
        <p15:guide id="48" orient="horz" pos="2299">
          <p15:clr>
            <a:srgbClr val="5ACBF0"/>
          </p15:clr>
        </p15:guide>
        <p15:guide id="49" orient="horz" pos="283">
          <p15:clr>
            <a:srgbClr val="F26B43"/>
          </p15:clr>
        </p15:guide>
        <p15:guide id="50" orient="horz" pos="4123">
          <p15:clr>
            <a:srgbClr val="F26B43"/>
          </p15:clr>
        </p15:guide>
        <p15:guide id="51" orient="horz" pos="2891">
          <p15:clr>
            <a:srgbClr val="5ACBF0"/>
          </p15:clr>
        </p15:guide>
        <p15:guide id="52" orient="horz" pos="3019">
          <p15:clr>
            <a:srgbClr val="5ACBF0"/>
          </p15:clr>
        </p15:guide>
        <p15:guide id="53" orient="horz" pos="3643">
          <p15:clr>
            <a:srgbClr val="5ACBF0"/>
          </p15:clr>
        </p15:guide>
        <p15:guide id="54" orient="horz" pos="3763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575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2" r:id="rId1"/>
    <p:sldLayoutId id="2147484733" r:id="rId2"/>
    <p:sldLayoutId id="2147484734" r:id="rId3"/>
    <p:sldLayoutId id="2147484735" r:id="rId4"/>
    <p:sldLayoutId id="2147484736" r:id="rId5"/>
    <p:sldLayoutId id="2147484737" r:id="rId6"/>
    <p:sldLayoutId id="2147484738" r:id="rId7"/>
    <p:sldLayoutId id="2147484739" r:id="rId8"/>
    <p:sldLayoutId id="2147484740" r:id="rId9"/>
    <p:sldLayoutId id="2147484741" r:id="rId10"/>
    <p:sldLayoutId id="2147484742" r:id="rId11"/>
    <p:sldLayoutId id="2147484743" r:id="rId12"/>
    <p:sldLayoutId id="2147484744" r:id="rId13"/>
    <p:sldLayoutId id="2147484745" r:id="rId14"/>
    <p:sldLayoutId id="2147484746" r:id="rId15"/>
    <p:sldLayoutId id="2147484747" r:id="rId16"/>
    <p:sldLayoutId id="2147484748" r:id="rId17"/>
    <p:sldLayoutId id="2147484749" r:id="rId18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4604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4" r:id="rId1"/>
    <p:sldLayoutId id="2147484755" r:id="rId2"/>
    <p:sldLayoutId id="2147484756" r:id="rId3"/>
    <p:sldLayoutId id="2147484757" r:id="rId4"/>
    <p:sldLayoutId id="2147484758" r:id="rId5"/>
    <p:sldLayoutId id="2147484759" r:id="rId6"/>
    <p:sldLayoutId id="2147484760" r:id="rId7"/>
    <p:sldLayoutId id="2147484761" r:id="rId8"/>
    <p:sldLayoutId id="2147484762" r:id="rId9"/>
    <p:sldLayoutId id="2147484763" r:id="rId10"/>
    <p:sldLayoutId id="2147484764" r:id="rId11"/>
    <p:sldLayoutId id="2147484765" r:id="rId12"/>
    <p:sldLayoutId id="2147484766" r:id="rId13"/>
    <p:sldLayoutId id="2147484767" r:id="rId14"/>
    <p:sldLayoutId id="2147484768" r:id="rId15"/>
    <p:sldLayoutId id="2147484769" r:id="rId16"/>
    <p:sldLayoutId id="2147484770" r:id="rId17"/>
    <p:sldLayoutId id="2147484771" r:id="rId18"/>
    <p:sldLayoutId id="2147484772" r:id="rId19"/>
    <p:sldLayoutId id="2147484773" r:id="rId20"/>
    <p:sldLayoutId id="2147484774" r:id="rId21"/>
    <p:sldLayoutId id="2147484775" r:id="rId22"/>
    <p:sldLayoutId id="2147484776" r:id="rId23"/>
    <p:sldLayoutId id="2147484777" r:id="rId24"/>
    <p:sldLayoutId id="2147484778" r:id="rId25"/>
    <p:sldLayoutId id="2147484779" r:id="rId26"/>
    <p:sldLayoutId id="2147484780" r:id="rId27"/>
    <p:sldLayoutId id="2147484781" r:id="rId28"/>
    <p:sldLayoutId id="2147484782" r:id="rId29"/>
    <p:sldLayoutId id="2147484783" r:id="rId30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6424" y="435826"/>
            <a:ext cx="11336039" cy="744014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37319" y="1866617"/>
            <a:ext cx="11336039" cy="12764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687020" y="3012080"/>
            <a:ext cx="6858623" cy="833218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B75A86E2-DC9B-4CB0-9A0D-6F18FD22340B}"/>
              </a:ext>
            </a:extLst>
          </p:cNvPr>
          <p:cNvGrpSpPr/>
          <p:nvPr userDrawn="1"/>
        </p:nvGrpSpPr>
        <p:grpSpPr>
          <a:xfrm>
            <a:off x="12245886" y="1"/>
            <a:ext cx="391204" cy="6858001"/>
            <a:chOff x="12930471" y="246575"/>
            <a:chExt cx="384981" cy="6747951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F66C9DB-A981-45BC-B811-A6F95811A81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9941010" y="3620084"/>
              <a:ext cx="6363903" cy="384981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F47187D-ECA7-40DA-AAE3-7CBF2C6E67B2}"/>
                </a:ext>
              </a:extLst>
            </p:cNvPr>
            <p:cNvSpPr/>
            <p:nvPr userDrawn="1"/>
          </p:nvSpPr>
          <p:spPr bwMode="auto">
            <a:xfrm>
              <a:off x="12930471" y="246575"/>
              <a:ext cx="384981" cy="384048"/>
            </a:xfrm>
            <a:prstGeom prst="rect">
              <a:avLst/>
            </a:prstGeom>
            <a:solidFill>
              <a:srgbClr val="F3F3F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27432" tIns="45720" rIns="27432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1410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392" b="1">
                  <a:solidFill>
                    <a:srgbClr val="000000"/>
                  </a:solidFill>
                  <a:ea typeface="Segoe UI" pitchFamily="34" charset="0"/>
                  <a:cs typeface="Segoe UI" pitchFamily="34" charset="0"/>
                </a:rPr>
                <a:t>Light gray</a:t>
              </a:r>
            </a:p>
            <a:p>
              <a:pPr algn="l" defTabSz="91410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94">
                  <a:solidFill>
                    <a:srgbClr val="000000"/>
                  </a:solidFill>
                  <a:ea typeface="Segoe UI" pitchFamily="34" charset="0"/>
                  <a:cs typeface="Segoe UI" pitchFamily="34" charset="0"/>
                </a:rPr>
                <a:t>R243 G243 B24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57286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6" r:id="rId1"/>
    <p:sldLayoutId id="2147484787" r:id="rId2"/>
    <p:sldLayoutId id="2147484788" r:id="rId3"/>
    <p:sldLayoutId id="2147484789" r:id="rId4"/>
    <p:sldLayoutId id="2147484790" r:id="rId5"/>
    <p:sldLayoutId id="2147484791" r:id="rId6"/>
    <p:sldLayoutId id="2147484792" r:id="rId7"/>
    <p:sldLayoutId id="2147484793" r:id="rId8"/>
    <p:sldLayoutId id="2147484794" r:id="rId9"/>
    <p:sldLayoutId id="2147484795" r:id="rId10"/>
    <p:sldLayoutId id="2147484796" r:id="rId11"/>
    <p:sldLayoutId id="2147484797" r:id="rId12"/>
    <p:sldLayoutId id="2147484798" r:id="rId13"/>
    <p:sldLayoutId id="2147484799" r:id="rId14"/>
    <p:sldLayoutId id="2147484800" r:id="rId15"/>
    <p:sldLayoutId id="2147484801" r:id="rId16"/>
    <p:sldLayoutId id="2147484802" r:id="rId17"/>
    <p:sldLayoutId id="2147484803" r:id="rId18"/>
    <p:sldLayoutId id="2147484804" r:id="rId19"/>
    <p:sldLayoutId id="2147484871" r:id="rId20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137" b="0" kern="1200" cap="none" spc="-147" baseline="0" dirty="0" smtClean="0">
          <a:ln w="3175">
            <a:noFill/>
          </a:ln>
          <a:solidFill>
            <a:srgbClr val="000000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549" kern="1200" spc="0" baseline="0">
          <a:solidFill>
            <a:srgbClr val="000000"/>
          </a:solidFill>
          <a:latin typeface="+mn-lt"/>
          <a:ea typeface="+mn-ea"/>
          <a:cs typeface="+mn-cs"/>
        </a:defRPr>
      </a:lvl1pPr>
      <a:lvl2pPr marL="224097" marR="0" indent="0" algn="l" defTabSz="914367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961" kern="1200" spc="0" baseline="0">
          <a:solidFill>
            <a:srgbClr val="000000"/>
          </a:solidFill>
          <a:latin typeface="+mn-lt"/>
          <a:ea typeface="+mn-ea"/>
          <a:cs typeface="+mn-cs"/>
        </a:defRPr>
      </a:lvl2pPr>
      <a:lvl3pPr marL="448193" marR="0" indent="0" algn="l" defTabSz="914367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kern="1200" spc="0" baseline="0">
          <a:solidFill>
            <a:srgbClr val="000000"/>
          </a:solidFill>
          <a:latin typeface="+mn-lt"/>
          <a:ea typeface="+mn-ea"/>
          <a:cs typeface="+mn-cs"/>
        </a:defRPr>
      </a:lvl3pPr>
      <a:lvl4pPr marL="672290" marR="0" indent="0" algn="l" defTabSz="914367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kern="1200" spc="0" baseline="0">
          <a:solidFill>
            <a:srgbClr val="000000"/>
          </a:solidFill>
          <a:latin typeface="+mn-lt"/>
          <a:ea typeface="+mn-ea"/>
          <a:cs typeface="+mn-cs"/>
        </a:defRPr>
      </a:lvl4pPr>
      <a:lvl5pPr marL="896386" marR="0" indent="0" algn="l" defTabSz="914367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kern="1200" spc="0" baseline="0">
          <a:solidFill>
            <a:srgbClr val="000000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1373">
          <p15:clr>
            <a:srgbClr val="C35EA4"/>
          </p15:clr>
        </p15:guide>
        <p15:guide id="4" pos="1517">
          <p15:clr>
            <a:srgbClr val="C35EA4"/>
          </p15:clr>
        </p15:guide>
        <p15:guide id="5" pos="2608">
          <p15:clr>
            <a:srgbClr val="C35EA4"/>
          </p15:clr>
        </p15:guide>
        <p15:guide id="6" pos="2751">
          <p15:clr>
            <a:srgbClr val="C35EA4"/>
          </p15:clr>
        </p15:guide>
        <p15:guide id="7" pos="3844">
          <p15:clr>
            <a:srgbClr val="C35EA4"/>
          </p15:clr>
        </p15:guide>
        <p15:guide id="8" pos="3989">
          <p15:clr>
            <a:srgbClr val="C35EA4"/>
          </p15:clr>
        </p15:guide>
        <p15:guide id="9" pos="5079">
          <p15:clr>
            <a:srgbClr val="C35EA4"/>
          </p15:clr>
        </p15:guide>
        <p15:guide id="10" pos="5222">
          <p15:clr>
            <a:srgbClr val="C35EA4"/>
          </p15:clr>
        </p15:guide>
        <p15:guide id="11" pos="6317">
          <p15:clr>
            <a:srgbClr val="C35EA4"/>
          </p15:clr>
        </p15:guide>
        <p15:guide id="12" pos="6460">
          <p15:clr>
            <a:srgbClr val="C35EA4"/>
          </p15:clr>
        </p15:guide>
        <p15:guide id="16" pos="274">
          <p15:clr>
            <a:srgbClr val="F26B43"/>
          </p15:clr>
        </p15:guide>
        <p15:guide id="17" pos="7558">
          <p15:clr>
            <a:srgbClr val="F26B43"/>
          </p15:clr>
        </p15:guide>
        <p15:guide id="18" orient="horz" pos="758">
          <p15:clr>
            <a:srgbClr val="5ACBF0"/>
          </p15:clr>
        </p15:guide>
        <p15:guide id="19" orient="horz" pos="1372">
          <p15:clr>
            <a:srgbClr val="5ACBF0"/>
          </p15:clr>
        </p15:guide>
        <p15:guide id="20" orient="horz" pos="612">
          <p15:clr>
            <a:srgbClr val="5ACBF0"/>
          </p15:clr>
        </p15:guide>
        <p15:guide id="21" orient="horz" pos="1515">
          <p15:clr>
            <a:srgbClr val="5ACBF0"/>
          </p15:clr>
        </p15:guide>
        <p15:guide id="22" orient="horz" pos="2127">
          <p15:clr>
            <a:srgbClr val="5ACBF0"/>
          </p15:clr>
        </p15:guide>
        <p15:guide id="23" orient="horz" pos="2275">
          <p15:clr>
            <a:srgbClr val="5ACBF0"/>
          </p15:clr>
        </p15:guide>
        <p15:guide id="25" orient="horz" pos="280">
          <p15:clr>
            <a:srgbClr val="F26B43"/>
          </p15:clr>
        </p15:guide>
        <p15:guide id="26" orient="horz" pos="4127">
          <p15:clr>
            <a:srgbClr val="F26B43"/>
          </p15:clr>
        </p15:guide>
        <p15:guide id="27" orient="horz" pos="2889">
          <p15:clr>
            <a:srgbClr val="5ACBF0"/>
          </p15:clr>
        </p15:guide>
        <p15:guide id="28" orient="horz" pos="3032">
          <p15:clr>
            <a:srgbClr val="5ACBF0"/>
          </p15:clr>
        </p15:guide>
        <p15:guide id="29" orient="horz" pos="3648">
          <p15:clr>
            <a:srgbClr val="5ACBF0"/>
          </p15:clr>
        </p15:guide>
        <p15:guide id="30" orient="horz" pos="3792">
          <p15:clr>
            <a:srgbClr val="5ACBF0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5446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6" r:id="rId1"/>
    <p:sldLayoutId id="2147484807" r:id="rId2"/>
    <p:sldLayoutId id="2147484808" r:id="rId3"/>
    <p:sldLayoutId id="2147484809" r:id="rId4"/>
    <p:sldLayoutId id="2147484810" r:id="rId5"/>
    <p:sldLayoutId id="2147484811" r:id="rId6"/>
    <p:sldLayoutId id="2147484812" r:id="rId7"/>
    <p:sldLayoutId id="2147484813" r:id="rId8"/>
    <p:sldLayoutId id="2147484814" r:id="rId9"/>
    <p:sldLayoutId id="2147484815" r:id="rId10"/>
    <p:sldLayoutId id="2147484816" r:id="rId11"/>
    <p:sldLayoutId id="2147484817" r:id="rId12"/>
    <p:sldLayoutId id="2147484818" r:id="rId13"/>
    <p:sldLayoutId id="2147484819" r:id="rId14"/>
    <p:sldLayoutId id="2147484820" r:id="rId15"/>
    <p:sldLayoutId id="2147484821" r:id="rId16"/>
    <p:sldLayoutId id="2147484822" r:id="rId17"/>
    <p:sldLayoutId id="2147484823" r:id="rId18"/>
    <p:sldLayoutId id="2147484824" r:id="rId19"/>
    <p:sldLayoutId id="2147484825" r:id="rId20"/>
    <p:sldLayoutId id="2147484826" r:id="rId21"/>
    <p:sldLayoutId id="2147484827" r:id="rId22"/>
    <p:sldLayoutId id="2147484828" r:id="rId23"/>
    <p:sldLayoutId id="2147484829" r:id="rId24"/>
    <p:sldLayoutId id="2147484830" r:id="rId25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0760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4" r:id="rId1"/>
    <p:sldLayoutId id="2147484835" r:id="rId2"/>
    <p:sldLayoutId id="2147484836" r:id="rId3"/>
    <p:sldLayoutId id="2147484837" r:id="rId4"/>
    <p:sldLayoutId id="2147484838" r:id="rId5"/>
    <p:sldLayoutId id="2147484839" r:id="rId6"/>
    <p:sldLayoutId id="2147484840" r:id="rId7"/>
    <p:sldLayoutId id="2147484841" r:id="rId8"/>
    <p:sldLayoutId id="2147484842" r:id="rId9"/>
    <p:sldLayoutId id="2147484843" r:id="rId10"/>
    <p:sldLayoutId id="2147484844" r:id="rId11"/>
    <p:sldLayoutId id="2147484845" r:id="rId12"/>
    <p:sldLayoutId id="2147484846" r:id="rId13"/>
    <p:sldLayoutId id="2147484847" r:id="rId14"/>
    <p:sldLayoutId id="2147484848" r:id="rId15"/>
    <p:sldLayoutId id="2147484849" r:id="rId16"/>
    <p:sldLayoutId id="2147484850" r:id="rId17"/>
    <p:sldLayoutId id="2147484851" r:id="rId18"/>
    <p:sldLayoutId id="2147484852" r:id="rId1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654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55" r:id="rId1"/>
    <p:sldLayoutId id="2147484856" r:id="rId2"/>
    <p:sldLayoutId id="2147484857" r:id="rId3"/>
    <p:sldLayoutId id="2147484858" r:id="rId4"/>
    <p:sldLayoutId id="2147484859" r:id="rId5"/>
    <p:sldLayoutId id="2147484860" r:id="rId6"/>
    <p:sldLayoutId id="2147484861" r:id="rId7"/>
    <p:sldLayoutId id="2147484862" r:id="rId8"/>
    <p:sldLayoutId id="2147484863" r:id="rId9"/>
    <p:sldLayoutId id="2147484864" r:id="rId10"/>
    <p:sldLayoutId id="2147484865" r:id="rId11"/>
    <p:sldLayoutId id="2147484866" r:id="rId12"/>
    <p:sldLayoutId id="2147484867" r:id="rId13"/>
    <p:sldLayoutId id="2147484868" r:id="rId14"/>
    <p:sldLayoutId id="2147484869" r:id="rId15"/>
    <p:sldLayoutId id="2147484870" r:id="rId16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068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79" r:id="rId1"/>
    <p:sldLayoutId id="2147484880" r:id="rId2"/>
    <p:sldLayoutId id="2147484881" r:id="rId3"/>
    <p:sldLayoutId id="2147484882" r:id="rId4"/>
    <p:sldLayoutId id="2147484883" r:id="rId5"/>
    <p:sldLayoutId id="2147484884" r:id="rId6"/>
    <p:sldLayoutId id="2147484885" r:id="rId7"/>
    <p:sldLayoutId id="2147484886" r:id="rId8"/>
    <p:sldLayoutId id="2147484887" r:id="rId9"/>
    <p:sldLayoutId id="2147484888" r:id="rId10"/>
    <p:sldLayoutId id="2147484889" r:id="rId11"/>
    <p:sldLayoutId id="2147484890" r:id="rId12"/>
    <p:sldLayoutId id="2147484891" r:id="rId13"/>
    <p:sldLayoutId id="2147484892" r:id="rId14"/>
    <p:sldLayoutId id="2147484893" r:id="rId15"/>
    <p:sldLayoutId id="2147484894" r:id="rId16"/>
    <p:sldLayoutId id="2147484895" r:id="rId17"/>
    <p:sldLayoutId id="2147484896" r:id="rId18"/>
    <p:sldLayoutId id="2147484897" r:id="rId19"/>
    <p:sldLayoutId id="2147484898" r:id="rId20"/>
  </p:sldLayoutIdLst>
  <p:transition>
    <p:fade/>
  </p:transition>
  <p:hf sldNum="0"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31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6424" y="435824"/>
            <a:ext cx="11336039" cy="744014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37319" y="1866615"/>
            <a:ext cx="11336039" cy="12764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688817" y="3012080"/>
            <a:ext cx="6858623" cy="83321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F66C9DB-A981-45BC-B811-A6F95811A81C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039878" y="3221594"/>
            <a:ext cx="6858000" cy="414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048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0" r:id="rId1"/>
    <p:sldLayoutId id="2147484901" r:id="rId2"/>
    <p:sldLayoutId id="2147484902" r:id="rId3"/>
    <p:sldLayoutId id="2147484903" r:id="rId4"/>
    <p:sldLayoutId id="2147484904" r:id="rId5"/>
    <p:sldLayoutId id="2147484905" r:id="rId6"/>
    <p:sldLayoutId id="2147484906" r:id="rId7"/>
    <p:sldLayoutId id="2147484907" r:id="rId8"/>
    <p:sldLayoutId id="2147484908" r:id="rId9"/>
    <p:sldLayoutId id="2147484909" r:id="rId10"/>
    <p:sldLayoutId id="2147484910" r:id="rId11"/>
    <p:sldLayoutId id="2147484911" r:id="rId12"/>
    <p:sldLayoutId id="2147484912" r:id="rId13"/>
    <p:sldLayoutId id="2147484913" r:id="rId14"/>
    <p:sldLayoutId id="2147484914" r:id="rId15"/>
    <p:sldLayoutId id="2147484915" r:id="rId16"/>
    <p:sldLayoutId id="2147484916" r:id="rId17"/>
    <p:sldLayoutId id="2147484917" r:id="rId18"/>
    <p:sldLayoutId id="2147484918" r:id="rId19"/>
    <p:sldLayoutId id="2147484919" r:id="rId20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137" b="0" kern="1200" cap="none" spc="-147" baseline="0" dirty="0" smtClean="0">
          <a:ln w="3175">
            <a:noFill/>
          </a:ln>
          <a:solidFill>
            <a:srgbClr val="000000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549" kern="1200" spc="0" baseline="0">
          <a:solidFill>
            <a:srgbClr val="000000"/>
          </a:solidFill>
          <a:latin typeface="+mn-lt"/>
          <a:ea typeface="+mn-ea"/>
          <a:cs typeface="+mn-cs"/>
        </a:defRPr>
      </a:lvl1pPr>
      <a:lvl2pPr marL="224097" marR="0" indent="0" algn="l" defTabSz="914367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961" kern="1200" spc="0" baseline="0">
          <a:solidFill>
            <a:srgbClr val="000000"/>
          </a:solidFill>
          <a:latin typeface="+mn-lt"/>
          <a:ea typeface="+mn-ea"/>
          <a:cs typeface="+mn-cs"/>
        </a:defRPr>
      </a:lvl2pPr>
      <a:lvl3pPr marL="448193" marR="0" indent="0" algn="l" defTabSz="914367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kern="1200" spc="0" baseline="0">
          <a:solidFill>
            <a:srgbClr val="000000"/>
          </a:solidFill>
          <a:latin typeface="+mn-lt"/>
          <a:ea typeface="+mn-ea"/>
          <a:cs typeface="+mn-cs"/>
        </a:defRPr>
      </a:lvl3pPr>
      <a:lvl4pPr marL="672290" marR="0" indent="0" algn="l" defTabSz="914367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kern="1200" spc="0" baseline="0">
          <a:solidFill>
            <a:srgbClr val="000000"/>
          </a:solidFill>
          <a:latin typeface="+mn-lt"/>
          <a:ea typeface="+mn-ea"/>
          <a:cs typeface="+mn-cs"/>
        </a:defRPr>
      </a:lvl4pPr>
      <a:lvl5pPr marL="896386" marR="0" indent="0" algn="l" defTabSz="914367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kern="1200" spc="0" baseline="0">
          <a:solidFill>
            <a:srgbClr val="000000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1373">
          <p15:clr>
            <a:srgbClr val="C35EA4"/>
          </p15:clr>
        </p15:guide>
        <p15:guide id="4" pos="1517">
          <p15:clr>
            <a:srgbClr val="C35EA4"/>
          </p15:clr>
        </p15:guide>
        <p15:guide id="5" pos="2608">
          <p15:clr>
            <a:srgbClr val="C35EA4"/>
          </p15:clr>
        </p15:guide>
        <p15:guide id="6" pos="2751">
          <p15:clr>
            <a:srgbClr val="C35EA4"/>
          </p15:clr>
        </p15:guide>
        <p15:guide id="7" pos="3844">
          <p15:clr>
            <a:srgbClr val="C35EA4"/>
          </p15:clr>
        </p15:guide>
        <p15:guide id="8" pos="3989">
          <p15:clr>
            <a:srgbClr val="C35EA4"/>
          </p15:clr>
        </p15:guide>
        <p15:guide id="9" pos="5079">
          <p15:clr>
            <a:srgbClr val="C35EA4"/>
          </p15:clr>
        </p15:guide>
        <p15:guide id="10" pos="5222">
          <p15:clr>
            <a:srgbClr val="C35EA4"/>
          </p15:clr>
        </p15:guide>
        <p15:guide id="11" pos="6317">
          <p15:clr>
            <a:srgbClr val="C35EA4"/>
          </p15:clr>
        </p15:guide>
        <p15:guide id="12" pos="6460">
          <p15:clr>
            <a:srgbClr val="C35EA4"/>
          </p15:clr>
        </p15:guide>
        <p15:guide id="16" pos="274">
          <p15:clr>
            <a:srgbClr val="F26B43"/>
          </p15:clr>
        </p15:guide>
        <p15:guide id="17" pos="7558">
          <p15:clr>
            <a:srgbClr val="F26B43"/>
          </p15:clr>
        </p15:guide>
        <p15:guide id="18" orient="horz" pos="758">
          <p15:clr>
            <a:srgbClr val="5ACBF0"/>
          </p15:clr>
        </p15:guide>
        <p15:guide id="19" orient="horz" pos="1372">
          <p15:clr>
            <a:srgbClr val="5ACBF0"/>
          </p15:clr>
        </p15:guide>
        <p15:guide id="20" orient="horz" pos="612">
          <p15:clr>
            <a:srgbClr val="5ACBF0"/>
          </p15:clr>
        </p15:guide>
        <p15:guide id="21" orient="horz" pos="1515">
          <p15:clr>
            <a:srgbClr val="5ACBF0"/>
          </p15:clr>
        </p15:guide>
        <p15:guide id="22" orient="horz" pos="2127">
          <p15:clr>
            <a:srgbClr val="5ACBF0"/>
          </p15:clr>
        </p15:guide>
        <p15:guide id="23" orient="horz" pos="2275">
          <p15:clr>
            <a:srgbClr val="5ACBF0"/>
          </p15:clr>
        </p15:guide>
        <p15:guide id="25" orient="horz" pos="280">
          <p15:clr>
            <a:srgbClr val="F26B43"/>
          </p15:clr>
        </p15:guide>
        <p15:guide id="26" orient="horz" pos="4127">
          <p15:clr>
            <a:srgbClr val="F26B43"/>
          </p15:clr>
        </p15:guide>
        <p15:guide id="27" orient="horz" pos="2889">
          <p15:clr>
            <a:srgbClr val="5ACBF0"/>
          </p15:clr>
        </p15:guide>
        <p15:guide id="28" orient="horz" pos="3032">
          <p15:clr>
            <a:srgbClr val="5ACBF0"/>
          </p15:clr>
        </p15:guide>
        <p15:guide id="29" orient="horz" pos="3648">
          <p15:clr>
            <a:srgbClr val="5ACBF0"/>
          </p15:clr>
        </p15:guide>
        <p15:guide id="30" orient="horz" pos="3792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://loganalytics.sepago.com/" TargetMode="Externa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svg"/><Relationship Id="rId3" Type="http://schemas.openxmlformats.org/officeDocument/2006/relationships/image" Target="../media/image110.png"/><Relationship Id="rId7" Type="http://schemas.openxmlformats.org/officeDocument/2006/relationships/image" Target="../media/image114.png"/><Relationship Id="rId12" Type="http://schemas.openxmlformats.org/officeDocument/2006/relationships/image" Target="../media/image119.sv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3.svg"/><Relationship Id="rId11" Type="http://schemas.openxmlformats.org/officeDocument/2006/relationships/image" Target="../media/image118.png"/><Relationship Id="rId5" Type="http://schemas.openxmlformats.org/officeDocument/2006/relationships/image" Target="../media/image112.png"/><Relationship Id="rId10" Type="http://schemas.openxmlformats.org/officeDocument/2006/relationships/image" Target="../media/image117.svg"/><Relationship Id="rId4" Type="http://schemas.openxmlformats.org/officeDocument/2006/relationships/image" Target="../media/image111.svg"/><Relationship Id="rId9" Type="http://schemas.openxmlformats.org/officeDocument/2006/relationships/image" Target="../media/image11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hyperlink" Target="https://azure.microsoft.com/en-us/blog/maximize-your-vm-s-performance-with-accelerated-networking-now-generally-available-for-both-windows-and-linux/" TargetMode="Externa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rdweb.wvd.microsoft.com/webclient/index.html" TargetMode="External"/><Relationship Id="rId2" Type="http://schemas.openxmlformats.org/officeDocument/2006/relationships/hyperlink" Target="http://xenithit.blogspot.com/2020/02/create-corporate-url-for-windows.html" TargetMode="External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myapps.contoso.com/" TargetMode="External"/><Relationship Id="rId4" Type="http://schemas.openxmlformats.org/officeDocument/2006/relationships/hyperlink" Target="https://aka.ms/wvdweb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nam06.safelinks.protection.outlook.com/?url=https%3A%2F%2Fraw.githubusercontent.com%2FAzure%2FRDS-Templates%2Fwvd-templates_preview_20200402.1900.0%2Fwvd-templates%2F&amp;data=02%7C01%7CMark.Garcia%40microsoft.com%7C7cbf5c083bb749fb389b08d7dfe7f274%7C72f988bf86f141af91ab2d7cd011db47%7C1%7C0%7C637224059615471941&amp;sdata=mk8cAeMbTcfvFjoq2MXqg6uS%2BTC0U%2FRFgLe%2BBcbHens%3D&amp;reserved=0" TargetMode="External"/><Relationship Id="rId2" Type="http://schemas.openxmlformats.org/officeDocument/2006/relationships/hyperlink" Target="https://raw.githubusercontent.com/Azure/RDS-Templates/wvd-templates_preview_20200402.1900.0/wvd-templates/Create%20and%20provision%20WVD%20host%20pool/mainTemplate.json" TargetMode="Externa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fslogix/install-ht" TargetMode="External"/><Relationship Id="rId2" Type="http://schemas.openxmlformats.org/officeDocument/2006/relationships/hyperlink" Target="https://nam06.safelinks.protection.outlook.com/?url=https%3A%2F%2Frichardstk.com%2F2013%2F11%2F29%2Fcreate-a-dedicated-account-to-join-computers-to-a-domain%2F&amp;data=02%7C01%7Cmgarriga%40microsoft.com%7Cb21763a3e873404b4f8408d79a9f21f7%7C72f988bf86f141af91ab2d7cd011db47%7C1%7C0%7C637147880567380129&amp;sdata=8xLCK5rwvvvecL7VMfzDxCxV3GPxsMXuvHlx1L9fyUE%3D&amp;reserved=0" TargetMode="Externa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docs.microsoft.com/en-us/fslogix/use-group-policy-templates-ht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6.png"/><Relationship Id="rId4" Type="http://schemas.openxmlformats.org/officeDocument/2006/relationships/image" Target="../media/image12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hyperlink" Target="https://docs.microsoft.com/en-us/azure/virtual-desktop/set-up-scaling-script" TargetMode="External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docs.microsoft.com/en-us/azure/virtual-desktop/expand-existing-host-pool" TargetMode="External"/><Relationship Id="rId4" Type="http://schemas.microsoft.com/office/2007/relationships/hdphoto" Target="../media/hdphoto2.wdp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svg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30.svg"/><Relationship Id="rId4" Type="http://schemas.openxmlformats.org/officeDocument/2006/relationships/image" Target="../media/image12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31.png"/><Relationship Id="rId4" Type="http://schemas.openxmlformats.org/officeDocument/2006/relationships/notesSlide" Target="../notesSlides/notesSlide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132.png"/><Relationship Id="rId4" Type="http://schemas.openxmlformats.org/officeDocument/2006/relationships/notesSlide" Target="../notesSlides/notesSlide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Azure/RDS-Templates/tree/master/wvd-templates/Update%20existing%20WVD%20host%20pool" TargetMode="Externa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jpeg"/><Relationship Id="rId2" Type="http://schemas.openxmlformats.org/officeDocument/2006/relationships/hyperlink" Target="https://us-prod.asyncgw.teams.microsoft.com/v1/objects/0-eus-d1-a9162e6efc6b4e743b37be1973b7526d/views/imgo" TargetMode="Externa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jpeg"/><Relationship Id="rId2" Type="http://schemas.openxmlformats.org/officeDocument/2006/relationships/hyperlink" Target="https://dennisspan.com/configuring-the-time-zone-and-code-page-with-group-policy/" TargetMode="Externa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microsoft.com/en-us/windows-server/remote/remote-desktop-services/rds-email-discovery" TargetMode="Externa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emf"/><Relationship Id="rId2" Type="http://schemas.openxmlformats.org/officeDocument/2006/relationships/image" Target="../media/image135.emf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virtual-machines/troubleshooting/custom-routes-enable-kms-activation" TargetMode="External"/><Relationship Id="rId2" Type="http://schemas.openxmlformats.org/officeDocument/2006/relationships/hyperlink" Target="https://docs.microsoft.com/en-us/azure/virtual-desktop/overview" TargetMode="Externa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7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4.png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virtual-desktop/install-office-on-wvd-master-image#install-office-in-shared-computer-activation-mode" TargetMode="External"/><Relationship Id="rId2" Type="http://schemas.openxmlformats.org/officeDocument/2006/relationships/hyperlink" Target="https://nam06.safelinks.protection.outlook.com/?url=https%3A%2F%2Fdocs.microsoft.com%2Fen-us%2FDeployOffice%2Foverview-of-shared-computer-activation-for-office-365-proplus&amp;data=02%7C01%7CRich.McBrine%40microsoft.com%7C7ef8463e4baf43ab16cb08d7d26c3e50%7C72f988bf86f141af91ab2d7cd011db47%7C1%7C0%7C637209234662596026&amp;sdata=6hcjZi4P9cFaHOcQ9BicTPgpVUbfReCkfl6TsSS%2BgVE%3D&amp;reserved=0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hyperlink" Target="https://docs.microsoft.com/azure/virtual-machines/windows/create-vm-generalized-managed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getnerdio.com/windows-virtual-desktop/" TargetMode="External"/><Relationship Id="rId3" Type="http://schemas.openxmlformats.org/officeDocument/2006/relationships/hyperlink" Target="https://www.robinhobo.com/how-to-create-a-custom-windows-10-multi-user-image-with-lob-applications-for-windows-virtual-desktop-preview-wvd-hostpool-deployments/" TargetMode="External"/><Relationship Id="rId7" Type="http://schemas.openxmlformats.org/officeDocument/2006/relationships/hyperlink" Target="http://loganalytics.sepago.com/" TargetMode="External"/><Relationship Id="rId2" Type="http://schemas.openxmlformats.org/officeDocument/2006/relationships/hyperlink" Target="https://docs.microsoft.com/en-us/azure/virtual-desktop/set-up-customize-master-image#software-preparation-and-installation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docs.microsoft.com/en-us/azure/virtual-desktop/configure-vm-gpu" TargetMode="External"/><Relationship Id="rId5" Type="http://schemas.openxmlformats.org/officeDocument/2006/relationships/hyperlink" Target="https://docs.microsoft.com/en-us/azure/virtual-desktop/install-office-on-wvd-master-image#install-office-in-shared-computer-activation-mode" TargetMode="External"/><Relationship Id="rId4" Type="http://schemas.openxmlformats.org/officeDocument/2006/relationships/hyperlink" Target="https://docs.microsoft.com/en-us/azure/virtual-desktop/install-office-on-wvd-master-image#install-onedrive-in-per-machine-mode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2" Type="http://schemas.openxmlformats.org/officeDocument/2006/relationships/hyperlink" Target="https://docs.microsoft.com/en-us/azure/virtual-machines/windows/capture-image-resource" TargetMode="Externa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7FF5F-64EA-48EE-A6D3-A4089B0B7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204811"/>
            <a:ext cx="5510784" cy="1329595"/>
          </a:xfrm>
        </p:spPr>
        <p:txBody>
          <a:bodyPr/>
          <a:lstStyle/>
          <a:p>
            <a:r>
              <a:rPr lang="en-US" sz="4800" dirty="0"/>
              <a:t>WVD POC Notes From the Field</a:t>
            </a:r>
          </a:p>
        </p:txBody>
      </p:sp>
    </p:spTree>
    <p:extLst>
      <p:ext uri="{BB962C8B-B14F-4D97-AF65-F5344CB8AC3E}">
        <p14:creationId xmlns:p14="http://schemas.microsoft.com/office/powerpoint/2010/main" val="1708149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7FF5F-64EA-48EE-A6D3-A4089B0B7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869609"/>
            <a:ext cx="5510784" cy="664797"/>
          </a:xfrm>
        </p:spPr>
        <p:txBody>
          <a:bodyPr/>
          <a:lstStyle/>
          <a:p>
            <a:r>
              <a:rPr lang="en-US" sz="4800" dirty="0"/>
              <a:t>WVD Best Practices</a:t>
            </a:r>
          </a:p>
        </p:txBody>
      </p:sp>
    </p:spTree>
    <p:extLst>
      <p:ext uri="{BB962C8B-B14F-4D97-AF65-F5344CB8AC3E}">
        <p14:creationId xmlns:p14="http://schemas.microsoft.com/office/powerpoint/2010/main" val="461580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C7171AB-71E9-41AA-A33A-B1E2573DE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ort List of WVD Best Practices (1 of 3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14AD5D-B157-4BBC-B1F1-7D5ED1871E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1138" y="1143976"/>
            <a:ext cx="11018520" cy="5102935"/>
          </a:xfrm>
        </p:spPr>
        <p:txBody>
          <a:bodyPr/>
          <a:lstStyle/>
          <a:p>
            <a:pPr lvl="0"/>
            <a:r>
              <a:rPr lang="en-US" sz="1800" dirty="0"/>
              <a:t>Publish Apps where you need to, publish Desktops where you must</a:t>
            </a:r>
          </a:p>
          <a:p>
            <a:pPr lvl="1"/>
            <a:r>
              <a:rPr lang="en-US" sz="1400" dirty="0"/>
              <a:t>Apps put less pressure on VMs, have lower bandwidth requirements at the endpoint</a:t>
            </a:r>
          </a:p>
          <a:p>
            <a:pPr lvl="1"/>
            <a:r>
              <a:rPr lang="en-US" sz="1400" dirty="0"/>
              <a:t>Full Desktop is useless on some devices (e.g. an iPad mini user does not want a Windows desktop)</a:t>
            </a:r>
          </a:p>
          <a:p>
            <a:pPr lvl="1"/>
            <a:r>
              <a:rPr lang="en-US" sz="1400" dirty="0"/>
              <a:t>Full Desktop is harder to get “right” due to many look and feel options (must involve Desktop Management team to resolve)</a:t>
            </a:r>
          </a:p>
          <a:p>
            <a:pPr lvl="1"/>
            <a:r>
              <a:rPr lang="en-US" sz="1400" dirty="0"/>
              <a:t>Publish mission-critical apps first, including Browser links to internal apps that are on-prem (super easy to do in WVD)</a:t>
            </a:r>
          </a:p>
          <a:p>
            <a:pPr lvl="1"/>
            <a:r>
              <a:rPr lang="en-US" sz="1400" dirty="0"/>
              <a:t>Deploy the </a:t>
            </a:r>
            <a:r>
              <a:rPr lang="en-US" sz="1400" dirty="0" err="1"/>
              <a:t>RDClient</a:t>
            </a:r>
            <a:r>
              <a:rPr lang="en-US" sz="1400" dirty="0"/>
              <a:t> as a published App - Admins can connect to WVD and then RDP to whatever systems they need (again, this is how Microsoft deployed our WVD solution)</a:t>
            </a:r>
          </a:p>
          <a:p>
            <a:pPr lvl="1"/>
            <a:r>
              <a:rPr lang="en-US" sz="1400" dirty="0"/>
              <a:t>This is how Microsoft deployed WVD to our users – we voted with our feet</a:t>
            </a:r>
          </a:p>
          <a:p>
            <a:pPr lvl="0"/>
            <a:r>
              <a:rPr lang="en-US" sz="1800" dirty="0"/>
              <a:t>Use fewer, larger (CPU, memory) WVD systems with best I/O (Premium Disk, Accelerated Networking) not more numerous, smaller systems</a:t>
            </a:r>
          </a:p>
          <a:p>
            <a:pPr lvl="0"/>
            <a:r>
              <a:rPr lang="en-US" sz="1800" dirty="0"/>
              <a:t>Use Sepago Agent w/Log Analytics back-end to monitor WVD VMs for performance </a:t>
            </a:r>
            <a:r>
              <a:rPr lang="en-US" sz="1800" dirty="0">
                <a:hlinkClick r:id="rId2"/>
              </a:rPr>
              <a:t>http://loganalytics.sepago.com/</a:t>
            </a:r>
            <a:endParaRPr lang="en-US" sz="1800" dirty="0"/>
          </a:p>
          <a:p>
            <a:pPr lvl="0"/>
            <a:r>
              <a:rPr lang="en-US" sz="1800" dirty="0"/>
              <a:t>GPO Guidance:</a:t>
            </a:r>
          </a:p>
          <a:p>
            <a:pPr lvl="1"/>
            <a:r>
              <a:rPr lang="en-US" sz="1400" dirty="0"/>
              <a:t>Block GPO inheritance at the root OU for WVD - GPO’s may enforce KMS and other settings we do not want</a:t>
            </a:r>
          </a:p>
          <a:p>
            <a:pPr lvl="1"/>
            <a:r>
              <a:rPr lang="en-US" sz="1400" dirty="0"/>
              <a:t>Remove any Login banners for App Host Pools</a:t>
            </a:r>
          </a:p>
          <a:p>
            <a:pPr lvl="1"/>
            <a:r>
              <a:rPr lang="en-US" sz="1400" dirty="0"/>
              <a:t>Deploy each WVD HostPool to its own OU w/its own unique GPO</a:t>
            </a:r>
          </a:p>
          <a:p>
            <a:pPr lvl="1"/>
            <a:r>
              <a:rPr lang="en-US" sz="1400" dirty="0"/>
              <a:t>GPO settings applied for each OU point to a Share designated for that </a:t>
            </a:r>
            <a:r>
              <a:rPr lang="en-US" sz="1400" dirty="0" err="1"/>
              <a:t>HostPool’s</a:t>
            </a:r>
            <a:r>
              <a:rPr lang="en-US" sz="1400" dirty="0"/>
              <a:t> FSLogix profile disks (One for Office, one for Profile)</a:t>
            </a:r>
          </a:p>
          <a:p>
            <a:pPr lvl="1"/>
            <a:r>
              <a:rPr lang="en-US" sz="1400" dirty="0"/>
              <a:t>Use a consistent naming convention across OU’s, GPO’s, FSLogix Shares, Resource Group, and VM names; makes it easy to show inter-relationships</a:t>
            </a:r>
          </a:p>
        </p:txBody>
      </p:sp>
    </p:spTree>
    <p:extLst>
      <p:ext uri="{BB962C8B-B14F-4D97-AF65-F5344CB8AC3E}">
        <p14:creationId xmlns:p14="http://schemas.microsoft.com/office/powerpoint/2010/main" val="395883084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C7171AB-71E9-41AA-A33A-B1E2573DE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ort List of WVD Best Practices (2 of 3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14AD5D-B157-4BBC-B1F1-7D5ED1871E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1138" y="1143976"/>
            <a:ext cx="11018520" cy="6100131"/>
          </a:xfrm>
        </p:spPr>
        <p:txBody>
          <a:bodyPr/>
          <a:lstStyle/>
          <a:p>
            <a:pPr lvl="0"/>
            <a:r>
              <a:rPr lang="en-US" sz="2000" dirty="0"/>
              <a:t>FSLogix:</a:t>
            </a:r>
          </a:p>
          <a:p>
            <a:pPr lvl="1"/>
            <a:r>
              <a:rPr lang="en-US" sz="1600" dirty="0"/>
              <a:t>Ensure Antivirus software on FSLogix Profile Servers is not scanning the VHD(x) files hosted for end-users (set relevant exclusions)</a:t>
            </a:r>
          </a:p>
          <a:p>
            <a:pPr lvl="1"/>
            <a:r>
              <a:rPr lang="en-US" sz="1600" dirty="0"/>
              <a:t>Calculate IOPS demands – examine ANF as a solution vs. File Servers</a:t>
            </a:r>
          </a:p>
          <a:p>
            <a:pPr lvl="1"/>
            <a:r>
              <a:rPr lang="en-US" sz="1600" dirty="0"/>
              <a:t>Deploy Profile disks per HostPool</a:t>
            </a:r>
          </a:p>
          <a:p>
            <a:pPr lvl="0"/>
            <a:r>
              <a:rPr lang="en-US" sz="2000" dirty="0"/>
              <a:t>Run Office locally on the endpoint device </a:t>
            </a:r>
          </a:p>
          <a:p>
            <a:pPr lvl="1"/>
            <a:r>
              <a:rPr lang="en-US" sz="1600" dirty="0"/>
              <a:t>Each endpoint can get a version of Office that is “tuned” for the device’s interface (e.g. Office version on iPad is built for the touch interface)</a:t>
            </a:r>
          </a:p>
          <a:p>
            <a:pPr lvl="1"/>
            <a:r>
              <a:rPr lang="en-US" sz="1600" dirty="0"/>
              <a:t>Leverages local horsepower and investment in the device, vs. pushing WVD to perform all processing</a:t>
            </a:r>
          </a:p>
          <a:p>
            <a:pPr lvl="0"/>
            <a:r>
              <a:rPr lang="en-US" sz="2000" dirty="0"/>
              <a:t>Do Not run Teams or any other telecom app in WVD</a:t>
            </a:r>
          </a:p>
          <a:p>
            <a:pPr lvl="1"/>
            <a:r>
              <a:rPr lang="en-US" sz="1800" dirty="0"/>
              <a:t>Teams is not officially supported in WVD yet – it will be soon</a:t>
            </a:r>
          </a:p>
          <a:p>
            <a:pPr lvl="1"/>
            <a:r>
              <a:rPr lang="en-US" sz="1800" dirty="0"/>
              <a:t>Each telecom app is built with a given interface in mind, as well as the ability to leverage attached devices (speakerphones, etc.) natively </a:t>
            </a:r>
          </a:p>
          <a:p>
            <a:pPr lvl="1"/>
            <a:r>
              <a:rPr lang="en-US" sz="1800" dirty="0"/>
              <a:t>More efficient for telecom traffic to move directly between the endpoint and the teleconference service, vs. round-tripping communication back and forth to Azure, then from Azure back &amp; forth to/from the telecom service</a:t>
            </a:r>
          </a:p>
          <a:p>
            <a:pPr lvl="1"/>
            <a:r>
              <a:rPr lang="en-US" sz="1800" dirty="0"/>
              <a:t>Latency incurred can be damaging to teleconference experience / most will not work at all</a:t>
            </a:r>
          </a:p>
          <a:p>
            <a:r>
              <a:rPr lang="en-US" sz="2000" dirty="0"/>
              <a:t>Use Azure Bastion to access VMs directly from portal when troubleshooting</a:t>
            </a:r>
          </a:p>
          <a:p>
            <a:endParaRPr lang="en-US" sz="2600" dirty="0"/>
          </a:p>
        </p:txBody>
      </p:sp>
    </p:spTree>
    <p:extLst>
      <p:ext uri="{BB962C8B-B14F-4D97-AF65-F5344CB8AC3E}">
        <p14:creationId xmlns:p14="http://schemas.microsoft.com/office/powerpoint/2010/main" val="353762452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FB9C3C7B-4DA2-4CFD-9C5F-1DB752F507CC}"/>
              </a:ext>
            </a:extLst>
          </p:cNvPr>
          <p:cNvGrpSpPr/>
          <p:nvPr/>
        </p:nvGrpSpPr>
        <p:grpSpPr>
          <a:xfrm>
            <a:off x="339258" y="352425"/>
            <a:ext cx="5853958" cy="5980299"/>
            <a:chOff x="339258" y="352425"/>
            <a:chExt cx="5461467" cy="5015615"/>
          </a:xfrm>
        </p:grpSpPr>
        <p:sp>
          <p:nvSpPr>
            <p:cNvPr id="43" name="Title 2">
              <a:extLst>
                <a:ext uri="{FF2B5EF4-FFF2-40B4-BE49-F238E27FC236}">
                  <a16:creationId xmlns:a16="http://schemas.microsoft.com/office/drawing/2014/main" id="{1AC8DCD5-7336-4144-BD62-6B176A569E3E}"/>
                </a:ext>
              </a:extLst>
            </p:cNvPr>
            <p:cNvSpPr txBox="1">
              <a:spLocks/>
            </p:cNvSpPr>
            <p:nvPr/>
          </p:nvSpPr>
          <p:spPr>
            <a:xfrm>
              <a:off x="588263" y="895350"/>
              <a:ext cx="5212462" cy="492443"/>
            </a:xfrm>
            <a:prstGeom prst="rect">
              <a:avLst/>
            </a:prstGeom>
          </p:spPr>
          <p:txBody>
            <a:bodyPr lIns="0" tIns="0" rIns="0" bIns="0"/>
            <a:lstStyle>
              <a:lvl1pPr algn="l" defTabSz="932742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3600" b="0" kern="1200" cap="none" spc="-50" baseline="0" dirty="0" smtClean="0">
                  <a:ln w="3175">
                    <a:noFill/>
                  </a:ln>
                  <a:solidFill>
                    <a:schemeClr val="tx1"/>
                  </a:soli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-50" normalizeH="0" baseline="0" noProof="0" dirty="0">
                  <a:ln w="3175"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Azure Bastion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2D794782-2B60-43A1-81C6-58D6CDB1F23F}"/>
                </a:ext>
              </a:extLst>
            </p:cNvPr>
            <p:cNvSpPr/>
            <p:nvPr/>
          </p:nvSpPr>
          <p:spPr>
            <a:xfrm>
              <a:off x="588263" y="1442197"/>
              <a:ext cx="4431412" cy="69694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 w="3175"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Secure and seamless RDP and SSH access to virtual machines – Leverage this for direct VM Login (bypasses WVD PaaS layer)</a:t>
              </a: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97B010A6-6DE5-4394-9E83-EF0BC2F6CC43}"/>
                </a:ext>
              </a:extLst>
            </p:cNvPr>
            <p:cNvGrpSpPr/>
            <p:nvPr/>
          </p:nvGrpSpPr>
          <p:grpSpPr>
            <a:xfrm>
              <a:off x="588263" y="2273576"/>
              <a:ext cx="4336162" cy="346249"/>
              <a:chOff x="655532" y="2032094"/>
              <a:chExt cx="4336162" cy="346249"/>
            </a:xfrm>
          </p:grpSpPr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9627FF71-B6B4-433F-A210-BCA00FE329A8}"/>
                  </a:ext>
                </a:extLst>
              </p:cNvPr>
              <p:cNvSpPr/>
              <p:nvPr/>
            </p:nvSpPr>
            <p:spPr bwMode="auto">
              <a:xfrm>
                <a:off x="655532" y="2032094"/>
                <a:ext cx="391454" cy="346249"/>
              </a:xfrm>
              <a:prstGeom prst="rect">
                <a:avLst/>
              </a:prstGeom>
              <a:solidFill>
                <a:schemeClr val="tx1">
                  <a:alpha val="10000"/>
                </a:schemeClr>
              </a:solidFill>
              <a:ln w="15875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>
                <a:outerShdw blurRad="1270000" sx="101000" sy="101000" algn="ctr" rotWithShape="0">
                  <a:srgbClr val="000000">
                    <a:alpha val="43137"/>
                  </a:srgb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10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"/>
                    <a:ea typeface="+mn-ea"/>
                    <a:cs typeface="Segoe UI" pitchFamily="34" charset="0"/>
                  </a:rPr>
                  <a:t>GA</a:t>
                </a:r>
              </a:p>
            </p:txBody>
          </p: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D60A457F-1F16-4B57-960C-4D354559B05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8831" y="2207682"/>
                <a:ext cx="3952863" cy="0"/>
              </a:xfrm>
              <a:prstGeom prst="line">
                <a:avLst/>
              </a:prstGeom>
              <a:ln w="15875">
                <a:solidFill>
                  <a:schemeClr val="tx1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1" name="Text Placeholder 1">
              <a:extLst>
                <a:ext uri="{FF2B5EF4-FFF2-40B4-BE49-F238E27FC236}">
                  <a16:creationId xmlns:a16="http://schemas.microsoft.com/office/drawing/2014/main" id="{5AE21D7A-5717-4B73-BA2F-64F7A998D602}"/>
                </a:ext>
              </a:extLst>
            </p:cNvPr>
            <p:cNvSpPr txBox="1">
              <a:spLocks/>
            </p:cNvSpPr>
            <p:nvPr/>
          </p:nvSpPr>
          <p:spPr>
            <a:xfrm>
              <a:off x="528919" y="2877095"/>
              <a:ext cx="5035355" cy="249094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28600" marR="0" indent="-22860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defRPr>
              </a:lvl1pPr>
              <a:lvl2pPr marL="457200" marR="0" indent="-22860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57225" marR="0" indent="-20002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6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842963" marR="0" indent="-18097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023938" marR="0" indent="-16827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1200"/>
                </a:spcBef>
                <a:spcAft>
                  <a:spcPts val="300"/>
                </a:spcAft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RDP/SSH to your VMs using HTML5 standards-based web-browser, directly in Azure Portal</a:t>
              </a:r>
            </a:p>
            <a:p>
              <a:pPr>
                <a:spcBef>
                  <a:spcPts val="1200"/>
                </a:spcBef>
                <a:spcAft>
                  <a:spcPts val="300"/>
                </a:spcAft>
                <a:defRPr/>
              </a:pPr>
              <a:r>
                <a:rPr lang="en-US" sz="2400" dirty="0">
                  <a:solidFill>
                    <a:schemeClr val="tx1"/>
                  </a:solidFill>
                  <a:latin typeface="Segoe UI" panose="020B0502040204020203" pitchFamily="34" charset="0"/>
                </a:rPr>
                <a:t>Resources can be accessed without public IP addresses</a:t>
              </a:r>
            </a:p>
            <a:p>
              <a:pPr>
                <a:spcBef>
                  <a:spcPts val="1200"/>
                </a:spcBef>
                <a:spcAft>
                  <a:spcPts val="300"/>
                </a:spcAft>
                <a:defRPr/>
              </a:pPr>
              <a:r>
                <a:rPr lang="en-US" sz="2400" dirty="0">
                  <a:solidFill>
                    <a:schemeClr val="tx1"/>
                  </a:solidFill>
                  <a:latin typeface="Segoe UI" panose="020B0502040204020203" pitchFamily="34" charset="0"/>
                </a:rPr>
                <a:t>Supported Azure resources include VMs, VM Scale Sets, Dev-Test Labs</a:t>
              </a:r>
            </a:p>
          </p:txBody>
        </p:sp>
        <p:pic>
          <p:nvPicPr>
            <p:cNvPr id="62" name="Picture 61" descr="A picture containing knife&#10;&#10;Description automatically generated">
              <a:extLst>
                <a:ext uri="{FF2B5EF4-FFF2-40B4-BE49-F238E27FC236}">
                  <a16:creationId xmlns:a16="http://schemas.microsoft.com/office/drawing/2014/main" id="{70ACC022-15F5-486A-855A-806C3AC2C68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9258" y="352425"/>
              <a:ext cx="908606" cy="523875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DF5FC08-1416-41EC-830C-DE5FF2F24B8F}"/>
              </a:ext>
            </a:extLst>
          </p:cNvPr>
          <p:cNvGrpSpPr/>
          <p:nvPr/>
        </p:nvGrpSpPr>
        <p:grpSpPr>
          <a:xfrm>
            <a:off x="6034688" y="865134"/>
            <a:ext cx="5870149" cy="5164325"/>
            <a:chOff x="5931325" y="865134"/>
            <a:chExt cx="5870149" cy="516432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67AE30E-F056-4C07-BB84-15D172D593E4}"/>
                </a:ext>
              </a:extLst>
            </p:cNvPr>
            <p:cNvSpPr/>
            <p:nvPr/>
          </p:nvSpPr>
          <p:spPr>
            <a:xfrm>
              <a:off x="10239926" y="1339782"/>
              <a:ext cx="1235720" cy="3824825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>
              <a:outerShdw blurRad="88900" dist="38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0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82C9E86-B9BA-463E-906F-FD4DEC6A1588}"/>
                </a:ext>
              </a:extLst>
            </p:cNvPr>
            <p:cNvSpPr/>
            <p:nvPr/>
          </p:nvSpPr>
          <p:spPr>
            <a:xfrm>
              <a:off x="5931325" y="3751984"/>
              <a:ext cx="142205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Segoe UI" panose="020B0502040204020203" pitchFamily="34" charset="0"/>
                </a:rPr>
                <a:t>Azure Portal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C7EA00E-CEAB-4A9E-B76F-460663F45F5F}"/>
                </a:ext>
              </a:extLst>
            </p:cNvPr>
            <p:cNvSpPr/>
            <p:nvPr/>
          </p:nvSpPr>
          <p:spPr>
            <a:xfrm>
              <a:off x="8199550" y="2804268"/>
              <a:ext cx="1533736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Remote Protocol 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(RDP, SSH, et al)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0B5CB2E-DDA0-48D5-8F9F-9B886CE7C729}"/>
                </a:ext>
              </a:extLst>
            </p:cNvPr>
            <p:cNvSpPr/>
            <p:nvPr/>
          </p:nvSpPr>
          <p:spPr>
            <a:xfrm>
              <a:off x="6810762" y="4247592"/>
              <a:ext cx="54028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Segoe UI" panose="020B0502040204020203" pitchFamily="34" charset="0"/>
                </a:rPr>
                <a:t>SSL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62216B6-4501-41B4-A60E-5CC758D69D9C}"/>
                </a:ext>
              </a:extLst>
            </p:cNvPr>
            <p:cNvSpPr/>
            <p:nvPr/>
          </p:nvSpPr>
          <p:spPr>
            <a:xfrm>
              <a:off x="6665487" y="4543170"/>
              <a:ext cx="8306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Segoe UI" panose="020B0502040204020203" pitchFamily="34" charset="0"/>
                </a:rPr>
                <a:t>443, </a:t>
              </a:r>
              <a:br>
                <a:rPr kumimoji="0" lang="en-US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Segoe UI" panose="020B0502040204020203" pitchFamily="34" charset="0"/>
                </a:rPr>
              </a:b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Segoe UI" panose="020B0502040204020203" pitchFamily="34" charset="0"/>
                </a:rPr>
                <a:t>Internet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309B331-7DD9-49C6-8A58-FC094C12B591}"/>
                </a:ext>
              </a:extLst>
            </p:cNvPr>
            <p:cNvSpPr txBox="1"/>
            <p:nvPr/>
          </p:nvSpPr>
          <p:spPr>
            <a:xfrm>
              <a:off x="7867877" y="5285493"/>
              <a:ext cx="1719868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Segoe UI" panose="020B0502040204020203" pitchFamily="34" charset="0"/>
                </a:rPr>
                <a:t>AzureBastionSubnet</a:t>
              </a:r>
              <a:endPara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endParaRPr>
            </a:p>
          </p:txBody>
        </p:sp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18B88D5C-5D4E-4306-ABC3-C3796331B9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6171716" y="3038772"/>
              <a:ext cx="911080" cy="911078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F6CA84E-F721-4579-9202-2820C62B90BA}"/>
                </a:ext>
              </a:extLst>
            </p:cNvPr>
            <p:cNvSpPr/>
            <p:nvPr/>
          </p:nvSpPr>
          <p:spPr>
            <a:xfrm>
              <a:off x="7760926" y="1704891"/>
              <a:ext cx="197236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Port: 3389/22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“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zureBastionSubnet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”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D4B807D-8BF7-4E5F-B92D-488A30534368}"/>
                </a:ext>
              </a:extLst>
            </p:cNvPr>
            <p:cNvSpPr/>
            <p:nvPr/>
          </p:nvSpPr>
          <p:spPr>
            <a:xfrm>
              <a:off x="7681195" y="981074"/>
              <a:ext cx="4120279" cy="4822141"/>
            </a:xfrm>
            <a:prstGeom prst="rect">
              <a:avLst/>
            </a:prstGeom>
            <a:ln w="25400" cap="rnd">
              <a:solidFill>
                <a:schemeClr val="tx1"/>
              </a:solidFill>
              <a:prstDash val="sysDot"/>
              <a:headEnd type="none"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D6C3A67-A8C0-4189-853A-591C178D1A2B}"/>
                </a:ext>
              </a:extLst>
            </p:cNvPr>
            <p:cNvSpPr/>
            <p:nvPr/>
          </p:nvSpPr>
          <p:spPr>
            <a:xfrm>
              <a:off x="10656264" y="5670914"/>
              <a:ext cx="626100" cy="2912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ACC9EF4-8A91-4AC4-B843-93154D9B4295}"/>
                </a:ext>
              </a:extLst>
            </p:cNvPr>
            <p:cNvSpPr txBox="1"/>
            <p:nvPr/>
          </p:nvSpPr>
          <p:spPr>
            <a:xfrm>
              <a:off x="9997852" y="5285493"/>
              <a:ext cx="1719868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Segoe UI" panose="020B0502040204020203" pitchFamily="34" charset="0"/>
                </a:rPr>
                <a:t>Target VM Subnet(s)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F90267C-6E73-4DF8-9DFF-06D8B9C760B1}"/>
                </a:ext>
              </a:extLst>
            </p:cNvPr>
            <p:cNvSpPr/>
            <p:nvPr/>
          </p:nvSpPr>
          <p:spPr>
            <a:xfrm>
              <a:off x="8600251" y="1403749"/>
              <a:ext cx="1133035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Segoe UI" panose="020B0502040204020203" pitchFamily="34" charset="0"/>
                </a:rPr>
                <a:t>Private IP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A9A31FC1-C194-40E7-B16A-061DE70DAAE9}"/>
                </a:ext>
              </a:extLst>
            </p:cNvPr>
            <p:cNvGrpSpPr/>
            <p:nvPr/>
          </p:nvGrpSpPr>
          <p:grpSpPr>
            <a:xfrm>
              <a:off x="10244494" y="1701278"/>
              <a:ext cx="1226584" cy="837215"/>
              <a:chOff x="10115392" y="1272653"/>
              <a:chExt cx="1226584" cy="837215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4C523FB6-EEC1-43F7-9025-E3F7A97BE0AC}"/>
                  </a:ext>
                </a:extLst>
              </p:cNvPr>
              <p:cNvSpPr txBox="1"/>
              <p:nvPr/>
            </p:nvSpPr>
            <p:spPr>
              <a:xfrm>
                <a:off x="10115392" y="1802091"/>
                <a:ext cx="1226584" cy="307777"/>
              </a:xfrm>
              <a:prstGeom prst="rect">
                <a:avLst/>
              </a:prstGeom>
              <a:noFill/>
            </p:spPr>
            <p:txBody>
              <a:bodyPr wrap="square" lIns="0" tIns="9144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Segoe UI Semibold"/>
                    <a:ea typeface="+mn-ea"/>
                    <a:cs typeface="Segoe UI" panose="020B0502040204020203" pitchFamily="34" charset="0"/>
                  </a:rPr>
                  <a:t>Azure VM</a:t>
                </a:r>
              </a:p>
            </p:txBody>
          </p:sp>
          <p:pic>
            <p:nvPicPr>
              <p:cNvPr id="23" name="Graphic 22">
                <a:extLst>
                  <a:ext uri="{FF2B5EF4-FFF2-40B4-BE49-F238E27FC236}">
                    <a16:creationId xmlns:a16="http://schemas.microsoft.com/office/drawing/2014/main" id="{430D5784-AB3A-4336-A0DC-6D54F08D64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10446132" y="1272653"/>
                <a:ext cx="565105" cy="565105"/>
              </a:xfrm>
              <a:prstGeom prst="rect">
                <a:avLst/>
              </a:prstGeom>
            </p:spPr>
          </p:pic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66AF9FF2-5DF2-442A-AA61-D4E084E0004A}"/>
                </a:ext>
              </a:extLst>
            </p:cNvPr>
            <p:cNvGrpSpPr/>
            <p:nvPr/>
          </p:nvGrpSpPr>
          <p:grpSpPr>
            <a:xfrm>
              <a:off x="10244494" y="2895599"/>
              <a:ext cx="1226584" cy="838882"/>
              <a:chOff x="10115392" y="2563149"/>
              <a:chExt cx="1226584" cy="838882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69691F1C-8991-407F-9E10-98A8109F90CD}"/>
                  </a:ext>
                </a:extLst>
              </p:cNvPr>
              <p:cNvSpPr txBox="1"/>
              <p:nvPr/>
            </p:nvSpPr>
            <p:spPr>
              <a:xfrm>
                <a:off x="10115392" y="3094254"/>
                <a:ext cx="1226584" cy="307777"/>
              </a:xfrm>
              <a:prstGeom prst="rect">
                <a:avLst/>
              </a:prstGeom>
              <a:noFill/>
            </p:spPr>
            <p:txBody>
              <a:bodyPr wrap="square" lIns="0" tIns="9144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Segoe UI Semibold"/>
                    <a:ea typeface="+mn-ea"/>
                    <a:cs typeface="Segoe UI" panose="020B0502040204020203" pitchFamily="34" charset="0"/>
                  </a:rPr>
                  <a:t>Azure VM</a:t>
                </a:r>
              </a:p>
            </p:txBody>
          </p:sp>
          <p:pic>
            <p:nvPicPr>
              <p:cNvPr id="26" name="Graphic 25">
                <a:extLst>
                  <a:ext uri="{FF2B5EF4-FFF2-40B4-BE49-F238E27FC236}">
                    <a16:creationId xmlns:a16="http://schemas.microsoft.com/office/drawing/2014/main" id="{99D0C358-8846-442F-9521-F034F3DC551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10446132" y="2563149"/>
                <a:ext cx="565105" cy="565105"/>
              </a:xfrm>
              <a:prstGeom prst="rect">
                <a:avLst/>
              </a:prstGeom>
            </p:spPr>
          </p:pic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C8F6E128-D95C-4F44-B471-061A9ADA7630}"/>
                </a:ext>
              </a:extLst>
            </p:cNvPr>
            <p:cNvGrpSpPr/>
            <p:nvPr/>
          </p:nvGrpSpPr>
          <p:grpSpPr>
            <a:xfrm>
              <a:off x="10244494" y="4091587"/>
              <a:ext cx="1226584" cy="831839"/>
              <a:chOff x="10115392" y="3688362"/>
              <a:chExt cx="1226584" cy="831839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DA4AA6DC-E2A6-42ED-95B2-73EB3B103226}"/>
                  </a:ext>
                </a:extLst>
              </p:cNvPr>
              <p:cNvSpPr txBox="1"/>
              <p:nvPr/>
            </p:nvSpPr>
            <p:spPr>
              <a:xfrm>
                <a:off x="10115392" y="4212424"/>
                <a:ext cx="1226584" cy="307777"/>
              </a:xfrm>
              <a:prstGeom prst="rect">
                <a:avLst/>
              </a:prstGeom>
              <a:noFill/>
            </p:spPr>
            <p:txBody>
              <a:bodyPr wrap="square" lIns="0" tIns="9144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Segoe UI Semibold"/>
                    <a:ea typeface="+mn-ea"/>
                    <a:cs typeface="Segoe UI" panose="020B0502040204020203" pitchFamily="34" charset="0"/>
                  </a:rPr>
                  <a:t>Azure VM</a:t>
                </a:r>
              </a:p>
            </p:txBody>
          </p:sp>
          <p:pic>
            <p:nvPicPr>
              <p:cNvPr id="29" name="Graphic 28">
                <a:extLst>
                  <a:ext uri="{FF2B5EF4-FFF2-40B4-BE49-F238E27FC236}">
                    <a16:creationId xmlns:a16="http://schemas.microsoft.com/office/drawing/2014/main" id="{D1058F06-8380-49E8-A938-078B2B93B7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10446132" y="3688362"/>
                <a:ext cx="565105" cy="565105"/>
              </a:xfrm>
              <a:prstGeom prst="rect">
                <a:avLst/>
              </a:prstGeom>
            </p:spPr>
          </p:pic>
        </p:grpSp>
        <p:pic>
          <p:nvPicPr>
            <p:cNvPr id="34" name="Picture 82">
              <a:extLst>
                <a:ext uri="{FF2B5EF4-FFF2-40B4-BE49-F238E27FC236}">
                  <a16:creationId xmlns:a16="http://schemas.microsoft.com/office/drawing/2014/main" id="{E4D88604-4493-4196-A701-87EA238FA88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10752062" y="5573565"/>
              <a:ext cx="455894" cy="455894"/>
            </a:xfrm>
            <a:prstGeom prst="rect">
              <a:avLst/>
            </a:prstGeom>
          </p:spPr>
        </p:pic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FB7FA529-A84D-4DFA-B19C-7C209C6B252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349458" y="1417725"/>
              <a:ext cx="556388" cy="556388"/>
            </a:xfrm>
            <a:prstGeom prst="rect">
              <a:avLst/>
            </a:prstGeom>
          </p:spPr>
        </p:pic>
        <p:cxnSp>
          <p:nvCxnSpPr>
            <p:cNvPr id="36" name="Connector: Elbow 35">
              <a:extLst>
                <a:ext uri="{FF2B5EF4-FFF2-40B4-BE49-F238E27FC236}">
                  <a16:creationId xmlns:a16="http://schemas.microsoft.com/office/drawing/2014/main" id="{6008ABEB-396A-4151-B272-BD33ADB17BB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119972" y="2846530"/>
              <a:ext cx="2945142" cy="433885"/>
            </a:xfrm>
            <a:prstGeom prst="bentConnector3">
              <a:avLst>
                <a:gd name="adj1" fmla="val 99967"/>
              </a:avLst>
            </a:prstGeom>
            <a:ln w="19050">
              <a:solidFill>
                <a:schemeClr val="accent2"/>
              </a:solidFill>
              <a:headEnd type="none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1DE4EECC-AD79-448C-849B-8FB969E4FEEF}"/>
                </a:ext>
              </a:extLst>
            </p:cNvPr>
            <p:cNvCxnSpPr>
              <a:cxnSpLocks/>
              <a:endCxn id="40" idx="1"/>
            </p:cNvCxnSpPr>
            <p:nvPr/>
          </p:nvCxnSpPr>
          <p:spPr>
            <a:xfrm flipV="1">
              <a:off x="9799961" y="1590901"/>
              <a:ext cx="238337" cy="2244"/>
            </a:xfrm>
            <a:prstGeom prst="straightConnector1">
              <a:avLst/>
            </a:prstGeom>
            <a:ln w="19050">
              <a:solidFill>
                <a:schemeClr val="accent2"/>
              </a:solidFill>
              <a:headEnd type="none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or: Elbow 37">
              <a:extLst>
                <a:ext uri="{FF2B5EF4-FFF2-40B4-BE49-F238E27FC236}">
                  <a16:creationId xmlns:a16="http://schemas.microsoft.com/office/drawing/2014/main" id="{5E763688-4CE2-404E-A2D7-C4BC3331BABA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6624253" y="4087263"/>
              <a:ext cx="1458255" cy="435934"/>
            </a:xfrm>
            <a:prstGeom prst="bentConnector3">
              <a:avLst>
                <a:gd name="adj1" fmla="val 99969"/>
              </a:avLst>
            </a:prstGeom>
            <a:ln w="19050">
              <a:solidFill>
                <a:schemeClr val="tx1"/>
              </a:solidFill>
              <a:headEnd type="arrow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D4024F82-AC22-4213-98D6-FA00BD700F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493742" y="4333100"/>
              <a:ext cx="372171" cy="372171"/>
            </a:xfrm>
            <a:prstGeom prst="rect">
              <a:avLst/>
            </a:prstGeom>
          </p:spPr>
        </p:pic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20604027-4413-4677-8063-FB0A8A1ABCA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038298" y="1404815"/>
              <a:ext cx="372171" cy="372171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DFDE191-8C4D-4BE0-B581-E890D14E6339}"/>
                </a:ext>
              </a:extLst>
            </p:cNvPr>
            <p:cNvSpPr txBox="1"/>
            <p:nvPr/>
          </p:nvSpPr>
          <p:spPr>
            <a:xfrm>
              <a:off x="8715831" y="865134"/>
              <a:ext cx="2241408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Segoe UI" panose="020B0502040204020203" pitchFamily="34" charset="0"/>
                </a:rPr>
                <a:t>Customer’s Virtual Network</a:t>
              </a: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234E2D92-A896-4F5D-AE68-E5828D267E27}"/>
                </a:ext>
              </a:extLst>
            </p:cNvPr>
            <p:cNvGrpSpPr/>
            <p:nvPr/>
          </p:nvGrpSpPr>
          <p:grpSpPr>
            <a:xfrm>
              <a:off x="6528523" y="2114550"/>
              <a:ext cx="540288" cy="924222"/>
              <a:chOff x="6547573" y="2114550"/>
              <a:chExt cx="540288" cy="924222"/>
            </a:xfrm>
          </p:grpSpPr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3423218C-E9B2-4466-9C4D-78A52F1E5A74}"/>
                  </a:ext>
                </a:extLst>
              </p:cNvPr>
              <p:cNvSpPr/>
              <p:nvPr/>
            </p:nvSpPr>
            <p:spPr>
              <a:xfrm>
                <a:off x="6547573" y="2445856"/>
                <a:ext cx="540288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/>
                    <a:ea typeface="+mn-ea"/>
                    <a:cs typeface="Segoe UI" panose="020B0502040204020203" pitchFamily="34" charset="0"/>
                  </a:rPr>
                  <a:t>SSL</a:t>
                </a:r>
              </a:p>
            </p:txBody>
          </p: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A1414888-E7BB-4755-92A3-6499B3D950E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627256" y="2114550"/>
                <a:ext cx="0" cy="924222"/>
              </a:xfrm>
              <a:prstGeom prst="line">
                <a:avLst/>
              </a:prstGeom>
              <a:ln w="19050">
                <a:solidFill>
                  <a:schemeClr val="tx1"/>
                </a:solidFill>
                <a:headEnd type="arrow" w="lg" len="med"/>
                <a:tailEnd type="arrow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F4FF7517-3067-4FFD-8775-80525824078E}"/>
                </a:ext>
              </a:extLst>
            </p:cNvPr>
            <p:cNvGrpSpPr/>
            <p:nvPr/>
          </p:nvGrpSpPr>
          <p:grpSpPr>
            <a:xfrm>
              <a:off x="8102692" y="3897031"/>
              <a:ext cx="1250239" cy="1267576"/>
              <a:chOff x="8102692" y="3897031"/>
              <a:chExt cx="1250239" cy="1267576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739FDC2A-F746-465E-985D-079E8F996636}"/>
                  </a:ext>
                </a:extLst>
              </p:cNvPr>
              <p:cNvSpPr/>
              <p:nvPr/>
            </p:nvSpPr>
            <p:spPr bwMode="auto">
              <a:xfrm>
                <a:off x="8102692" y="3897031"/>
                <a:ext cx="1250239" cy="1267576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/>
                </a:solidFill>
                <a:headEnd type="none" w="med" len="med"/>
                <a:tailEnd type="none" w="med" len="med"/>
              </a:ln>
              <a:effectLst>
                <a:outerShdw blurRad="88900" dist="38100" dir="2700000" algn="tl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6637" rIns="0" bIns="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120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0A088E9B-C070-489D-A255-2228F414CAC4}"/>
                  </a:ext>
                </a:extLst>
              </p:cNvPr>
              <p:cNvSpPr txBox="1"/>
              <p:nvPr/>
            </p:nvSpPr>
            <p:spPr>
              <a:xfrm>
                <a:off x="8113809" y="4832002"/>
                <a:ext cx="1163709" cy="15121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Segoe UI Semibold"/>
                    <a:ea typeface="+mn-ea"/>
                    <a:cs typeface="Segoe UI" panose="020B0502040204020203" pitchFamily="34" charset="0"/>
                  </a:rPr>
                  <a:t>Azure Bastion</a:t>
                </a:r>
              </a:p>
            </p:txBody>
          </p:sp>
          <p:pic>
            <p:nvPicPr>
              <p:cNvPr id="63" name="Picture 62" descr="A picture containing knife&#10;&#10;Description automatically generated">
                <a:extLst>
                  <a:ext uri="{FF2B5EF4-FFF2-40B4-BE49-F238E27FC236}">
                    <a16:creationId xmlns:a16="http://schemas.microsoft.com/office/drawing/2014/main" id="{E1C04B50-D82A-4201-9651-62E2514657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78104" y="4097893"/>
                <a:ext cx="1099414" cy="633889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93859283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7.40741E-7 L -1.04167E-6 0.04028 " pathEditMode="relative" rAng="0" ptsTypes="AA">
                                      <p:cBhvr>
                                        <p:cTn id="9" dur="4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01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4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7.40741E-7 L -1.04167E-6 0.04028 " pathEditMode="relative" rAng="0" ptsTypes="AA">
                                      <p:cBhvr>
                                        <p:cTn id="14" dur="40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01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C7171AB-71E9-41AA-A33A-B1E2573DE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ort List of WVD Best Practices (3 of 3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14AD5D-B157-4BBC-B1F1-7D5ED1871E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1138" y="1143976"/>
            <a:ext cx="6260662" cy="4518160"/>
          </a:xfrm>
        </p:spPr>
        <p:txBody>
          <a:bodyPr/>
          <a:lstStyle/>
          <a:p>
            <a:pPr lvl="0"/>
            <a:r>
              <a:rPr lang="en-US" sz="2000" dirty="0"/>
              <a:t>Logoff:</a:t>
            </a:r>
          </a:p>
          <a:p>
            <a:pPr lvl="1"/>
            <a:r>
              <a:rPr lang="en-US" sz="1600" dirty="0"/>
              <a:t>Disconnected and idle sessions exist indefinitely by default</a:t>
            </a:r>
          </a:p>
          <a:p>
            <a:pPr lvl="1"/>
            <a:r>
              <a:rPr lang="en-US" sz="1600" dirty="0"/>
              <a:t>Set limits w/Group Policy Object:</a:t>
            </a:r>
          </a:p>
          <a:p>
            <a:pPr lvl="2"/>
            <a:r>
              <a:rPr lang="en-US" sz="1200" dirty="0"/>
              <a:t>Computer Configuration &gt; Policies &gt; Administrative Templates &gt; Windows Components &gt; Remote Desktop Services &gt; Remote Desktop Session Hosts &gt; Session Time Limits</a:t>
            </a:r>
          </a:p>
          <a:p>
            <a:pPr lvl="2"/>
            <a:r>
              <a:rPr lang="en-US" sz="1200" dirty="0"/>
              <a:t>Enable and set the limit for disconnected sessions and limit for active but idle RDS sessions. Exact limits vary by environment.</a:t>
            </a:r>
          </a:p>
          <a:p>
            <a:pPr lvl="1"/>
            <a:r>
              <a:rPr lang="en-US" sz="1600" dirty="0"/>
              <a:t>Teach users to logoff properly</a:t>
            </a:r>
          </a:p>
          <a:p>
            <a:pPr lvl="0"/>
            <a:r>
              <a:rPr lang="en-US" sz="2000" dirty="0"/>
              <a:t>Use </a:t>
            </a:r>
            <a:r>
              <a:rPr lang="en-US" sz="2000" dirty="0">
                <a:hlinkClick r:id="rId2"/>
              </a:rPr>
              <a:t>Accelerated Networking</a:t>
            </a:r>
            <a:r>
              <a:rPr lang="en-US" sz="2000" dirty="0"/>
              <a:t> on WVD VMs and File Servers in Azure (hosting either/or Profiles or user files)</a:t>
            </a:r>
          </a:p>
          <a:p>
            <a:pPr lvl="1"/>
            <a:r>
              <a:rPr lang="en-US" sz="1600" dirty="0"/>
              <a:t>Expedites network flow to/from FSLogix and WVD Systems</a:t>
            </a:r>
          </a:p>
          <a:p>
            <a:pPr lvl="2"/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az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vm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deallocate --resource-group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myRG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--name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myVM</a:t>
            </a:r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az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network nic update --name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myNic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--resource-group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myRG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--accelerated-networking true</a:t>
            </a:r>
          </a:p>
          <a:p>
            <a:pPr lvl="2"/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az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vm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start --resource-group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myRG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--name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myVM</a:t>
            </a:r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endParaRPr lang="en-US" sz="12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3CCB76C-C832-4FBE-B374-865697A322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794" y="1673011"/>
            <a:ext cx="3910989" cy="2971245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C9545433-08BC-40FE-88AD-217649B5C426}"/>
              </a:ext>
            </a:extLst>
          </p:cNvPr>
          <p:cNvCxnSpPr/>
          <p:nvPr/>
        </p:nvCxnSpPr>
        <p:spPr>
          <a:xfrm>
            <a:off x="4038600" y="3251200"/>
            <a:ext cx="3581400" cy="177800"/>
          </a:xfrm>
          <a:prstGeom prst="straightConnector1">
            <a:avLst/>
          </a:prstGeom>
          <a:ln w="38100">
            <a:solidFill>
              <a:srgbClr val="00A249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406905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7FF5F-64EA-48EE-A6D3-A4089B0B7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204811"/>
            <a:ext cx="5510784" cy="1329595"/>
          </a:xfrm>
        </p:spPr>
        <p:txBody>
          <a:bodyPr/>
          <a:lstStyle/>
          <a:p>
            <a:r>
              <a:rPr lang="en-US" sz="4800" dirty="0"/>
              <a:t>Sustainment / Refinement Steps</a:t>
            </a:r>
          </a:p>
        </p:txBody>
      </p:sp>
    </p:spTree>
    <p:extLst>
      <p:ext uri="{BB962C8B-B14F-4D97-AF65-F5344CB8AC3E}">
        <p14:creationId xmlns:p14="http://schemas.microsoft.com/office/powerpoint/2010/main" val="2681801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E5B6DF-E7D6-4F8E-BE5B-3812A56704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a Custom URL for your WVD Deploy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86F014-4200-446C-B3A0-E124AB2246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740" y="1114342"/>
            <a:ext cx="11018520" cy="5490734"/>
          </a:xfrm>
        </p:spPr>
        <p:txBody>
          <a:bodyPr/>
          <a:lstStyle/>
          <a:p>
            <a:r>
              <a:rPr lang="en-US" sz="2400" dirty="0">
                <a:hlinkClick r:id="rId2"/>
              </a:rPr>
              <a:t>http://xenithit.blogspot.com/2020/02/create-corporate-url-for-windows.html</a:t>
            </a:r>
            <a:endParaRPr lang="en-US" sz="2400" dirty="0"/>
          </a:p>
          <a:p>
            <a:r>
              <a:rPr lang="en-US" sz="2400" dirty="0"/>
              <a:t>WVD HTML5 client uses a Microsoft URL which is long and also is the exact same for every customer:</a:t>
            </a:r>
          </a:p>
          <a:p>
            <a:pPr lvl="1"/>
            <a:r>
              <a:rPr lang="en-US" sz="1800" dirty="0">
                <a:hlinkClick r:id="rId3"/>
              </a:rPr>
              <a:t>https://rdweb.wvd.microsoft.com/webclient/index.html</a:t>
            </a:r>
            <a:r>
              <a:rPr lang="en-US" sz="1800" dirty="0"/>
              <a:t> </a:t>
            </a:r>
          </a:p>
          <a:p>
            <a:pPr lvl="1"/>
            <a:r>
              <a:rPr lang="en-US" sz="1800" dirty="0"/>
              <a:t>Alternatively, you can </a:t>
            </a:r>
            <a:r>
              <a:rPr lang="en-US" sz="1800"/>
              <a:t>use </a:t>
            </a:r>
            <a:r>
              <a:rPr lang="en-US" sz="1800">
                <a:hlinkClick r:id="rId4"/>
              </a:rPr>
              <a:t>https://aka.ms/wvdweb</a:t>
            </a:r>
            <a:r>
              <a:rPr lang="en-US" sz="1800"/>
              <a:t>  </a:t>
            </a:r>
          </a:p>
          <a:p>
            <a:pPr lvl="1"/>
            <a:r>
              <a:rPr lang="en-US" sz="1800" dirty="0"/>
              <a:t>What would be better is to use a URL that looks something like </a:t>
            </a:r>
            <a:r>
              <a:rPr lang="en-US" sz="1800" dirty="0">
                <a:hlinkClick r:id="rId5"/>
              </a:rPr>
              <a:t>https://myapps.contoso.com</a:t>
            </a:r>
            <a:r>
              <a:rPr lang="en-US" sz="1800" dirty="0"/>
              <a:t> </a:t>
            </a:r>
          </a:p>
          <a:p>
            <a:r>
              <a:rPr lang="en-US" sz="2400" dirty="0"/>
              <a:t>There are two very simple methods to achieve this, the first is using an Azure Function App, the second is to use Azure Front Door</a:t>
            </a:r>
          </a:p>
          <a:p>
            <a:pPr lvl="1"/>
            <a:r>
              <a:rPr lang="en-US" sz="1800" dirty="0"/>
              <a:t>more details on AFD are in the article</a:t>
            </a:r>
          </a:p>
          <a:p>
            <a:r>
              <a:rPr lang="en-US" sz="2400" dirty="0"/>
              <a:t>An Azure Function App will require a tiny bit of code but can be free to use; Azure Front door does not require any coding at all for this capability, but will always have a cost</a:t>
            </a:r>
          </a:p>
          <a:p>
            <a:pPr lvl="1"/>
            <a:r>
              <a:rPr lang="en-US" sz="1800" dirty="0"/>
              <a:t>This article describes how to do this using a Function App, and will guide you through how to set this up</a:t>
            </a:r>
          </a:p>
          <a:p>
            <a:pPr lvl="1"/>
            <a:r>
              <a:rPr lang="en-US" sz="1800" dirty="0"/>
              <a:t>One of the great things about Function Apps is that the first 1,000,000 executions are free which is very handy</a:t>
            </a:r>
          </a:p>
        </p:txBody>
      </p:sp>
    </p:spTree>
    <p:extLst>
      <p:ext uri="{BB962C8B-B14F-4D97-AF65-F5344CB8AC3E}">
        <p14:creationId xmlns:p14="http://schemas.microsoft.com/office/powerpoint/2010/main" val="1040630663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7B8887-F494-4A7D-A4A3-1C45105866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 a Custom WVD Deployment Template (raw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22F453-B255-434F-8579-951EE6DFC2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3102388"/>
          </a:xfrm>
        </p:spPr>
        <p:txBody>
          <a:bodyPr/>
          <a:lstStyle/>
          <a:p>
            <a:r>
              <a:rPr lang="en-US" dirty="0">
                <a:hlinkClick r:id="rId2"/>
              </a:rPr>
              <a:t>https://raw.githubusercontent.com/Azure/RDS-Templates/wvd-templates_preview_20200402.1900.0/wvd-templates/Create%20and%20provision%20WVD%20host%20pool/mainTemplate.json</a:t>
            </a:r>
            <a:endParaRPr lang="en-US" dirty="0"/>
          </a:p>
          <a:p>
            <a:r>
              <a:rPr lang="en-US" dirty="0"/>
              <a:t>This is the value to  use for the _</a:t>
            </a:r>
            <a:r>
              <a:rPr lang="en-US" dirty="0" err="1"/>
              <a:t>artifactsLocation</a:t>
            </a:r>
            <a:r>
              <a:rPr lang="en-US" dirty="0"/>
              <a:t> parameter </a:t>
            </a:r>
            <a:r>
              <a:rPr lang="en-US" u="sng" dirty="0">
                <a:hlinkClick r:id="rId3" tooltip="https://nam06.safelinks.protection.outlook.com/?url=https%3a%2f%2fraw.githubusercontent.com%2fazure%2frds-templates%2fwvd-templates_preview_20200402.1900.0%2fwvd-templates%2f&amp;data=02%7c01%7cmark.garcia%40microsoft.com%7c7cbf5c083bb749fb389b08d7dfe7f274%7c72f988bf86f141af91ab2d7cd011db47%7c1%7c0%7c637224059615471941&amp;sdata=mk8caembtcfvfjoq2mxqg6us%2btc0u%2frfgle%2bbcbhens%3d&amp;reserved=0"/>
              </a:rPr>
              <a:t>https://raw.githubusercontent.com/Azure/RDS-Templates/wvd-templates_preview_20200402.1900.0/wvd-templates/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8276414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75333A6-BA5C-48AB-ACF3-71734EA01C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just Idle Session Logoff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55C20D-3EFC-4C35-8575-EA4F722B4C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4683636" cy="4592026"/>
          </a:xfrm>
        </p:spPr>
        <p:txBody>
          <a:bodyPr/>
          <a:lstStyle/>
          <a:p>
            <a:r>
              <a:rPr lang="en-US" sz="2400" dirty="0"/>
              <a:t>Disconnected and idle sessions will exist indefinitely without intervention</a:t>
            </a:r>
          </a:p>
          <a:p>
            <a:r>
              <a:rPr lang="en-US" sz="2400" dirty="0"/>
              <a:t>Set limits on idle and disconnected sessions with a Group Policy Object </a:t>
            </a:r>
          </a:p>
          <a:p>
            <a:pPr lvl="1"/>
            <a:r>
              <a:rPr lang="en-US" sz="1800" dirty="0"/>
              <a:t>Create a GPO and modify the settings under </a:t>
            </a:r>
          </a:p>
          <a:p>
            <a:pPr lvl="2"/>
            <a:r>
              <a:rPr lang="en-US" sz="1400" dirty="0"/>
              <a:t>Computer Configuration &gt; Policies &gt; Administrative Templates &gt; Windows Components &gt; Remote Desktop Services &gt; Remote Desktop Session Hosts &gt; Session Time Limits</a:t>
            </a:r>
          </a:p>
          <a:p>
            <a:pPr lvl="2"/>
            <a:r>
              <a:rPr lang="en-US" sz="1400" dirty="0"/>
              <a:t>Enable and set the limit for disconnected sessions and limit for active but idle RDS sessions. Exact limits vary by environment.</a:t>
            </a:r>
          </a:p>
        </p:txBody>
      </p:sp>
      <p:pic>
        <p:nvPicPr>
          <p:cNvPr id="29698" name="Picture 2">
            <a:extLst>
              <a:ext uri="{FF2B5EF4-FFF2-40B4-BE49-F238E27FC236}">
                <a16:creationId xmlns:a16="http://schemas.microsoft.com/office/drawing/2014/main" id="{1BF9C123-9896-417B-AB4F-9C0C41A816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7739" y="1775438"/>
            <a:ext cx="6342179" cy="3858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3545288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E307D465-5D56-0B41-96C4-901FFC2422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Segoe UI"/>
              </a:rPr>
              <a:t>Scale based on schedule and load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AFD9358-0F0F-DD41-8430-DD40142A33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0133" y="5347082"/>
            <a:ext cx="4153168" cy="422417"/>
          </a:xfrm>
        </p:spPr>
        <p:txBody>
          <a:bodyPr/>
          <a:lstStyle/>
          <a:p>
            <a:pPr marL="448193" lvl="3" indent="-112048"/>
            <a:endParaRPr lang="en-US"/>
          </a:p>
          <a:p>
            <a:pPr marL="448193" lvl="3" indent="-112048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4B3110-6551-4EDD-A935-B80C91C5B1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4872" y="2001929"/>
            <a:ext cx="6315952" cy="3094981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FEE5E28D-FE7D-4B5B-82E2-08FEABD53588}"/>
              </a:ext>
            </a:extLst>
          </p:cNvPr>
          <p:cNvSpPr/>
          <p:nvPr/>
        </p:nvSpPr>
        <p:spPr bwMode="auto">
          <a:xfrm>
            <a:off x="827667" y="1964169"/>
            <a:ext cx="451583" cy="448212"/>
          </a:xfrm>
          <a:prstGeom prst="ellipse">
            <a:avLst/>
          </a:prstGeom>
          <a:solidFill>
            <a:srgbClr val="EAEAEA"/>
          </a:solidFill>
          <a:ln w="28575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rPr>
              <a:t>1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48F0D8D-1236-4977-A23E-9BFD123EADDD}"/>
              </a:ext>
            </a:extLst>
          </p:cNvPr>
          <p:cNvSpPr/>
          <p:nvPr/>
        </p:nvSpPr>
        <p:spPr>
          <a:xfrm>
            <a:off x="1053459" y="1871463"/>
            <a:ext cx="4318087" cy="6336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36145" lvl="3"/>
            <a:r>
              <a:rPr lang="en-US">
                <a:solidFill>
                  <a:srgbClr val="000000"/>
                </a:solidFill>
                <a:latin typeface="Segoe UI"/>
              </a:rPr>
              <a:t>Schedule VMs to start and stop based on Peak and Off-Peak business hour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21F728B-360E-45CA-80F8-ADE3BD5D8463}"/>
              </a:ext>
            </a:extLst>
          </p:cNvPr>
          <p:cNvSpPr/>
          <p:nvPr/>
        </p:nvSpPr>
        <p:spPr bwMode="auto">
          <a:xfrm>
            <a:off x="827667" y="3325314"/>
            <a:ext cx="451583" cy="448212"/>
          </a:xfrm>
          <a:prstGeom prst="ellipse">
            <a:avLst/>
          </a:prstGeom>
          <a:solidFill>
            <a:srgbClr val="EAEAEA"/>
          </a:solidFill>
          <a:ln w="28575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rPr>
              <a:t>2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FA49D48-39FB-4ADC-9B44-9E5F1F61503D}"/>
              </a:ext>
            </a:extLst>
          </p:cNvPr>
          <p:cNvSpPr/>
          <p:nvPr/>
        </p:nvSpPr>
        <p:spPr>
          <a:xfrm>
            <a:off x="1053459" y="3232608"/>
            <a:ext cx="4318087" cy="6336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36145" lvl="3"/>
            <a:r>
              <a:rPr lang="en-US">
                <a:solidFill>
                  <a:srgbClr val="000000"/>
                </a:solidFill>
                <a:latin typeface="Segoe UI"/>
              </a:rPr>
              <a:t>Scale out VMs based on number of sessions per CPU core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FA7E4BE-CB1F-4361-9B43-5B730CBCB5FE}"/>
              </a:ext>
            </a:extLst>
          </p:cNvPr>
          <p:cNvSpPr/>
          <p:nvPr/>
        </p:nvSpPr>
        <p:spPr bwMode="auto">
          <a:xfrm>
            <a:off x="827667" y="4686460"/>
            <a:ext cx="451583" cy="448212"/>
          </a:xfrm>
          <a:prstGeom prst="ellipse">
            <a:avLst/>
          </a:prstGeom>
          <a:solidFill>
            <a:srgbClr val="EAEAEA"/>
          </a:solidFill>
          <a:ln w="28575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rPr>
              <a:t>3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B225A20-E701-41A3-8672-90D6884EB3F1}"/>
              </a:ext>
            </a:extLst>
          </p:cNvPr>
          <p:cNvSpPr/>
          <p:nvPr/>
        </p:nvSpPr>
        <p:spPr>
          <a:xfrm>
            <a:off x="1053459" y="4441902"/>
            <a:ext cx="4318087" cy="9051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36145" lvl="3"/>
            <a:r>
              <a:rPr lang="en-US">
                <a:solidFill>
                  <a:srgbClr val="000000"/>
                </a:solidFill>
                <a:latin typeface="Segoe UI"/>
              </a:rPr>
              <a:t>Scale in VMs during Off-Peak hours, leaving the minimum number of session host VMs running</a:t>
            </a:r>
          </a:p>
        </p:txBody>
      </p:sp>
    </p:spTree>
    <p:extLst>
      <p:ext uri="{BB962C8B-B14F-4D97-AF65-F5344CB8AC3E}">
        <p14:creationId xmlns:p14="http://schemas.microsoft.com/office/powerpoint/2010/main" val="302322758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913626-416F-4539-A29B-EBDD671212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VD Notes from the Field – POC Pre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B82526-0C49-47AF-B9EB-47EF944919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740" y="1124946"/>
            <a:ext cx="11018520" cy="5361468"/>
          </a:xfrm>
        </p:spPr>
        <p:txBody>
          <a:bodyPr/>
          <a:lstStyle/>
          <a:p>
            <a:r>
              <a:rPr lang="en-US" sz="1800" dirty="0">
                <a:latin typeface="+mn-lt"/>
              </a:rPr>
              <a:t>User account/Service account that can join VMs to the domain</a:t>
            </a:r>
          </a:p>
          <a:p>
            <a:pPr lvl="1"/>
            <a:r>
              <a:rPr lang="en-US" sz="1600" dirty="0"/>
              <a:t>MUST NOT use MFA of any sort </a:t>
            </a:r>
          </a:p>
          <a:p>
            <a:pPr lvl="1"/>
            <a:r>
              <a:rPr lang="en-US" sz="1600" dirty="0"/>
              <a:t>Requires a complex password of at least 12 characters</a:t>
            </a:r>
          </a:p>
          <a:p>
            <a:pPr lvl="1"/>
            <a:r>
              <a:rPr lang="en-US" sz="1600" dirty="0"/>
              <a:t>Reference: </a:t>
            </a:r>
            <a:r>
              <a:rPr lang="en-US" sz="1400" u="sng" dirty="0">
                <a:hlinkClick r:id="rId2"/>
              </a:rPr>
              <a:t>https://richardstk.com/2013/11/29/create-a-dedicated-account-to-join-computers-to-a-domain/</a:t>
            </a:r>
            <a:endParaRPr lang="en-US" sz="1050" dirty="0"/>
          </a:p>
          <a:p>
            <a:r>
              <a:rPr lang="en-US" sz="1800" dirty="0">
                <a:latin typeface="+mn-lt"/>
              </a:rPr>
              <a:t>VMs we spin up will need to be placed in an OU container; requires the </a:t>
            </a:r>
            <a:r>
              <a:rPr lang="en-US" sz="1800" dirty="0" err="1">
                <a:latin typeface="+mn-lt"/>
              </a:rPr>
              <a:t>distinguishedName</a:t>
            </a:r>
            <a:r>
              <a:rPr lang="en-US" sz="1800" dirty="0">
                <a:latin typeface="+mn-lt"/>
              </a:rPr>
              <a:t> of the OU (</a:t>
            </a:r>
            <a:r>
              <a:rPr lang="en-US" sz="1800" b="1" dirty="0">
                <a:solidFill>
                  <a:schemeClr val="accent2">
                    <a:lumMod val="75000"/>
                    <a:lumOff val="25000"/>
                  </a:schemeClr>
                </a:solidFill>
                <a:latin typeface="+mn-lt"/>
              </a:rPr>
              <a:t>OU=HackWVD-Team1,OU=HACKWVD,DC=</a:t>
            </a:r>
            <a:r>
              <a:rPr lang="en-US" sz="1800" b="1" dirty="0" err="1">
                <a:solidFill>
                  <a:schemeClr val="accent2">
                    <a:lumMod val="75000"/>
                    <a:lumOff val="25000"/>
                  </a:schemeClr>
                </a:solidFill>
                <a:latin typeface="+mn-lt"/>
              </a:rPr>
              <a:t>onprem,DC</a:t>
            </a:r>
            <a:r>
              <a:rPr lang="en-US" sz="1800" b="1" dirty="0">
                <a:solidFill>
                  <a:schemeClr val="accent2">
                    <a:lumMod val="75000"/>
                    <a:lumOff val="25000"/>
                  </a:schemeClr>
                </a:solidFill>
                <a:latin typeface="+mn-lt"/>
              </a:rPr>
              <a:t>=</a:t>
            </a:r>
            <a:r>
              <a:rPr lang="en-US" sz="1800" b="1" dirty="0" err="1">
                <a:solidFill>
                  <a:schemeClr val="accent2">
                    <a:lumMod val="75000"/>
                    <a:lumOff val="25000"/>
                  </a:schemeClr>
                </a:solidFill>
                <a:latin typeface="+mn-lt"/>
              </a:rPr>
              <a:t>hackwvd,DC</a:t>
            </a:r>
            <a:r>
              <a:rPr lang="en-US" sz="1800" b="1" dirty="0">
                <a:solidFill>
                  <a:schemeClr val="accent2">
                    <a:lumMod val="75000"/>
                    <a:lumOff val="25000"/>
                  </a:schemeClr>
                </a:solidFill>
                <a:latin typeface="+mn-lt"/>
              </a:rPr>
              <a:t>=net</a:t>
            </a:r>
            <a:r>
              <a:rPr lang="en-US" sz="1800" dirty="0">
                <a:latin typeface="+mn-lt"/>
              </a:rPr>
              <a:t>)</a:t>
            </a:r>
          </a:p>
          <a:p>
            <a:r>
              <a:rPr lang="en-US" sz="1800" dirty="0">
                <a:latin typeface="+mn-lt"/>
              </a:rPr>
              <a:t>Contributor or above (Owner) role(s) assigned at the Azure Subscription level</a:t>
            </a:r>
          </a:p>
          <a:p>
            <a:r>
              <a:rPr lang="en-US" sz="1800" dirty="0">
                <a:latin typeface="+mn-lt"/>
              </a:rPr>
              <a:t>Designated Subnet per team for placement of the WVD VMs and the File Server hosting the FSLogix Profiles</a:t>
            </a:r>
          </a:p>
          <a:p>
            <a:r>
              <a:rPr lang="en-US" sz="1800" dirty="0">
                <a:latin typeface="+mn-lt"/>
              </a:rPr>
              <a:t>File Server for hosting Profiles </a:t>
            </a:r>
          </a:p>
          <a:p>
            <a:r>
              <a:rPr lang="en-US" sz="1800" dirty="0">
                <a:latin typeface="+mn-lt"/>
              </a:rPr>
              <a:t>Software to install on custom images available on a file server in Azure</a:t>
            </a:r>
          </a:p>
          <a:p>
            <a:r>
              <a:rPr lang="en-US" sz="1800" dirty="0">
                <a:latin typeface="+mn-lt"/>
                <a:hlinkClick r:id="rId3"/>
              </a:rPr>
              <a:t>Binaries for FSLogix </a:t>
            </a:r>
            <a:r>
              <a:rPr lang="en-US" sz="1800" dirty="0">
                <a:latin typeface="+mn-lt"/>
              </a:rPr>
              <a:t>(we need the agent in our VMs)</a:t>
            </a:r>
          </a:p>
          <a:p>
            <a:pPr lvl="1"/>
            <a:r>
              <a:rPr lang="en-US" sz="1400" dirty="0"/>
              <a:t>Copied the included ADMX and ADML files into your Active Directory environment: </a:t>
            </a:r>
            <a:r>
              <a:rPr lang="en-US" sz="1400" u="sng" dirty="0">
                <a:hlinkClick r:id="rId4"/>
              </a:rPr>
              <a:t>https://docs.microsoft.com/en-us/fslogix/use-group-policy-templates-ht</a:t>
            </a:r>
            <a:endParaRPr lang="en-US" sz="1400" dirty="0"/>
          </a:p>
          <a:p>
            <a:r>
              <a:rPr lang="en-US" sz="1800" dirty="0">
                <a:latin typeface="+mn-lt"/>
              </a:rPr>
              <a:t>Use Extra Accounts for your Team to Test (e.g., use accounts a-d to build and e-g to test)</a:t>
            </a:r>
          </a:p>
          <a:p>
            <a:r>
              <a:rPr lang="en-US" sz="1800" dirty="0">
                <a:latin typeface="+mn-lt"/>
              </a:rPr>
              <a:t>Service Principal for building WVD Host Pools – required in MFA-enabled environments</a:t>
            </a:r>
          </a:p>
          <a:p>
            <a:r>
              <a:rPr lang="en-US" sz="1800" dirty="0">
                <a:latin typeface="+mn-lt"/>
              </a:rPr>
              <a:t>Grant other users participating in the WVD POC the “WVD Tenant Creator” Role</a:t>
            </a:r>
            <a:endParaRPr lang="en-US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19962669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D647F3-1DF8-46E9-97FD-8B93572226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492443"/>
          </a:xfrm>
        </p:spPr>
        <p:txBody>
          <a:bodyPr/>
          <a:lstStyle/>
          <a:p>
            <a:r>
              <a:rPr lang="en-US" sz="3200" dirty="0"/>
              <a:t>Scaling Windows Virtual Desktop with Azure Automation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47069A7-B21B-4685-872F-2CE89286F604}"/>
              </a:ext>
            </a:extLst>
          </p:cNvPr>
          <p:cNvGrpSpPr/>
          <p:nvPr/>
        </p:nvGrpSpPr>
        <p:grpSpPr>
          <a:xfrm>
            <a:off x="553262" y="1275092"/>
            <a:ext cx="11079251" cy="5182456"/>
            <a:chOff x="564356" y="1300163"/>
            <a:chExt cx="10929938" cy="5126905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E22CA9F-67A5-4E2D-9F4A-E84CF7F04D59}"/>
                </a:ext>
              </a:extLst>
            </p:cNvPr>
            <p:cNvSpPr/>
            <p:nvPr/>
          </p:nvSpPr>
          <p:spPr bwMode="auto">
            <a:xfrm>
              <a:off x="564356" y="1300163"/>
              <a:ext cx="10929938" cy="512690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026" name="Picture 2" descr="WebhooksOverview">
              <a:extLst>
                <a:ext uri="{FF2B5EF4-FFF2-40B4-BE49-F238E27FC236}">
                  <a16:creationId xmlns:a16="http://schemas.microsoft.com/office/drawing/2014/main" id="{1038F936-BB11-4D9E-AADC-09BF962F87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3257" y="1641769"/>
              <a:ext cx="9383667" cy="46734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28508EB-117D-453C-9C0D-0E923FE2F11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15142" y="2318468"/>
              <a:ext cx="1757237" cy="1757237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2118F668-3CD8-43DA-BC4C-48D3320CDF88}"/>
                </a:ext>
              </a:extLst>
            </p:cNvPr>
            <p:cNvSpPr txBox="1"/>
            <p:nvPr/>
          </p:nvSpPr>
          <p:spPr>
            <a:xfrm>
              <a:off x="1064925" y="4137252"/>
              <a:ext cx="2234492" cy="2984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961" b="1"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latin typeface="Segoe UI"/>
                </a:rPr>
                <a:t>Azure Logic Apps</a:t>
              </a: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EEF7A1D1-4200-43B6-B3FF-83EEC946C0F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788981" y="2607631"/>
              <a:ext cx="1436782" cy="1381823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F48DB00-B5C4-4AFC-848A-81AD2CC22DB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560501" y="3092764"/>
              <a:ext cx="1224051" cy="233153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90905DB-39F1-480F-A673-1A3989A5B00D}"/>
                </a:ext>
              </a:extLst>
            </p:cNvPr>
            <p:cNvSpPr txBox="1"/>
            <p:nvPr/>
          </p:nvSpPr>
          <p:spPr>
            <a:xfrm>
              <a:off x="9784551" y="4029541"/>
              <a:ext cx="1436782" cy="59698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961" b="1"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latin typeface="Segoe UI"/>
                </a:rPr>
                <a:t>WVD Host Pool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44FDB63-880B-44BA-93F3-7DFC2261A529}"/>
                </a:ext>
              </a:extLst>
            </p:cNvPr>
            <p:cNvSpPr txBox="1"/>
            <p:nvPr/>
          </p:nvSpPr>
          <p:spPr>
            <a:xfrm>
              <a:off x="7143283" y="4186507"/>
              <a:ext cx="1193006" cy="3044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en-US" sz="2000" b="1">
                <a:gradFill>
                  <a:gsLst>
                    <a:gs pos="2917">
                      <a:srgbClr val="000000"/>
                    </a:gs>
                    <a:gs pos="30000">
                      <a:srgbClr val="000000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4C1CF176-39FE-4E72-A3AB-DBCC1C04D4A1}"/>
              </a:ext>
            </a:extLst>
          </p:cNvPr>
          <p:cNvSpPr/>
          <p:nvPr/>
        </p:nvSpPr>
        <p:spPr bwMode="auto">
          <a:xfrm>
            <a:off x="7956839" y="4952166"/>
            <a:ext cx="2177031" cy="1195233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961" b="1">
                <a:gradFill>
                  <a:gsLst>
                    <a:gs pos="2917">
                      <a:srgbClr val="000000"/>
                    </a:gs>
                    <a:gs pos="30000">
                      <a:srgbClr val="000000"/>
                    </a:gs>
                  </a:gsLst>
                  <a:lin ang="5400000" scaled="0"/>
                </a:gradFill>
                <a:latin typeface="Segoe UI"/>
              </a:rPr>
              <a:t>WVD Scaling logic</a:t>
            </a:r>
          </a:p>
        </p:txBody>
      </p:sp>
    </p:spTree>
    <p:extLst>
      <p:ext uri="{BB962C8B-B14F-4D97-AF65-F5344CB8AC3E}">
        <p14:creationId xmlns:p14="http://schemas.microsoft.com/office/powerpoint/2010/main" val="482078854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93597F-48F0-4444-8537-2EEF48685A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ing up and Down and/or Adding Hosts to WV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72C595-4493-47D5-B8C7-B74EB364E4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5810822"/>
          </a:xfrm>
        </p:spPr>
        <p:txBody>
          <a:bodyPr/>
          <a:lstStyle/>
          <a:p>
            <a:r>
              <a:rPr lang="en-US" dirty="0"/>
              <a:t>Start/Stop serverless automation on Host Pool VMs </a:t>
            </a:r>
            <a:r>
              <a:rPr lang="en-US" dirty="0">
                <a:hlinkClick r:id="rId2"/>
              </a:rPr>
              <a:t>https://docs.microsoft.com/en-us/azure/virtual-desktop/set-up-scaling-script</a:t>
            </a:r>
            <a:endParaRPr lang="en-US" dirty="0"/>
          </a:p>
          <a:p>
            <a:r>
              <a:rPr lang="en-US" dirty="0"/>
              <a:t>Scales WITHIN Host Pool turning on/off VMs in the Pool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Low-cost automation option to optimize session host VM costs:</a:t>
            </a:r>
          </a:p>
          <a:p>
            <a:pPr lvl="1"/>
            <a:r>
              <a:rPr lang="en-US" dirty="0"/>
              <a:t>Schedule VMs to start and stop based on Peak and Off-Peak business hours</a:t>
            </a:r>
          </a:p>
          <a:p>
            <a:pPr lvl="1"/>
            <a:r>
              <a:rPr lang="en-US" dirty="0"/>
              <a:t>Scale out VMs based on number of sessions per CPU core</a:t>
            </a:r>
          </a:p>
          <a:p>
            <a:pPr lvl="1"/>
            <a:r>
              <a:rPr lang="en-US" dirty="0"/>
              <a:t>Scale in VMs during Off-Peak hours, leaving the minimum number of session host VMs running</a:t>
            </a:r>
          </a:p>
          <a:p>
            <a:r>
              <a:rPr lang="en-US" dirty="0"/>
              <a:t>Mandates changing from Breadth Mode to Depth Mode (next slides)</a:t>
            </a:r>
          </a:p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7CFA102-BB13-49AB-8C56-74F5FB7DBE13}"/>
              </a:ext>
            </a:extLst>
          </p:cNvPr>
          <p:cNvSpPr/>
          <p:nvPr/>
        </p:nvSpPr>
        <p:spPr bwMode="auto">
          <a:xfrm>
            <a:off x="867267" y="3429000"/>
            <a:ext cx="3590433" cy="897902"/>
          </a:xfrm>
          <a:prstGeom prst="rect">
            <a:avLst/>
          </a:prstGeom>
          <a:solidFill>
            <a:srgbClr val="FFB90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tx2"/>
              </a:solidFill>
            </a:endParaRPr>
          </a:p>
        </p:txBody>
      </p:sp>
      <p:pic>
        <p:nvPicPr>
          <p:cNvPr id="5" name="Virtual machines">
            <a:extLst>
              <a:ext uri="{FF2B5EF4-FFF2-40B4-BE49-F238E27FC236}">
                <a16:creationId xmlns:a16="http://schemas.microsoft.com/office/drawing/2014/main" id="{223F2B8B-ABD6-4073-8BEF-3D417CF525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prstClr val="black"/>
              <a:srgbClr val="292929">
                <a:lumMod val="50000"/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504" y="3864069"/>
            <a:ext cx="468965" cy="436611"/>
          </a:xfrm>
          <a:prstGeom prst="rect">
            <a:avLst/>
          </a:prstGeom>
        </p:spPr>
      </p:pic>
      <p:pic>
        <p:nvPicPr>
          <p:cNvPr id="6" name="Virtual machines">
            <a:extLst>
              <a:ext uri="{FF2B5EF4-FFF2-40B4-BE49-F238E27FC236}">
                <a16:creationId xmlns:a16="http://schemas.microsoft.com/office/drawing/2014/main" id="{BAD3066C-BBE2-484E-BA44-6ECE9119A45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prstClr val="black"/>
              <a:srgbClr val="292929">
                <a:lumMod val="50000"/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5345" y="3854215"/>
            <a:ext cx="468965" cy="436611"/>
          </a:xfrm>
          <a:prstGeom prst="rect">
            <a:avLst/>
          </a:prstGeom>
        </p:spPr>
      </p:pic>
      <p:pic>
        <p:nvPicPr>
          <p:cNvPr id="7" name="Virtual machines">
            <a:extLst>
              <a:ext uri="{FF2B5EF4-FFF2-40B4-BE49-F238E27FC236}">
                <a16:creationId xmlns:a16="http://schemas.microsoft.com/office/drawing/2014/main" id="{CECD25F2-EF97-44B0-A67B-48E076152BD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prstClr val="black"/>
              <a:srgbClr val="292929">
                <a:lumMod val="50000"/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1046" y="3854214"/>
            <a:ext cx="468965" cy="436611"/>
          </a:xfrm>
          <a:prstGeom prst="rect">
            <a:avLst/>
          </a:prstGeom>
        </p:spPr>
      </p:pic>
      <p:pic>
        <p:nvPicPr>
          <p:cNvPr id="8" name="Virtual machines">
            <a:extLst>
              <a:ext uri="{FF2B5EF4-FFF2-40B4-BE49-F238E27FC236}">
                <a16:creationId xmlns:a16="http://schemas.microsoft.com/office/drawing/2014/main" id="{B51048EC-D524-44F2-ACEE-7933E695C53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prstClr val="black"/>
              <a:srgbClr val="292929">
                <a:lumMod val="50000"/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9213" y="2296005"/>
            <a:ext cx="468965" cy="436611"/>
          </a:xfrm>
          <a:prstGeom prst="rect">
            <a:avLst/>
          </a:prstGeom>
        </p:spPr>
      </p:pic>
      <p:pic>
        <p:nvPicPr>
          <p:cNvPr id="9" name="Virtual machines">
            <a:extLst>
              <a:ext uri="{FF2B5EF4-FFF2-40B4-BE49-F238E27FC236}">
                <a16:creationId xmlns:a16="http://schemas.microsoft.com/office/drawing/2014/main" id="{ABADFEF2-8D10-430E-B21D-E0713D6C419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prstClr val="black"/>
              <a:srgbClr val="292929">
                <a:lumMod val="50000"/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8316" y="3854213"/>
            <a:ext cx="468965" cy="436611"/>
          </a:xfrm>
          <a:prstGeom prst="rect">
            <a:avLst/>
          </a:prstGeom>
        </p:spPr>
      </p:pic>
      <p:pic>
        <p:nvPicPr>
          <p:cNvPr id="10" name="Virtual machines">
            <a:extLst>
              <a:ext uri="{FF2B5EF4-FFF2-40B4-BE49-F238E27FC236}">
                <a16:creationId xmlns:a16="http://schemas.microsoft.com/office/drawing/2014/main" id="{1E58BBD5-AF06-4F72-8BD2-1DB35524B78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prstClr val="black"/>
              <a:srgbClr val="292929">
                <a:lumMod val="50000"/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4017" y="3854213"/>
            <a:ext cx="468965" cy="436611"/>
          </a:xfrm>
          <a:prstGeom prst="rect">
            <a:avLst/>
          </a:prstGeom>
        </p:spPr>
      </p:pic>
      <p:pic>
        <p:nvPicPr>
          <p:cNvPr id="11" name="Virtual machines">
            <a:extLst>
              <a:ext uri="{FF2B5EF4-FFF2-40B4-BE49-F238E27FC236}">
                <a16:creationId xmlns:a16="http://schemas.microsoft.com/office/drawing/2014/main" id="{70E3D462-426C-41CC-A20D-B7A1BB426E9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prstClr val="black"/>
              <a:srgbClr val="292929">
                <a:lumMod val="50000"/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9718" y="3854213"/>
            <a:ext cx="468965" cy="436611"/>
          </a:xfrm>
          <a:prstGeom prst="rect">
            <a:avLst/>
          </a:prstGeom>
        </p:spPr>
      </p:pic>
      <p:sp>
        <p:nvSpPr>
          <p:cNvPr id="12" name="Arrow: Left-Right 11">
            <a:extLst>
              <a:ext uri="{FF2B5EF4-FFF2-40B4-BE49-F238E27FC236}">
                <a16:creationId xmlns:a16="http://schemas.microsoft.com/office/drawing/2014/main" id="{BB04270C-7580-44ED-8C81-66BBE06DFE40}"/>
              </a:ext>
            </a:extLst>
          </p:cNvPr>
          <p:cNvSpPr/>
          <p:nvPr/>
        </p:nvSpPr>
        <p:spPr bwMode="auto">
          <a:xfrm>
            <a:off x="986504" y="3429000"/>
            <a:ext cx="3302179" cy="389135"/>
          </a:xfrm>
          <a:prstGeom prst="leftRightArrow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Scaling Within Host Pool Limit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82BCD4D-2199-4728-81C4-64D522F70687}"/>
              </a:ext>
            </a:extLst>
          </p:cNvPr>
          <p:cNvSpPr/>
          <p:nvPr/>
        </p:nvSpPr>
        <p:spPr bwMode="auto">
          <a:xfrm>
            <a:off x="4534293" y="3429000"/>
            <a:ext cx="1932495" cy="89790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0AFADC19-D6AA-4514-BB14-9AE310774AEC}"/>
              </a:ext>
            </a:extLst>
          </p:cNvPr>
          <p:cNvSpPr/>
          <p:nvPr/>
        </p:nvSpPr>
        <p:spPr bwMode="auto">
          <a:xfrm>
            <a:off x="4576937" y="3429000"/>
            <a:ext cx="1744456" cy="435069"/>
          </a:xfrm>
          <a:prstGeom prst="rightArrow">
            <a:avLst/>
          </a:prstGeom>
          <a:solidFill>
            <a:srgbClr val="00B05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Add More Hosts</a:t>
            </a:r>
          </a:p>
        </p:txBody>
      </p:sp>
      <p:pic>
        <p:nvPicPr>
          <p:cNvPr id="15" name="Virtual machines">
            <a:extLst>
              <a:ext uri="{FF2B5EF4-FFF2-40B4-BE49-F238E27FC236}">
                <a16:creationId xmlns:a16="http://schemas.microsoft.com/office/drawing/2014/main" id="{F8D95D1D-1BC7-40CF-A6C1-3E227FD8905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prstClr val="black"/>
              <a:srgbClr val="292929">
                <a:lumMod val="50000"/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0204" y="3818135"/>
            <a:ext cx="468965" cy="436611"/>
          </a:xfrm>
          <a:prstGeom prst="rect">
            <a:avLst/>
          </a:prstGeom>
          <a:solidFill>
            <a:schemeClr val="bg2"/>
          </a:solidFill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41B0E3E3-376F-49CA-93F8-903B8A84AA81}"/>
              </a:ext>
            </a:extLst>
          </p:cNvPr>
          <p:cNvSpPr/>
          <p:nvPr/>
        </p:nvSpPr>
        <p:spPr>
          <a:xfrm>
            <a:off x="6550055" y="3536433"/>
            <a:ext cx="3202757" cy="6355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latin typeface="Segoe UI" panose="020B0502040204020203" pitchFamily="34" charset="0"/>
                <a:hlinkClick r:id="rId5"/>
              </a:rPr>
              <a:t>Expand an existing host pool with new session hosts</a:t>
            </a:r>
            <a:endParaRPr lang="en-US" b="1" i="0" dirty="0">
              <a:effectLst/>
              <a:latin typeface="Segoe UI" panose="020B05020402040202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CC744EE-7D38-42A0-B341-EFFCE76036F4}"/>
              </a:ext>
            </a:extLst>
          </p:cNvPr>
          <p:cNvSpPr txBox="1"/>
          <p:nvPr/>
        </p:nvSpPr>
        <p:spPr>
          <a:xfrm>
            <a:off x="5173853" y="3996965"/>
            <a:ext cx="93194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solidFill>
                  <a:schemeClr val="bg1"/>
                </a:solidFill>
              </a:rPr>
              <a:t>….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3B7FC63-B95E-4F40-8CF4-ECD2F3D7D9ED}"/>
              </a:ext>
            </a:extLst>
          </p:cNvPr>
          <p:cNvSpPr/>
          <p:nvPr/>
        </p:nvSpPr>
        <p:spPr bwMode="auto">
          <a:xfrm>
            <a:off x="4487158" y="3346315"/>
            <a:ext cx="5326144" cy="1030534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9" name="Arrow: Left 18">
            <a:extLst>
              <a:ext uri="{FF2B5EF4-FFF2-40B4-BE49-F238E27FC236}">
                <a16:creationId xmlns:a16="http://schemas.microsoft.com/office/drawing/2014/main" id="{0C6FEEC5-D6D1-4862-BEF3-A2D76A729881}"/>
              </a:ext>
            </a:extLst>
          </p:cNvPr>
          <p:cNvSpPr/>
          <p:nvPr/>
        </p:nvSpPr>
        <p:spPr bwMode="auto">
          <a:xfrm rot="20699608">
            <a:off x="9605913" y="3115698"/>
            <a:ext cx="2279874" cy="982744"/>
          </a:xfrm>
          <a:prstGeom prst="leftArrow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Adding Hosts is separate from Scaling within Host Pool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1BED14D-35D6-456D-BB70-5FCA00667B05}"/>
              </a:ext>
            </a:extLst>
          </p:cNvPr>
          <p:cNvSpPr/>
          <p:nvPr/>
        </p:nvSpPr>
        <p:spPr bwMode="auto">
          <a:xfrm>
            <a:off x="2052379" y="3728517"/>
            <a:ext cx="2370593" cy="598385"/>
          </a:xfrm>
          <a:prstGeom prst="rect">
            <a:avLst/>
          </a:prstGeom>
          <a:solidFill>
            <a:srgbClr val="FFB900">
              <a:alpha val="71000"/>
            </a:srgb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22701704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xit" presetSubtype="8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6" grpId="0"/>
      <p:bldP spid="17" grpId="0"/>
      <p:bldP spid="18" grpId="0" animBg="1"/>
      <p:bldP spid="19" grpId="0" animBg="1"/>
      <p:bldP spid="20" grpId="0" animBg="1"/>
      <p:bldP spid="20" grpId="1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E307D465-5D56-0B41-96C4-901FFC2422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ptimizing load balancing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AFD9358-0F0F-DD41-8430-DD40142A33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3787" y="4355129"/>
            <a:ext cx="4614873" cy="1181862"/>
          </a:xfrm>
        </p:spPr>
        <p:txBody>
          <a:bodyPr/>
          <a:lstStyle/>
          <a:p>
            <a:pPr marL="0" indent="0" algn="ctr">
              <a:buNone/>
            </a:pPr>
            <a:r>
              <a:rPr lang="en-US" b="1" u="sng" dirty="0"/>
              <a:t>Breadth-first load balancing</a:t>
            </a:r>
          </a:p>
          <a:p>
            <a:pPr marL="0" indent="0" algn="ctr">
              <a:buNone/>
            </a:pPr>
            <a:r>
              <a:rPr lang="en-US" dirty="0"/>
              <a:t>Distributes new user sessions </a:t>
            </a:r>
            <a:r>
              <a:rPr lang="en-US" b="1" dirty="0"/>
              <a:t>across all available session hosts </a:t>
            </a:r>
            <a:r>
              <a:rPr lang="en-US" dirty="0"/>
              <a:t>in the host pool</a:t>
            </a:r>
          </a:p>
          <a:p>
            <a:pPr marL="448193" lvl="3" indent="-112048" algn="ctr"/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0E6961-7BD6-4512-B5E7-2225A2CDB1C7}"/>
              </a:ext>
            </a:extLst>
          </p:cNvPr>
          <p:cNvSpPr/>
          <p:nvPr/>
        </p:nvSpPr>
        <p:spPr>
          <a:xfrm>
            <a:off x="6387028" y="4355129"/>
            <a:ext cx="5161187" cy="15991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961" b="1" u="sng" dirty="0"/>
              <a:t>Depth-first load balancing</a:t>
            </a:r>
          </a:p>
          <a:p>
            <a:pPr algn="ctr"/>
            <a:r>
              <a:rPr lang="en-US" sz="1961" dirty="0"/>
              <a:t>Distributes new user sessions to an available session host with the highest number of connections but has </a:t>
            </a:r>
            <a:r>
              <a:rPr lang="en-US" sz="1961" b="1" dirty="0"/>
              <a:t>not reached its maximum session limit</a:t>
            </a:r>
            <a:r>
              <a:rPr lang="en-US" sz="1961" dirty="0"/>
              <a:t> </a:t>
            </a:r>
            <a:r>
              <a:rPr lang="en-US" sz="1961" b="1" dirty="0"/>
              <a:t>threshold</a:t>
            </a:r>
          </a:p>
        </p:txBody>
      </p:sp>
      <p:pic>
        <p:nvPicPr>
          <p:cNvPr id="23" name="Graphic 14" descr="Server">
            <a:extLst>
              <a:ext uri="{FF2B5EF4-FFF2-40B4-BE49-F238E27FC236}">
                <a16:creationId xmlns:a16="http://schemas.microsoft.com/office/drawing/2014/main" id="{4F24D4DF-A08D-4CE6-BF56-529138B196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31736" y="2900376"/>
            <a:ext cx="896425" cy="896425"/>
          </a:xfrm>
          <a:prstGeom prst="rect">
            <a:avLst/>
          </a:prstGeom>
        </p:spPr>
      </p:pic>
      <p:pic>
        <p:nvPicPr>
          <p:cNvPr id="24" name="Graphic 16" descr="User">
            <a:extLst>
              <a:ext uri="{FF2B5EF4-FFF2-40B4-BE49-F238E27FC236}">
                <a16:creationId xmlns:a16="http://schemas.microsoft.com/office/drawing/2014/main" id="{EF2A06F6-8F19-40FA-8D0C-94D8C11AF8B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29385" y="2336609"/>
            <a:ext cx="501126" cy="501126"/>
          </a:xfrm>
          <a:prstGeom prst="rect">
            <a:avLst/>
          </a:prstGeom>
        </p:spPr>
      </p:pic>
      <p:pic>
        <p:nvPicPr>
          <p:cNvPr id="25" name="Graphic 17" descr="Server">
            <a:extLst>
              <a:ext uri="{FF2B5EF4-FFF2-40B4-BE49-F238E27FC236}">
                <a16:creationId xmlns:a16="http://schemas.microsoft.com/office/drawing/2014/main" id="{6D63E5C9-1CB1-4963-8DFC-AFE7CA224D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49881" y="2900376"/>
            <a:ext cx="896425" cy="896425"/>
          </a:xfrm>
          <a:prstGeom prst="rect">
            <a:avLst/>
          </a:prstGeom>
        </p:spPr>
      </p:pic>
      <p:pic>
        <p:nvPicPr>
          <p:cNvPr id="26" name="Graphic 18" descr="Server">
            <a:extLst>
              <a:ext uri="{FF2B5EF4-FFF2-40B4-BE49-F238E27FC236}">
                <a16:creationId xmlns:a16="http://schemas.microsoft.com/office/drawing/2014/main" id="{F92A78B2-C040-4915-B39F-70EC6C9148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90809" y="2900376"/>
            <a:ext cx="896425" cy="896425"/>
          </a:xfrm>
          <a:prstGeom prst="rect">
            <a:avLst/>
          </a:prstGeom>
        </p:spPr>
      </p:pic>
      <p:pic>
        <p:nvPicPr>
          <p:cNvPr id="27" name="Graphic 22" descr="User">
            <a:extLst>
              <a:ext uri="{FF2B5EF4-FFF2-40B4-BE49-F238E27FC236}">
                <a16:creationId xmlns:a16="http://schemas.microsoft.com/office/drawing/2014/main" id="{55575F71-ADB2-41C9-8416-DC03F4A6CAE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88458" y="2336609"/>
            <a:ext cx="501126" cy="501126"/>
          </a:xfrm>
          <a:prstGeom prst="rect">
            <a:avLst/>
          </a:prstGeom>
        </p:spPr>
      </p:pic>
      <p:pic>
        <p:nvPicPr>
          <p:cNvPr id="28" name="Graphic 23" descr="User">
            <a:extLst>
              <a:ext uri="{FF2B5EF4-FFF2-40B4-BE49-F238E27FC236}">
                <a16:creationId xmlns:a16="http://schemas.microsoft.com/office/drawing/2014/main" id="{B1F5C6F5-D0DF-47A0-9DBB-C47FE8411F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35079" y="2336608"/>
            <a:ext cx="501126" cy="501126"/>
          </a:xfrm>
          <a:prstGeom prst="rect">
            <a:avLst/>
          </a:prstGeom>
        </p:spPr>
      </p:pic>
      <p:pic>
        <p:nvPicPr>
          <p:cNvPr id="29" name="Graphic 27" descr="User">
            <a:extLst>
              <a:ext uri="{FF2B5EF4-FFF2-40B4-BE49-F238E27FC236}">
                <a16:creationId xmlns:a16="http://schemas.microsoft.com/office/drawing/2014/main" id="{F045803C-45AB-48DE-8B31-1E00256FE58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29384" y="1852979"/>
            <a:ext cx="501126" cy="501126"/>
          </a:xfrm>
          <a:prstGeom prst="rect">
            <a:avLst/>
          </a:prstGeom>
        </p:spPr>
      </p:pic>
      <p:pic>
        <p:nvPicPr>
          <p:cNvPr id="30" name="Graphic 28" descr="User">
            <a:extLst>
              <a:ext uri="{FF2B5EF4-FFF2-40B4-BE49-F238E27FC236}">
                <a16:creationId xmlns:a16="http://schemas.microsoft.com/office/drawing/2014/main" id="{11BC2C5C-BEAA-46A5-977B-77A411DE4D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90016" y="1852979"/>
            <a:ext cx="501126" cy="501126"/>
          </a:xfrm>
          <a:prstGeom prst="rect">
            <a:avLst/>
          </a:prstGeom>
        </p:spPr>
      </p:pic>
      <p:sp>
        <p:nvSpPr>
          <p:cNvPr id="31" name="TextBox 29">
            <a:extLst>
              <a:ext uri="{FF2B5EF4-FFF2-40B4-BE49-F238E27FC236}">
                <a16:creationId xmlns:a16="http://schemas.microsoft.com/office/drawing/2014/main" id="{745B5B6A-4CF2-4EA2-B91C-DAC84D66F1BA}"/>
              </a:ext>
            </a:extLst>
          </p:cNvPr>
          <p:cNvSpPr txBox="1"/>
          <p:nvPr/>
        </p:nvSpPr>
        <p:spPr>
          <a:xfrm>
            <a:off x="2266526" y="2492144"/>
            <a:ext cx="135148" cy="3017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96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1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FD5B271-46E1-411D-ABAB-7EB3CB8E2ED7}"/>
              </a:ext>
            </a:extLst>
          </p:cNvPr>
          <p:cNvSpPr txBox="1"/>
          <p:nvPr/>
        </p:nvSpPr>
        <p:spPr>
          <a:xfrm>
            <a:off x="3144274" y="2492143"/>
            <a:ext cx="135148" cy="3017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96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2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5749100-ABB7-4C75-A08B-A9AFE4E00C37}"/>
              </a:ext>
            </a:extLst>
          </p:cNvPr>
          <p:cNvSpPr txBox="1"/>
          <p:nvPr/>
        </p:nvSpPr>
        <p:spPr>
          <a:xfrm>
            <a:off x="4022023" y="2492143"/>
            <a:ext cx="135148" cy="3017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96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3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D37A69E-88AA-4B52-906B-067B33978B32}"/>
              </a:ext>
            </a:extLst>
          </p:cNvPr>
          <p:cNvSpPr txBox="1"/>
          <p:nvPr/>
        </p:nvSpPr>
        <p:spPr>
          <a:xfrm>
            <a:off x="2293115" y="2079033"/>
            <a:ext cx="135148" cy="3017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96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4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5C3C6EC-DC34-485A-A11C-326896489013}"/>
              </a:ext>
            </a:extLst>
          </p:cNvPr>
          <p:cNvSpPr txBox="1"/>
          <p:nvPr/>
        </p:nvSpPr>
        <p:spPr>
          <a:xfrm>
            <a:off x="3137978" y="2099763"/>
            <a:ext cx="135148" cy="3017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96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5</a:t>
            </a:r>
          </a:p>
        </p:txBody>
      </p:sp>
      <p:pic>
        <p:nvPicPr>
          <p:cNvPr id="36" name="Graphic 19" descr="Server">
            <a:extLst>
              <a:ext uri="{FF2B5EF4-FFF2-40B4-BE49-F238E27FC236}">
                <a16:creationId xmlns:a16="http://schemas.microsoft.com/office/drawing/2014/main" id="{C747D5FC-1625-44BA-8948-619D606C5F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55944" y="2944376"/>
            <a:ext cx="896425" cy="896425"/>
          </a:xfrm>
          <a:prstGeom prst="rect">
            <a:avLst/>
          </a:prstGeom>
        </p:spPr>
      </p:pic>
      <p:pic>
        <p:nvPicPr>
          <p:cNvPr id="37" name="Graphic 20" descr="Server">
            <a:extLst>
              <a:ext uri="{FF2B5EF4-FFF2-40B4-BE49-F238E27FC236}">
                <a16:creationId xmlns:a16="http://schemas.microsoft.com/office/drawing/2014/main" id="{6BB963D8-C8D5-4316-8E6D-2298C5FB18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74090" y="2944376"/>
            <a:ext cx="896425" cy="896425"/>
          </a:xfrm>
          <a:prstGeom prst="rect">
            <a:avLst/>
          </a:prstGeom>
        </p:spPr>
      </p:pic>
      <p:pic>
        <p:nvPicPr>
          <p:cNvPr id="38" name="Graphic 21" descr="Server">
            <a:extLst>
              <a:ext uri="{FF2B5EF4-FFF2-40B4-BE49-F238E27FC236}">
                <a16:creationId xmlns:a16="http://schemas.microsoft.com/office/drawing/2014/main" id="{ABBF18A8-3A1E-4996-8392-EF509D7E42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15017" y="2944376"/>
            <a:ext cx="896425" cy="896425"/>
          </a:xfrm>
          <a:prstGeom prst="rect">
            <a:avLst/>
          </a:prstGeom>
        </p:spPr>
      </p:pic>
      <p:pic>
        <p:nvPicPr>
          <p:cNvPr id="39" name="Graphic 24" descr="User">
            <a:extLst>
              <a:ext uri="{FF2B5EF4-FFF2-40B4-BE49-F238E27FC236}">
                <a16:creationId xmlns:a16="http://schemas.microsoft.com/office/drawing/2014/main" id="{D6969A84-81C3-4201-99CB-F9140C1FC0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53593" y="2380607"/>
            <a:ext cx="501126" cy="501126"/>
          </a:xfrm>
          <a:prstGeom prst="rect">
            <a:avLst/>
          </a:prstGeom>
        </p:spPr>
      </p:pic>
      <p:pic>
        <p:nvPicPr>
          <p:cNvPr id="40" name="Graphic 26" descr="User">
            <a:extLst>
              <a:ext uri="{FF2B5EF4-FFF2-40B4-BE49-F238E27FC236}">
                <a16:creationId xmlns:a16="http://schemas.microsoft.com/office/drawing/2014/main" id="{3F047C51-ECCA-464F-8AE9-253EEF9BFDF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12666" y="2380606"/>
            <a:ext cx="501126" cy="501126"/>
          </a:xfrm>
          <a:prstGeom prst="rect">
            <a:avLst/>
          </a:prstGeom>
        </p:spPr>
      </p:pic>
      <p:sp>
        <p:nvSpPr>
          <p:cNvPr id="41" name="TextBox 35">
            <a:extLst>
              <a:ext uri="{FF2B5EF4-FFF2-40B4-BE49-F238E27FC236}">
                <a16:creationId xmlns:a16="http://schemas.microsoft.com/office/drawing/2014/main" id="{9C8F2648-D306-4690-9D85-EB3E3E1CA71A}"/>
              </a:ext>
            </a:extLst>
          </p:cNvPr>
          <p:cNvSpPr txBox="1"/>
          <p:nvPr/>
        </p:nvSpPr>
        <p:spPr>
          <a:xfrm>
            <a:off x="8187144" y="2631169"/>
            <a:ext cx="135148" cy="3017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96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1</a:t>
            </a:r>
          </a:p>
        </p:txBody>
      </p:sp>
      <p:sp>
        <p:nvSpPr>
          <p:cNvPr id="42" name="TextBox 37">
            <a:extLst>
              <a:ext uri="{FF2B5EF4-FFF2-40B4-BE49-F238E27FC236}">
                <a16:creationId xmlns:a16="http://schemas.microsoft.com/office/drawing/2014/main" id="{70251B34-C9BA-48BD-918A-871615D3741D}"/>
              </a:ext>
            </a:extLst>
          </p:cNvPr>
          <p:cNvSpPr txBox="1"/>
          <p:nvPr/>
        </p:nvSpPr>
        <p:spPr>
          <a:xfrm>
            <a:off x="9046218" y="2642649"/>
            <a:ext cx="135148" cy="3017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96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3</a:t>
            </a:r>
          </a:p>
        </p:txBody>
      </p:sp>
      <p:pic>
        <p:nvPicPr>
          <p:cNvPr id="43" name="Graphic 25" descr="User">
            <a:extLst>
              <a:ext uri="{FF2B5EF4-FFF2-40B4-BE49-F238E27FC236}">
                <a16:creationId xmlns:a16="http://schemas.microsoft.com/office/drawing/2014/main" id="{5FB6951A-9F38-410F-86E3-2753F13F1E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73399" y="1854859"/>
            <a:ext cx="501126" cy="501126"/>
          </a:xfrm>
          <a:prstGeom prst="rect">
            <a:avLst/>
          </a:prstGeom>
        </p:spPr>
      </p:pic>
      <p:sp>
        <p:nvSpPr>
          <p:cNvPr id="44" name="TextBox 36">
            <a:extLst>
              <a:ext uri="{FF2B5EF4-FFF2-40B4-BE49-F238E27FC236}">
                <a16:creationId xmlns:a16="http://schemas.microsoft.com/office/drawing/2014/main" id="{7DDC254B-617A-4FBA-9102-7E2D5B2BAAFA}"/>
              </a:ext>
            </a:extLst>
          </p:cNvPr>
          <p:cNvSpPr txBox="1"/>
          <p:nvPr/>
        </p:nvSpPr>
        <p:spPr>
          <a:xfrm>
            <a:off x="8206951" y="2129058"/>
            <a:ext cx="135148" cy="3017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96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11669922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000"/>
                            </p:stCondLst>
                            <p:childTnLst>
                              <p:par>
                                <p:cTn id="6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32" grpId="0"/>
      <p:bldP spid="33" grpId="0"/>
      <p:bldP spid="34" grpId="0"/>
      <p:bldP spid="35" grpId="0"/>
      <p:bldP spid="41" grpId="0"/>
      <p:bldP spid="42" grpId="0"/>
      <p:bldP spid="4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959BA4-3512-4572-B44B-E0742571D8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10554855" cy="372410"/>
          </a:xfrm>
        </p:spPr>
        <p:txBody>
          <a:bodyPr/>
          <a:lstStyle/>
          <a:p>
            <a:r>
              <a:rPr lang="en-US" sz="2800" dirty="0"/>
              <a:t>Breadth Mode Deployments:</a:t>
            </a:r>
            <a:br>
              <a:rPr lang="en-US" dirty="0"/>
            </a:br>
            <a:r>
              <a:rPr lang="en-US" sz="1600" dirty="0">
                <a:latin typeface="Arial Nova" panose="020B0604020202020204" pitchFamily="34" charset="0"/>
              </a:rPr>
              <a:t>Set-</a:t>
            </a:r>
            <a:r>
              <a:rPr lang="en-US" sz="1600" dirty="0" err="1">
                <a:latin typeface="Arial Nova" panose="020B0604020202020204" pitchFamily="34" charset="0"/>
              </a:rPr>
              <a:t>RdsHostPool</a:t>
            </a:r>
            <a:r>
              <a:rPr lang="en-US" sz="1600" dirty="0">
                <a:latin typeface="Arial Nova" panose="020B0604020202020204" pitchFamily="34" charset="0"/>
              </a:rPr>
              <a:t> [-</a:t>
            </a:r>
            <a:r>
              <a:rPr lang="en-US" sz="1600" dirty="0" err="1">
                <a:latin typeface="Arial Nova" panose="020B0604020202020204" pitchFamily="34" charset="0"/>
              </a:rPr>
              <a:t>TenantName</a:t>
            </a:r>
            <a:r>
              <a:rPr lang="en-US" sz="1600" dirty="0">
                <a:latin typeface="Arial Nova" panose="020B0604020202020204" pitchFamily="34" charset="0"/>
              </a:rPr>
              <a:t>] &lt;string&gt; [-Name] &lt;string&gt; </a:t>
            </a:r>
            <a:r>
              <a:rPr lang="en-US" sz="1600" dirty="0">
                <a:highlight>
                  <a:srgbClr val="FFFF00"/>
                </a:highlight>
                <a:latin typeface="Arial Nova" panose="020B0604020202020204" pitchFamily="34" charset="0"/>
              </a:rPr>
              <a:t>[-</a:t>
            </a:r>
            <a:r>
              <a:rPr lang="en-US" sz="1600" dirty="0" err="1">
                <a:highlight>
                  <a:srgbClr val="FFFF00"/>
                </a:highlight>
                <a:latin typeface="Arial Nova" panose="020B0604020202020204" pitchFamily="34" charset="0"/>
              </a:rPr>
              <a:t>BreadthFirstLoadBalancer</a:t>
            </a:r>
            <a:r>
              <a:rPr lang="en-US" sz="1600" dirty="0">
                <a:highlight>
                  <a:srgbClr val="FFFF00"/>
                </a:highlight>
                <a:latin typeface="Arial Nova" panose="020B0604020202020204" pitchFamily="34" charset="0"/>
              </a:rPr>
              <a:t>] </a:t>
            </a:r>
            <a:r>
              <a:rPr lang="en-US" sz="1600" dirty="0">
                <a:latin typeface="Arial Nova" panose="020B0604020202020204" pitchFamily="34" charset="0"/>
              </a:rPr>
              <a:t>[-</a:t>
            </a:r>
            <a:r>
              <a:rPr lang="en-US" sz="1600" dirty="0" err="1">
                <a:latin typeface="Arial Nova" panose="020B0604020202020204" pitchFamily="34" charset="0"/>
              </a:rPr>
              <a:t>MaxSessionlimit</a:t>
            </a:r>
            <a:r>
              <a:rPr lang="en-US" sz="1600" dirty="0">
                <a:latin typeface="Arial Nova" panose="020B0604020202020204" pitchFamily="34" charset="0"/>
              </a:rPr>
              <a:t> &lt;int&gt;] </a:t>
            </a:r>
            <a:r>
              <a:rPr lang="en-US" sz="1600" dirty="0"/>
              <a:t>	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pic>
        <p:nvPicPr>
          <p:cNvPr id="4" name="6 - With Breadth">
            <a:hlinkClick r:id="" action="ppaction://media"/>
            <a:extLst>
              <a:ext uri="{FF2B5EF4-FFF2-40B4-BE49-F238E27FC236}">
                <a16:creationId xmlns:a16="http://schemas.microsoft.com/office/drawing/2014/main" id="{C770582F-38A5-4EFC-AE56-8D53D3EDE53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3858030" y="1562793"/>
            <a:ext cx="8054107" cy="453043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5B38B4B-B121-4443-81E6-0D811543FA28}"/>
              </a:ext>
            </a:extLst>
          </p:cNvPr>
          <p:cNvSpPr txBox="1"/>
          <p:nvPr/>
        </p:nvSpPr>
        <p:spPr>
          <a:xfrm>
            <a:off x="656705" y="1562793"/>
            <a:ext cx="2951019" cy="4438138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User will land on the session host that has the least number of connected user sessions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b="1" i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chieves optimal distribution across all available Hosts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290802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001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7 - With Depth">
            <a:hlinkClick r:id="" action="ppaction://media"/>
            <a:extLst>
              <a:ext uri="{FF2B5EF4-FFF2-40B4-BE49-F238E27FC236}">
                <a16:creationId xmlns:a16="http://schemas.microsoft.com/office/drawing/2014/main" id="{625C1722-3D60-4BE5-9E35-34E55E3FC74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3858032" y="1562793"/>
            <a:ext cx="8054106" cy="453043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AE3B0C8-288E-4AFC-B867-8D4FC0F779EE}"/>
              </a:ext>
            </a:extLst>
          </p:cNvPr>
          <p:cNvSpPr txBox="1"/>
          <p:nvPr/>
        </p:nvSpPr>
        <p:spPr>
          <a:xfrm>
            <a:off x="656705" y="1562793"/>
            <a:ext cx="2951019" cy="469359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User will land on the session host that has the highest number of user sessions (autoscale adds nodes based on demand)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b="1" i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Used in concert w/AutoScale Scripts to achieve siloed  distributio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A86A809-7A9F-4CCF-94A7-7CC39EAE79E1}"/>
              </a:ext>
            </a:extLst>
          </p:cNvPr>
          <p:cNvSpPr txBox="1">
            <a:spLocks/>
          </p:cNvSpPr>
          <p:nvPr/>
        </p:nvSpPr>
        <p:spPr>
          <a:xfrm>
            <a:off x="584200" y="457200"/>
            <a:ext cx="10554855" cy="372410"/>
          </a:xfrm>
          <a:prstGeom prst="rect">
            <a:avLst/>
          </a:prstGeom>
        </p:spPr>
        <p:txBody>
          <a:bodyPr vert="horz" wrap="square" lIns="0" tIns="64008" rIns="0" bIns="0" rtlCol="0" anchor="t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1200" cap="none" spc="0" baseline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sz="2800" dirty="0"/>
              <a:t>Depth Mode Deployments:</a:t>
            </a:r>
            <a:br>
              <a:rPr lang="en-US" dirty="0"/>
            </a:br>
            <a:r>
              <a:rPr lang="en-US" sz="1600" dirty="0">
                <a:latin typeface="Arial Nova" panose="020B0604020202020204" pitchFamily="34" charset="0"/>
              </a:rPr>
              <a:t>Set-</a:t>
            </a:r>
            <a:r>
              <a:rPr lang="en-US" sz="1600" dirty="0" err="1">
                <a:latin typeface="Arial Nova" panose="020B0604020202020204" pitchFamily="34" charset="0"/>
              </a:rPr>
              <a:t>RdsHostPool</a:t>
            </a:r>
            <a:r>
              <a:rPr lang="en-US" sz="1600" dirty="0">
                <a:latin typeface="Arial Nova" panose="020B0604020202020204" pitchFamily="34" charset="0"/>
              </a:rPr>
              <a:t> [-</a:t>
            </a:r>
            <a:r>
              <a:rPr lang="en-US" sz="1600" dirty="0" err="1">
                <a:latin typeface="Arial Nova" panose="020B0604020202020204" pitchFamily="34" charset="0"/>
              </a:rPr>
              <a:t>TenantName</a:t>
            </a:r>
            <a:r>
              <a:rPr lang="en-US" sz="1600" dirty="0">
                <a:latin typeface="Arial Nova" panose="020B0604020202020204" pitchFamily="34" charset="0"/>
              </a:rPr>
              <a:t>] &lt;string&gt; [-Name] &lt;string&gt; </a:t>
            </a:r>
            <a:r>
              <a:rPr lang="en-US" sz="1600" dirty="0">
                <a:highlight>
                  <a:srgbClr val="FFFF00"/>
                </a:highlight>
                <a:latin typeface="Arial Nova" panose="020B0604020202020204" pitchFamily="34" charset="0"/>
              </a:rPr>
              <a:t>[-</a:t>
            </a:r>
            <a:r>
              <a:rPr lang="en-US" sz="1600" dirty="0" err="1">
                <a:highlight>
                  <a:srgbClr val="FFFF00"/>
                </a:highlight>
                <a:latin typeface="Arial Nova" panose="020B0604020202020204" pitchFamily="34" charset="0"/>
              </a:rPr>
              <a:t>DepthFirstLoadBalancer</a:t>
            </a:r>
            <a:r>
              <a:rPr lang="en-US" sz="1600" dirty="0">
                <a:highlight>
                  <a:srgbClr val="FFFF00"/>
                </a:highlight>
                <a:latin typeface="Arial Nova" panose="020B0604020202020204" pitchFamily="34" charset="0"/>
              </a:rPr>
              <a:t>] </a:t>
            </a:r>
            <a:r>
              <a:rPr lang="en-US" sz="1600" dirty="0">
                <a:latin typeface="Arial Nova" panose="020B0604020202020204" pitchFamily="34" charset="0"/>
              </a:rPr>
              <a:t>-</a:t>
            </a:r>
            <a:r>
              <a:rPr lang="en-US" sz="1600" dirty="0" err="1">
                <a:latin typeface="Arial Nova" panose="020B0604020202020204" pitchFamily="34" charset="0"/>
              </a:rPr>
              <a:t>MaxSessionlimit</a:t>
            </a:r>
            <a:r>
              <a:rPr lang="en-US" sz="1600" dirty="0">
                <a:latin typeface="Arial Nova" panose="020B0604020202020204" pitchFamily="34" charset="0"/>
              </a:rPr>
              <a:t> &lt;int&gt;  </a:t>
            </a:r>
            <a:r>
              <a:rPr lang="en-US" sz="1600" dirty="0"/>
              <a:t>	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800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770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669FC6-A339-42F6-B680-D7485BF37E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wapping in a New Gold Image for a Host Poo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DA3B75-2960-4185-A419-6B6400E08E1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4198072"/>
          </a:xfrm>
        </p:spPr>
        <p:txBody>
          <a:bodyPr/>
          <a:lstStyle/>
          <a:p>
            <a:r>
              <a:rPr lang="en-US" dirty="0"/>
              <a:t>Use this GitHub Template:  </a:t>
            </a:r>
            <a:r>
              <a:rPr lang="en-US" dirty="0">
                <a:hlinkClick r:id="rId2"/>
              </a:rPr>
              <a:t>https://github.com/Azure/RDS-Templates/tree/master/wvd-templates/Update%20existing%20WVD%20host%20pool</a:t>
            </a:r>
            <a:endParaRPr lang="en-US" dirty="0"/>
          </a:p>
          <a:p>
            <a:r>
              <a:rPr lang="en-US" dirty="0"/>
              <a:t>Removes or stops old WVD Hostpool session hosts</a:t>
            </a:r>
          </a:p>
          <a:p>
            <a:r>
              <a:rPr lang="en-US" dirty="0"/>
              <a:t>Creates new VMs &amp; registers them to WVD host pool</a:t>
            </a:r>
          </a:p>
          <a:p>
            <a:r>
              <a:rPr lang="en-US" dirty="0" err="1"/>
              <a:t>ActionOnPreviousVirtualMachines</a:t>
            </a:r>
            <a:r>
              <a:rPr lang="en-US" dirty="0"/>
              <a:t> Parameter:</a:t>
            </a:r>
          </a:p>
          <a:p>
            <a:pPr lvl="1"/>
            <a:r>
              <a:rPr lang="en-US" dirty="0"/>
              <a:t>Delete - previous session host VMs will be deleted, along with the associated network interfaces and OS disk</a:t>
            </a:r>
          </a:p>
          <a:p>
            <a:pPr lvl="1"/>
            <a:r>
              <a:rPr lang="en-US" dirty="0"/>
              <a:t>Deallocate - Azure VMs (hosts) will be removed from HostPool and simply de-allocated in Azure, allowing you to preserve or connect to them later</a:t>
            </a:r>
          </a:p>
        </p:txBody>
      </p:sp>
    </p:spTree>
    <p:extLst>
      <p:ext uri="{BB962C8B-B14F-4D97-AF65-F5344CB8AC3E}">
        <p14:creationId xmlns:p14="http://schemas.microsoft.com/office/powerpoint/2010/main" val="2452906122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CF52DF-534F-4259-BBE4-213A583AB0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1107996"/>
          </a:xfrm>
        </p:spPr>
        <p:txBody>
          <a:bodyPr/>
          <a:lstStyle/>
          <a:p>
            <a:r>
              <a:rPr lang="en-US" dirty="0"/>
              <a:t>Make the banner for 'Access local resources' go away...</a:t>
            </a:r>
            <a:br>
              <a:rPr lang="en-US" dirty="0"/>
            </a:br>
            <a:endParaRPr lang="en-US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EE299F6-6B06-41C6-9883-A0F5C0EADE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8413" y="1310151"/>
            <a:ext cx="11541942" cy="3508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EF6950"/>
                </a:solidFill>
                <a:effectLst/>
                <a:latin typeface="Lucida Console" panose="020B0609040504020204" pitchFamily="49" charset="0"/>
                <a:cs typeface="Calibri" panose="020F0502020204030204" pitchFamily="34" charset="0"/>
              </a:rPr>
              <a:t>$properties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6888C9"/>
                </a:solidFill>
                <a:effectLst/>
                <a:latin typeface="Lucida Console" panose="020B0609040504020204" pitchFamily="49" charset="0"/>
                <a:cs typeface="Calibri" panose="020F0502020204030204" pitchFamily="34" charset="0"/>
              </a:rPr>
              <a:t>=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Lucida Console" panose="020B0609040504020204" pitchFamily="49" charset="0"/>
                <a:cs typeface="Calibri" panose="020F0502020204030204" pitchFamily="34" charset="0"/>
              </a:rPr>
              <a:t>"redirectprinters:i:0;redirectclipboard:i:0"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6888C9"/>
                </a:solidFill>
                <a:effectLst/>
                <a:latin typeface="Lucida Console" panose="020B0609040504020204" pitchFamily="49" charset="0"/>
                <a:cs typeface="Calibri" panose="020F0502020204030204" pitchFamily="34" charset="0"/>
              </a:rPr>
              <a:t>Set-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6888C9"/>
                </a:solidFill>
                <a:effectLst/>
                <a:latin typeface="Lucida Console" panose="020B0609040504020204" pitchFamily="49" charset="0"/>
                <a:cs typeface="Calibri" panose="020F0502020204030204" pitchFamily="34" charset="0"/>
              </a:rPr>
              <a:t>RdsHostPool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Lucida Console" panose="020B0609040504020204" pitchFamily="49" charset="0"/>
                <a:cs typeface="Calibri" panose="020F0502020204030204" pitchFamily="34" charset="0"/>
              </a:rPr>
              <a:t>-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Lucida Console" panose="020B0609040504020204" pitchFamily="49" charset="0"/>
                <a:cs typeface="Calibri" panose="020F0502020204030204" pitchFamily="34" charset="0"/>
              </a:rPr>
              <a:t>TenantName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6888C9"/>
                </a:solidFill>
                <a:effectLst/>
                <a:latin typeface="Lucida Console" panose="020B0609040504020204" pitchFamily="49" charset="0"/>
                <a:cs typeface="Calibri" panose="020F0502020204030204" pitchFamily="34" charset="0"/>
              </a:rPr>
              <a:t>&lt;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6888C9"/>
                </a:solidFill>
                <a:effectLst/>
                <a:latin typeface="Lucida Console" panose="020B0609040504020204" pitchFamily="49" charset="0"/>
                <a:cs typeface="Calibri" panose="020F0502020204030204" pitchFamily="34" charset="0"/>
              </a:rPr>
              <a:t>tenantname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6888C9"/>
                </a:solidFill>
                <a:effectLst/>
                <a:latin typeface="Lucida Console" panose="020B0609040504020204" pitchFamily="49" charset="0"/>
                <a:cs typeface="Calibri" panose="020F0502020204030204" pitchFamily="34" charset="0"/>
              </a:rPr>
              <a:t>&gt;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Lucida Console" panose="020B0609040504020204" pitchFamily="49" charset="0"/>
                <a:cs typeface="Calibri" panose="020F0502020204030204" pitchFamily="34" charset="0"/>
              </a:rPr>
              <a:t>-Name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6888C9"/>
                </a:solidFill>
                <a:effectLst/>
                <a:latin typeface="Lucida Console" panose="020B0609040504020204" pitchFamily="49" charset="0"/>
                <a:cs typeface="Calibri" panose="020F0502020204030204" pitchFamily="34" charset="0"/>
              </a:rPr>
              <a:t>&lt;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6888C9"/>
                </a:solidFill>
                <a:effectLst/>
                <a:latin typeface="Lucida Console" panose="020B0609040504020204" pitchFamily="49" charset="0"/>
                <a:cs typeface="Calibri" panose="020F0502020204030204" pitchFamily="34" charset="0"/>
              </a:rPr>
              <a:t>hostpoolname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6888C9"/>
                </a:solidFill>
                <a:effectLst/>
                <a:latin typeface="Lucida Console" panose="020B0609040504020204" pitchFamily="49" charset="0"/>
                <a:cs typeface="Calibri" panose="020F0502020204030204" pitchFamily="34" charset="0"/>
              </a:rPr>
              <a:t>&gt;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Lucida Console" panose="020B0609040504020204" pitchFamily="49" charset="0"/>
                <a:cs typeface="Calibri" panose="020F0502020204030204" pitchFamily="34" charset="0"/>
              </a:rPr>
              <a:t>-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Lucida Console" panose="020B0609040504020204" pitchFamily="49" charset="0"/>
                <a:cs typeface="Calibri" panose="020F0502020204030204" pitchFamily="34" charset="0"/>
              </a:rPr>
              <a:t>CustomRdpProperty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EF6950"/>
                </a:solidFill>
                <a:effectLst/>
                <a:latin typeface="Lucida Console" panose="020B0609040504020204" pitchFamily="49" charset="0"/>
                <a:cs typeface="Calibri" panose="020F0502020204030204" pitchFamily="34" charset="0"/>
              </a:rPr>
              <a:t>$properties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 </a:t>
            </a:r>
          </a:p>
          <a:p>
            <a:pPr marL="0" marR="0" lvl="0" indent="0" algn="l" defTabSz="914400" rtl="0" eaLnBrk="0" fontAlgn="b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 </a:t>
            </a:r>
            <a:r>
              <a:rPr kumimoji="0" lang="en-US" altLang="en-US" sz="15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           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9700" name="Picture 4">
            <a:hlinkClick r:id="rId2"/>
            <a:extLst>
              <a:ext uri="{FF2B5EF4-FFF2-40B4-BE49-F238E27FC236}">
                <a16:creationId xmlns:a16="http://schemas.microsoft.com/office/drawing/2014/main" id="{CB6175CC-9A1B-4DBA-82D1-6E55E597D4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6889" y="2631988"/>
            <a:ext cx="7962613" cy="3619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0285694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C0B1CF-1686-45E7-AAAB-1CB6FA5B1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 WVD VM Time Zone via GPO &amp; Disable AAD Joi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091689-697B-449B-9F67-11F4C2CB70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3773697" cy="4358116"/>
          </a:xfrm>
        </p:spPr>
        <p:txBody>
          <a:bodyPr/>
          <a:lstStyle/>
          <a:p>
            <a:r>
              <a:rPr lang="en-US" sz="2400" dirty="0"/>
              <a:t>Reference: </a:t>
            </a:r>
            <a:r>
              <a:rPr lang="en-US" sz="2400" dirty="0">
                <a:hlinkClick r:id="rId2"/>
              </a:rPr>
              <a:t>https://dennisspan.com/configuring-the-time-zone-and-code-page-with-group-policy/</a:t>
            </a:r>
            <a:endParaRPr lang="en-US" sz="2400" dirty="0"/>
          </a:p>
          <a:p>
            <a:r>
              <a:rPr lang="en-US" sz="2400" dirty="0"/>
              <a:t>HKLM\SOFTWARE\Policies\Microsoft\Windows\</a:t>
            </a:r>
            <a:r>
              <a:rPr lang="en-US" sz="2400" dirty="0" err="1"/>
              <a:t>WorkplaceJoin</a:t>
            </a:r>
            <a:endParaRPr lang="en-US" sz="2400" dirty="0"/>
          </a:p>
          <a:p>
            <a:r>
              <a:rPr lang="en-US" sz="2400" dirty="0"/>
              <a:t>REG_DWORD </a:t>
            </a:r>
            <a:r>
              <a:rPr lang="en-US" sz="2400" dirty="0" err="1"/>
              <a:t>BlockAADWorkplaceJoin</a:t>
            </a:r>
            <a:r>
              <a:rPr lang="en-US" sz="2400" dirty="0"/>
              <a:t>=1</a:t>
            </a:r>
          </a:p>
          <a:p>
            <a:endParaRPr lang="en-US" dirty="0"/>
          </a:p>
        </p:txBody>
      </p:sp>
      <p:pic>
        <p:nvPicPr>
          <p:cNvPr id="29700" name="Picture 4" descr="Configuring the time zone and code page with Group Policy - Group Policy Preference collection item final">
            <a:extLst>
              <a:ext uri="{FF2B5EF4-FFF2-40B4-BE49-F238E27FC236}">
                <a16:creationId xmlns:a16="http://schemas.microsoft.com/office/drawing/2014/main" id="{E879BC96-DCFE-40F1-820E-00E66D86A9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9052" y="1866946"/>
            <a:ext cx="7352696" cy="411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7360365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681E48-1110-4C5D-BADB-FD67E1239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 dirty="0"/>
              <a:t>Allow iOS and macOS to log in with email </a:t>
            </a:r>
            <a:r>
              <a:rPr lang="en-US" sz="1800" dirty="0"/>
              <a:t>(rather than the full URL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C3A62E-F629-4EF1-95E0-439221084E2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1809726"/>
          </a:xfrm>
        </p:spPr>
        <p:txBody>
          <a:bodyPr/>
          <a:lstStyle/>
          <a:p>
            <a:r>
              <a:rPr lang="en-US" dirty="0">
                <a:hlinkClick r:id="rId2"/>
              </a:rPr>
              <a:t>https://docs.microsoft.com/en-us/windows-server/remote/remote-desktop-services/rds-email-discovery</a:t>
            </a:r>
            <a:r>
              <a:rPr lang="en-US" dirty="0"/>
              <a:t> </a:t>
            </a:r>
          </a:p>
          <a:p>
            <a:r>
              <a:rPr lang="en-US" dirty="0"/>
              <a:t>Set up </a:t>
            </a:r>
            <a:r>
              <a:rPr lang="en-US" b="1" dirty="0"/>
              <a:t>_</a:t>
            </a:r>
            <a:r>
              <a:rPr lang="en-US" b="1" dirty="0" err="1"/>
              <a:t>msradc</a:t>
            </a:r>
            <a:r>
              <a:rPr lang="en-US" b="1" dirty="0"/>
              <a:t> </a:t>
            </a:r>
            <a:r>
              <a:rPr lang="en-US" dirty="0"/>
              <a:t>txt record in DNS pointing to our rdweb.wvd.microsoft.com </a:t>
            </a:r>
            <a:r>
              <a:rPr lang="en-US" dirty="0" err="1"/>
              <a:t>u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6706408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E307D465-5D56-0B41-96C4-901FFC2422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mizing Costs – When to Use Reserved Instanc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AFD9358-0F0F-DD41-8430-DD40142A33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3787" y="4233332"/>
            <a:ext cx="3613535" cy="1797415"/>
          </a:xfrm>
        </p:spPr>
        <p:txBody>
          <a:bodyPr/>
          <a:lstStyle/>
          <a:p>
            <a:pPr marL="0" indent="0" algn="ctr">
              <a:buNone/>
            </a:pPr>
            <a:r>
              <a:rPr lang="en-US"/>
              <a:t>Use Azure Automation to optimize multi-session and single-session pooled desktops</a:t>
            </a:r>
          </a:p>
          <a:p>
            <a:pPr marL="0" indent="0" algn="ctr">
              <a:buNone/>
            </a:pPr>
            <a:endParaRPr lang="en-US"/>
          </a:p>
          <a:p>
            <a:pPr marL="0" indent="0" algn="ctr">
              <a:buNone/>
            </a:pPr>
            <a:r>
              <a:rPr lang="en-US"/>
              <a:t>Predictable usage patterns </a:t>
            </a:r>
          </a:p>
          <a:p>
            <a:pPr marL="448193" lvl="3" indent="-112048"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0E6961-7BD6-4512-B5E7-2225A2CDB1C7}"/>
              </a:ext>
            </a:extLst>
          </p:cNvPr>
          <p:cNvSpPr/>
          <p:nvPr/>
        </p:nvSpPr>
        <p:spPr>
          <a:xfrm>
            <a:off x="5489681" y="1367182"/>
            <a:ext cx="6087710" cy="39224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lvl="0" algn="ctr"/>
            <a:r>
              <a:rPr lang="en-US" sz="1961" b="1">
                <a:solidFill>
                  <a:srgbClr val="000000"/>
                </a:solidFill>
              </a:rPr>
              <a:t>Azure Reserved VM Instances (RI) </a:t>
            </a:r>
            <a:endParaRPr lang="en-US" sz="1961" b="1">
              <a:solidFill>
                <a:srgbClr val="000000"/>
              </a:solidFill>
              <a:cs typeface="Segoe UI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DC8BB9C-3A3F-4D99-9423-7E5F20315C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9517" y="2724689"/>
            <a:ext cx="1042075" cy="104207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E793BF6-9BB3-42B7-BFD0-8A4F5894B401}"/>
              </a:ext>
            </a:extLst>
          </p:cNvPr>
          <p:cNvSpPr/>
          <p:nvPr/>
        </p:nvSpPr>
        <p:spPr>
          <a:xfrm>
            <a:off x="643787" y="1367372"/>
            <a:ext cx="3613535" cy="39224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1961" b="1">
                <a:solidFill>
                  <a:srgbClr val="000000"/>
                </a:solidFill>
                <a:cs typeface="Segoe UI"/>
              </a:rPr>
              <a:t>Pay-As-You-Go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E1CF632-F332-4F5D-AE94-E0D38E010B31}"/>
              </a:ext>
            </a:extLst>
          </p:cNvPr>
          <p:cNvGrpSpPr/>
          <p:nvPr/>
        </p:nvGrpSpPr>
        <p:grpSpPr>
          <a:xfrm>
            <a:off x="5196240" y="2326469"/>
            <a:ext cx="6302142" cy="3813725"/>
            <a:chOff x="5300434" y="2452145"/>
            <a:chExt cx="6428513" cy="3890198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7483C73-EBFA-4535-A71D-D942003690B0}"/>
                </a:ext>
              </a:extLst>
            </p:cNvPr>
            <p:cNvSpPr/>
            <p:nvPr/>
          </p:nvSpPr>
          <p:spPr>
            <a:xfrm>
              <a:off x="8951341" y="5413602"/>
              <a:ext cx="2777606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730">
                  <a:solidFill>
                    <a:srgbClr val="000000"/>
                  </a:solidFill>
                </a:rPr>
                <a:t>Ideal for</a:t>
              </a:r>
              <a:r>
                <a:rPr lang="en-US" sz="1730" b="1">
                  <a:solidFill>
                    <a:srgbClr val="000000"/>
                  </a:solidFill>
                </a:rPr>
                <a:t> </a:t>
              </a:r>
              <a:r>
                <a:rPr lang="en-US" sz="1730">
                  <a:solidFill>
                    <a:srgbClr val="000000"/>
                  </a:solidFill>
                </a:rPr>
                <a:t>session state retention and </a:t>
              </a:r>
            </a:p>
            <a:p>
              <a:pPr lvl="0" algn="ctr"/>
              <a:r>
                <a:rPr lang="en-US" sz="1730">
                  <a:solidFill>
                    <a:srgbClr val="000000"/>
                  </a:solidFill>
                </a:rPr>
                <a:t>Always-on experience</a:t>
              </a:r>
              <a:endParaRPr lang="en-US" sz="1730"/>
            </a:p>
          </p:txBody>
        </p:sp>
        <p:grpSp>
          <p:nvGrpSpPr>
            <p:cNvPr id="69" name="Group 153">
              <a:extLst>
                <a:ext uri="{FF2B5EF4-FFF2-40B4-BE49-F238E27FC236}">
                  <a16:creationId xmlns:a16="http://schemas.microsoft.com/office/drawing/2014/main" id="{E22835DB-0B9D-4A9C-9510-40DF08CF1DF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160546" y="2939058"/>
              <a:ext cx="412150" cy="411859"/>
              <a:chOff x="2501" y="790"/>
              <a:chExt cx="2832" cy="2830"/>
            </a:xfrm>
          </p:grpSpPr>
          <p:sp>
            <p:nvSpPr>
              <p:cNvPr id="48" name="Oval 154">
                <a:extLst>
                  <a:ext uri="{FF2B5EF4-FFF2-40B4-BE49-F238E27FC236}">
                    <a16:creationId xmlns:a16="http://schemas.microsoft.com/office/drawing/2014/main" id="{8195011F-0D1D-4D83-BF17-641620A891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1" y="790"/>
                <a:ext cx="2832" cy="2830"/>
              </a:xfrm>
              <a:prstGeom prst="ellipse">
                <a:avLst/>
              </a:prstGeom>
              <a:solidFill>
                <a:srgbClr val="F250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49" name="Freeform 155">
                <a:extLst>
                  <a:ext uri="{FF2B5EF4-FFF2-40B4-BE49-F238E27FC236}">
                    <a16:creationId xmlns:a16="http://schemas.microsoft.com/office/drawing/2014/main" id="{6A504E5D-3225-4EA7-9163-7176E6CB88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4" y="2569"/>
                <a:ext cx="2256" cy="1051"/>
              </a:xfrm>
              <a:custGeom>
                <a:avLst/>
                <a:gdLst>
                  <a:gd name="T0" fmla="*/ 493 w 956"/>
                  <a:gd name="T1" fmla="*/ 446 h 446"/>
                  <a:gd name="T2" fmla="*/ 956 w 956"/>
                  <a:gd name="T3" fmla="*/ 228 h 446"/>
                  <a:gd name="T4" fmla="*/ 759 w 956"/>
                  <a:gd name="T5" fmla="*/ 84 h 446"/>
                  <a:gd name="T6" fmla="*/ 582 w 956"/>
                  <a:gd name="T7" fmla="*/ 0 h 446"/>
                  <a:gd name="T8" fmla="*/ 291 w 956"/>
                  <a:gd name="T9" fmla="*/ 63 h 446"/>
                  <a:gd name="T10" fmla="*/ 0 w 956"/>
                  <a:gd name="T11" fmla="*/ 188 h 446"/>
                  <a:gd name="T12" fmla="*/ 493 w 956"/>
                  <a:gd name="T13" fmla="*/ 446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56" h="446">
                    <a:moveTo>
                      <a:pt x="493" y="446"/>
                    </a:moveTo>
                    <a:cubicBezTo>
                      <a:pt x="679" y="446"/>
                      <a:pt x="846" y="361"/>
                      <a:pt x="956" y="228"/>
                    </a:cubicBezTo>
                    <a:cubicBezTo>
                      <a:pt x="912" y="172"/>
                      <a:pt x="816" y="110"/>
                      <a:pt x="759" y="84"/>
                    </a:cubicBezTo>
                    <a:cubicBezTo>
                      <a:pt x="582" y="0"/>
                      <a:pt x="582" y="0"/>
                      <a:pt x="582" y="0"/>
                    </a:cubicBezTo>
                    <a:cubicBezTo>
                      <a:pt x="291" y="63"/>
                      <a:pt x="291" y="63"/>
                      <a:pt x="291" y="63"/>
                    </a:cubicBezTo>
                    <a:cubicBezTo>
                      <a:pt x="225" y="78"/>
                      <a:pt x="87" y="136"/>
                      <a:pt x="0" y="188"/>
                    </a:cubicBezTo>
                    <a:cubicBezTo>
                      <a:pt x="108" y="344"/>
                      <a:pt x="289" y="446"/>
                      <a:pt x="493" y="446"/>
                    </a:cubicBezTo>
                    <a:close/>
                  </a:path>
                </a:pathLst>
              </a:custGeom>
              <a:solidFill>
                <a:srgbClr val="9393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50" name="Freeform 156">
                <a:extLst>
                  <a:ext uri="{FF2B5EF4-FFF2-40B4-BE49-F238E27FC236}">
                    <a16:creationId xmlns:a16="http://schemas.microsoft.com/office/drawing/2014/main" id="{0F6D214C-5807-495C-91FD-078F10387E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6" y="2904"/>
                <a:ext cx="651" cy="617"/>
              </a:xfrm>
              <a:custGeom>
                <a:avLst/>
                <a:gdLst>
                  <a:gd name="T0" fmla="*/ 276 w 276"/>
                  <a:gd name="T1" fmla="*/ 150 h 262"/>
                  <a:gd name="T2" fmla="*/ 178 w 276"/>
                  <a:gd name="T3" fmla="*/ 158 h 262"/>
                  <a:gd name="T4" fmla="*/ 229 w 276"/>
                  <a:gd name="T5" fmla="*/ 0 h 262"/>
                  <a:gd name="T6" fmla="*/ 0 w 276"/>
                  <a:gd name="T7" fmla="*/ 115 h 262"/>
                  <a:gd name="T8" fmla="*/ 216 w 276"/>
                  <a:gd name="T9" fmla="*/ 262 h 262"/>
                  <a:gd name="T10" fmla="*/ 176 w 276"/>
                  <a:gd name="T11" fmla="*/ 216 h 262"/>
                  <a:gd name="T12" fmla="*/ 276 w 276"/>
                  <a:gd name="T13" fmla="*/ 15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6" h="262">
                    <a:moveTo>
                      <a:pt x="276" y="150"/>
                    </a:moveTo>
                    <a:cubicBezTo>
                      <a:pt x="178" y="158"/>
                      <a:pt x="178" y="158"/>
                      <a:pt x="178" y="158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140" y="18"/>
                      <a:pt x="57" y="67"/>
                      <a:pt x="0" y="115"/>
                    </a:cubicBezTo>
                    <a:cubicBezTo>
                      <a:pt x="60" y="179"/>
                      <a:pt x="134" y="229"/>
                      <a:pt x="216" y="262"/>
                    </a:cubicBezTo>
                    <a:cubicBezTo>
                      <a:pt x="191" y="234"/>
                      <a:pt x="176" y="216"/>
                      <a:pt x="176" y="216"/>
                    </a:cubicBezTo>
                    <a:lnTo>
                      <a:pt x="276" y="150"/>
                    </a:lnTo>
                    <a:close/>
                  </a:path>
                </a:pathLst>
              </a:custGeom>
              <a:solidFill>
                <a:srgbClr val="73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51" name="Freeform 157">
                <a:extLst>
                  <a:ext uri="{FF2B5EF4-FFF2-40B4-BE49-F238E27FC236}">
                    <a16:creationId xmlns:a16="http://schemas.microsoft.com/office/drawing/2014/main" id="{90C15303-889F-40D6-8AC6-25986163F6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5" y="2854"/>
                <a:ext cx="517" cy="639"/>
              </a:xfrm>
              <a:custGeom>
                <a:avLst/>
                <a:gdLst>
                  <a:gd name="T0" fmla="*/ 219 w 219"/>
                  <a:gd name="T1" fmla="*/ 144 h 271"/>
                  <a:gd name="T2" fmla="*/ 0 w 219"/>
                  <a:gd name="T3" fmla="*/ 0 h 271"/>
                  <a:gd name="T4" fmla="*/ 72 w 219"/>
                  <a:gd name="T5" fmla="*/ 134 h 271"/>
                  <a:gd name="T6" fmla="*/ 7 w 219"/>
                  <a:gd name="T7" fmla="*/ 137 h 271"/>
                  <a:gd name="T8" fmla="*/ 83 w 219"/>
                  <a:gd name="T9" fmla="*/ 191 h 271"/>
                  <a:gd name="T10" fmla="*/ 39 w 219"/>
                  <a:gd name="T11" fmla="*/ 271 h 271"/>
                  <a:gd name="T12" fmla="*/ 219 w 219"/>
                  <a:gd name="T13" fmla="*/ 144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9" h="271">
                    <a:moveTo>
                      <a:pt x="219" y="144"/>
                    </a:moveTo>
                    <a:cubicBezTo>
                      <a:pt x="174" y="82"/>
                      <a:pt x="87" y="19"/>
                      <a:pt x="0" y="0"/>
                    </a:cubicBezTo>
                    <a:cubicBezTo>
                      <a:pt x="72" y="134"/>
                      <a:pt x="72" y="134"/>
                      <a:pt x="72" y="134"/>
                    </a:cubicBezTo>
                    <a:cubicBezTo>
                      <a:pt x="7" y="137"/>
                      <a:pt x="7" y="137"/>
                      <a:pt x="7" y="137"/>
                    </a:cubicBezTo>
                    <a:cubicBezTo>
                      <a:pt x="83" y="191"/>
                      <a:pt x="83" y="191"/>
                      <a:pt x="83" y="191"/>
                    </a:cubicBezTo>
                    <a:cubicBezTo>
                      <a:pt x="83" y="191"/>
                      <a:pt x="66" y="224"/>
                      <a:pt x="39" y="271"/>
                    </a:cubicBezTo>
                    <a:cubicBezTo>
                      <a:pt x="107" y="240"/>
                      <a:pt x="167" y="196"/>
                      <a:pt x="219" y="144"/>
                    </a:cubicBezTo>
                    <a:close/>
                  </a:path>
                </a:pathLst>
              </a:custGeom>
              <a:solidFill>
                <a:srgbClr val="73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52" name="Freeform 158">
                <a:extLst>
                  <a:ext uri="{FF2B5EF4-FFF2-40B4-BE49-F238E27FC236}">
                    <a16:creationId xmlns:a16="http://schemas.microsoft.com/office/drawing/2014/main" id="{14BDE27D-3C10-4177-AE7D-455DE58808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9" y="2717"/>
                <a:ext cx="693" cy="455"/>
              </a:xfrm>
              <a:custGeom>
                <a:avLst/>
                <a:gdLst>
                  <a:gd name="T0" fmla="*/ 0 w 693"/>
                  <a:gd name="T1" fmla="*/ 85 h 455"/>
                  <a:gd name="T2" fmla="*/ 122 w 693"/>
                  <a:gd name="T3" fmla="*/ 278 h 455"/>
                  <a:gd name="T4" fmla="*/ 441 w 693"/>
                  <a:gd name="T5" fmla="*/ 455 h 455"/>
                  <a:gd name="T6" fmla="*/ 693 w 693"/>
                  <a:gd name="T7" fmla="*/ 243 h 455"/>
                  <a:gd name="T8" fmla="*/ 679 w 693"/>
                  <a:gd name="T9" fmla="*/ 0 h 455"/>
                  <a:gd name="T10" fmla="*/ 0 w 693"/>
                  <a:gd name="T11" fmla="*/ 8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93" h="455">
                    <a:moveTo>
                      <a:pt x="0" y="85"/>
                    </a:moveTo>
                    <a:lnTo>
                      <a:pt x="122" y="278"/>
                    </a:lnTo>
                    <a:lnTo>
                      <a:pt x="441" y="455"/>
                    </a:lnTo>
                    <a:lnTo>
                      <a:pt x="693" y="243"/>
                    </a:lnTo>
                    <a:lnTo>
                      <a:pt x="679" y="0"/>
                    </a:lnTo>
                    <a:lnTo>
                      <a:pt x="0" y="85"/>
                    </a:lnTo>
                    <a:close/>
                  </a:path>
                </a:pathLst>
              </a:custGeom>
              <a:solidFill>
                <a:srgbClr val="AB84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53" name="Freeform 159">
                <a:extLst>
                  <a:ext uri="{FF2B5EF4-FFF2-40B4-BE49-F238E27FC236}">
                    <a16:creationId xmlns:a16="http://schemas.microsoft.com/office/drawing/2014/main" id="{D8C7593A-0104-4D2A-AAA1-6222C9EA17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6" y="2708"/>
                <a:ext cx="758" cy="912"/>
              </a:xfrm>
              <a:custGeom>
                <a:avLst/>
                <a:gdLst>
                  <a:gd name="T0" fmla="*/ 320 w 321"/>
                  <a:gd name="T1" fmla="*/ 125 h 387"/>
                  <a:gd name="T2" fmla="*/ 321 w 321"/>
                  <a:gd name="T3" fmla="*/ 112 h 387"/>
                  <a:gd name="T4" fmla="*/ 321 w 321"/>
                  <a:gd name="T5" fmla="*/ 20 h 387"/>
                  <a:gd name="T6" fmla="*/ 7 w 321"/>
                  <a:gd name="T7" fmla="*/ 0 h 387"/>
                  <a:gd name="T8" fmla="*/ 4 w 321"/>
                  <a:gd name="T9" fmla="*/ 24 h 387"/>
                  <a:gd name="T10" fmla="*/ 19 w 321"/>
                  <a:gd name="T11" fmla="*/ 129 h 387"/>
                  <a:gd name="T12" fmla="*/ 126 w 321"/>
                  <a:gd name="T13" fmla="*/ 387 h 387"/>
                  <a:gd name="T14" fmla="*/ 136 w 321"/>
                  <a:gd name="T15" fmla="*/ 387 h 387"/>
                  <a:gd name="T16" fmla="*/ 274 w 321"/>
                  <a:gd name="T17" fmla="*/ 371 h 387"/>
                  <a:gd name="T18" fmla="*/ 296 w 321"/>
                  <a:gd name="T19" fmla="*/ 317 h 387"/>
                  <a:gd name="T20" fmla="*/ 320 w 321"/>
                  <a:gd name="T21" fmla="*/ 125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1" h="387">
                    <a:moveTo>
                      <a:pt x="320" y="125"/>
                    </a:moveTo>
                    <a:cubicBezTo>
                      <a:pt x="321" y="117"/>
                      <a:pt x="321" y="112"/>
                      <a:pt x="321" y="112"/>
                    </a:cubicBezTo>
                    <a:cubicBezTo>
                      <a:pt x="321" y="20"/>
                      <a:pt x="321" y="20"/>
                      <a:pt x="321" y="2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0" y="60"/>
                      <a:pt x="5" y="96"/>
                      <a:pt x="19" y="129"/>
                    </a:cubicBezTo>
                    <a:cubicBezTo>
                      <a:pt x="126" y="387"/>
                      <a:pt x="126" y="387"/>
                      <a:pt x="126" y="387"/>
                    </a:cubicBezTo>
                    <a:cubicBezTo>
                      <a:pt x="130" y="387"/>
                      <a:pt x="133" y="387"/>
                      <a:pt x="136" y="387"/>
                    </a:cubicBezTo>
                    <a:cubicBezTo>
                      <a:pt x="183" y="387"/>
                      <a:pt x="229" y="381"/>
                      <a:pt x="274" y="371"/>
                    </a:cubicBezTo>
                    <a:cubicBezTo>
                      <a:pt x="296" y="317"/>
                      <a:pt x="296" y="317"/>
                      <a:pt x="296" y="317"/>
                    </a:cubicBezTo>
                    <a:cubicBezTo>
                      <a:pt x="308" y="262"/>
                      <a:pt x="319" y="192"/>
                      <a:pt x="320" y="12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54" name="Freeform 160">
                <a:extLst>
                  <a:ext uri="{FF2B5EF4-FFF2-40B4-BE49-F238E27FC236}">
                    <a16:creationId xmlns:a16="http://schemas.microsoft.com/office/drawing/2014/main" id="{0D636C73-7B8F-490D-A75C-396C9AD8B3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4" y="2786"/>
                <a:ext cx="739" cy="481"/>
              </a:xfrm>
              <a:custGeom>
                <a:avLst/>
                <a:gdLst>
                  <a:gd name="T0" fmla="*/ 310 w 313"/>
                  <a:gd name="T1" fmla="*/ 0 h 204"/>
                  <a:gd name="T2" fmla="*/ 0 w 313"/>
                  <a:gd name="T3" fmla="*/ 6 h 204"/>
                  <a:gd name="T4" fmla="*/ 104 w 313"/>
                  <a:gd name="T5" fmla="*/ 119 h 204"/>
                  <a:gd name="T6" fmla="*/ 55 w 313"/>
                  <a:gd name="T7" fmla="*/ 204 h 204"/>
                  <a:gd name="T8" fmla="*/ 147 w 313"/>
                  <a:gd name="T9" fmla="*/ 142 h 204"/>
                  <a:gd name="T10" fmla="*/ 171 w 313"/>
                  <a:gd name="T11" fmla="*/ 149 h 204"/>
                  <a:gd name="T12" fmla="*/ 254 w 313"/>
                  <a:gd name="T13" fmla="*/ 155 h 204"/>
                  <a:gd name="T14" fmla="*/ 301 w 313"/>
                  <a:gd name="T15" fmla="*/ 189 h 204"/>
                  <a:gd name="T16" fmla="*/ 285 w 313"/>
                  <a:gd name="T17" fmla="*/ 145 h 204"/>
                  <a:gd name="T18" fmla="*/ 307 w 313"/>
                  <a:gd name="T19" fmla="*/ 128 h 204"/>
                  <a:gd name="T20" fmla="*/ 308 w 313"/>
                  <a:gd name="T21" fmla="*/ 122 h 204"/>
                  <a:gd name="T22" fmla="*/ 310 w 313"/>
                  <a:gd name="T23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13" h="204">
                    <a:moveTo>
                      <a:pt x="31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39" y="75"/>
                      <a:pt x="104" y="119"/>
                    </a:cubicBezTo>
                    <a:cubicBezTo>
                      <a:pt x="55" y="204"/>
                      <a:pt x="55" y="204"/>
                      <a:pt x="55" y="204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55" y="145"/>
                      <a:pt x="163" y="147"/>
                      <a:pt x="171" y="149"/>
                    </a:cubicBezTo>
                    <a:cubicBezTo>
                      <a:pt x="207" y="158"/>
                      <a:pt x="234" y="158"/>
                      <a:pt x="254" y="155"/>
                    </a:cubicBezTo>
                    <a:cubicBezTo>
                      <a:pt x="301" y="189"/>
                      <a:pt x="301" y="189"/>
                      <a:pt x="301" y="189"/>
                    </a:cubicBezTo>
                    <a:cubicBezTo>
                      <a:pt x="285" y="145"/>
                      <a:pt x="285" y="145"/>
                      <a:pt x="285" y="145"/>
                    </a:cubicBezTo>
                    <a:cubicBezTo>
                      <a:pt x="301" y="137"/>
                      <a:pt x="307" y="128"/>
                      <a:pt x="307" y="128"/>
                    </a:cubicBezTo>
                    <a:cubicBezTo>
                      <a:pt x="308" y="122"/>
                      <a:pt x="308" y="122"/>
                      <a:pt x="308" y="122"/>
                    </a:cubicBezTo>
                    <a:cubicBezTo>
                      <a:pt x="312" y="82"/>
                      <a:pt x="313" y="41"/>
                      <a:pt x="310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55" name="Freeform 161">
                <a:extLst>
                  <a:ext uri="{FF2B5EF4-FFF2-40B4-BE49-F238E27FC236}">
                    <a16:creationId xmlns:a16="http://schemas.microsoft.com/office/drawing/2014/main" id="{AB4C2628-F8D2-40A6-9FB0-62CBE8FC71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5" y="3062"/>
                <a:ext cx="387" cy="558"/>
              </a:xfrm>
              <a:custGeom>
                <a:avLst/>
                <a:gdLst>
                  <a:gd name="T0" fmla="*/ 130 w 164"/>
                  <a:gd name="T1" fmla="*/ 26 h 237"/>
                  <a:gd name="T2" fmla="*/ 62 w 164"/>
                  <a:gd name="T3" fmla="*/ 0 h 237"/>
                  <a:gd name="T4" fmla="*/ 30 w 164"/>
                  <a:gd name="T5" fmla="*/ 32 h 237"/>
                  <a:gd name="T6" fmla="*/ 0 w 164"/>
                  <a:gd name="T7" fmla="*/ 237 h 237"/>
                  <a:gd name="T8" fmla="*/ 5 w 164"/>
                  <a:gd name="T9" fmla="*/ 237 h 237"/>
                  <a:gd name="T10" fmla="*/ 152 w 164"/>
                  <a:gd name="T11" fmla="*/ 219 h 237"/>
                  <a:gd name="T12" fmla="*/ 164 w 164"/>
                  <a:gd name="T13" fmla="*/ 173 h 237"/>
                  <a:gd name="T14" fmla="*/ 130 w 164"/>
                  <a:gd name="T15" fmla="*/ 26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4" h="237">
                    <a:moveTo>
                      <a:pt x="130" y="26"/>
                    </a:moveTo>
                    <a:cubicBezTo>
                      <a:pt x="62" y="0"/>
                      <a:pt x="62" y="0"/>
                      <a:pt x="62" y="0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0" y="237"/>
                      <a:pt x="0" y="237"/>
                      <a:pt x="0" y="237"/>
                    </a:cubicBezTo>
                    <a:cubicBezTo>
                      <a:pt x="2" y="237"/>
                      <a:pt x="3" y="237"/>
                      <a:pt x="5" y="237"/>
                    </a:cubicBezTo>
                    <a:cubicBezTo>
                      <a:pt x="56" y="237"/>
                      <a:pt x="105" y="231"/>
                      <a:pt x="152" y="219"/>
                    </a:cubicBezTo>
                    <a:cubicBezTo>
                      <a:pt x="157" y="204"/>
                      <a:pt x="161" y="189"/>
                      <a:pt x="164" y="173"/>
                    </a:cubicBezTo>
                    <a:lnTo>
                      <a:pt x="130" y="26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56" name="Freeform 162">
                <a:extLst>
                  <a:ext uri="{FF2B5EF4-FFF2-40B4-BE49-F238E27FC236}">
                    <a16:creationId xmlns:a16="http://schemas.microsoft.com/office/drawing/2014/main" id="{823EC7CA-7B46-4CD2-A449-6223A7AD85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9" y="2873"/>
                <a:ext cx="243" cy="264"/>
              </a:xfrm>
              <a:custGeom>
                <a:avLst/>
                <a:gdLst>
                  <a:gd name="T0" fmla="*/ 0 w 243"/>
                  <a:gd name="T1" fmla="*/ 9 h 264"/>
                  <a:gd name="T2" fmla="*/ 7 w 243"/>
                  <a:gd name="T3" fmla="*/ 264 h 264"/>
                  <a:gd name="T4" fmla="*/ 243 w 243"/>
                  <a:gd name="T5" fmla="*/ 250 h 264"/>
                  <a:gd name="T6" fmla="*/ 224 w 243"/>
                  <a:gd name="T7" fmla="*/ 0 h 264"/>
                  <a:gd name="T8" fmla="*/ 0 w 243"/>
                  <a:gd name="T9" fmla="*/ 9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" h="264">
                    <a:moveTo>
                      <a:pt x="0" y="9"/>
                    </a:moveTo>
                    <a:lnTo>
                      <a:pt x="7" y="264"/>
                    </a:lnTo>
                    <a:lnTo>
                      <a:pt x="243" y="250"/>
                    </a:lnTo>
                    <a:lnTo>
                      <a:pt x="224" y="0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57" name="Freeform 163">
                <a:extLst>
                  <a:ext uri="{FF2B5EF4-FFF2-40B4-BE49-F238E27FC236}">
                    <a16:creationId xmlns:a16="http://schemas.microsoft.com/office/drawing/2014/main" id="{BE80ECA1-7A46-400A-9BB2-48C00FA7BE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7" y="1180"/>
                <a:ext cx="1484" cy="1660"/>
              </a:xfrm>
              <a:custGeom>
                <a:avLst/>
                <a:gdLst>
                  <a:gd name="T0" fmla="*/ 346 w 629"/>
                  <a:gd name="T1" fmla="*/ 0 h 704"/>
                  <a:gd name="T2" fmla="*/ 346 w 629"/>
                  <a:gd name="T3" fmla="*/ 0 h 704"/>
                  <a:gd name="T4" fmla="*/ 63 w 629"/>
                  <a:gd name="T5" fmla="*/ 260 h 704"/>
                  <a:gd name="T6" fmla="*/ 49 w 629"/>
                  <a:gd name="T7" fmla="*/ 258 h 704"/>
                  <a:gd name="T8" fmla="*/ 0 w 629"/>
                  <a:gd name="T9" fmla="*/ 307 h 704"/>
                  <a:gd name="T10" fmla="*/ 0 w 629"/>
                  <a:gd name="T11" fmla="*/ 363 h 704"/>
                  <a:gd name="T12" fmla="*/ 70 w 629"/>
                  <a:gd name="T13" fmla="*/ 434 h 704"/>
                  <a:gd name="T14" fmla="*/ 78 w 629"/>
                  <a:gd name="T15" fmla="*/ 434 h 704"/>
                  <a:gd name="T16" fmla="*/ 346 w 629"/>
                  <a:gd name="T17" fmla="*/ 704 h 704"/>
                  <a:gd name="T18" fmla="*/ 346 w 629"/>
                  <a:gd name="T19" fmla="*/ 704 h 704"/>
                  <a:gd name="T20" fmla="*/ 629 w 629"/>
                  <a:gd name="T21" fmla="*/ 420 h 704"/>
                  <a:gd name="T22" fmla="*/ 629 w 629"/>
                  <a:gd name="T23" fmla="*/ 284 h 704"/>
                  <a:gd name="T24" fmla="*/ 346 w 629"/>
                  <a:gd name="T25" fmla="*/ 0 h 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29" h="704">
                    <a:moveTo>
                      <a:pt x="346" y="0"/>
                    </a:moveTo>
                    <a:cubicBezTo>
                      <a:pt x="346" y="0"/>
                      <a:pt x="346" y="0"/>
                      <a:pt x="346" y="0"/>
                    </a:cubicBezTo>
                    <a:cubicBezTo>
                      <a:pt x="197" y="0"/>
                      <a:pt x="75" y="115"/>
                      <a:pt x="63" y="260"/>
                    </a:cubicBezTo>
                    <a:cubicBezTo>
                      <a:pt x="59" y="259"/>
                      <a:pt x="54" y="258"/>
                      <a:pt x="49" y="258"/>
                    </a:cubicBezTo>
                    <a:cubicBezTo>
                      <a:pt x="22" y="258"/>
                      <a:pt x="0" y="280"/>
                      <a:pt x="0" y="307"/>
                    </a:cubicBezTo>
                    <a:cubicBezTo>
                      <a:pt x="0" y="363"/>
                      <a:pt x="0" y="363"/>
                      <a:pt x="0" y="363"/>
                    </a:cubicBezTo>
                    <a:cubicBezTo>
                      <a:pt x="0" y="402"/>
                      <a:pt x="31" y="434"/>
                      <a:pt x="70" y="434"/>
                    </a:cubicBezTo>
                    <a:cubicBezTo>
                      <a:pt x="78" y="434"/>
                      <a:pt x="78" y="434"/>
                      <a:pt x="78" y="434"/>
                    </a:cubicBezTo>
                    <a:cubicBezTo>
                      <a:pt x="85" y="584"/>
                      <a:pt x="194" y="704"/>
                      <a:pt x="346" y="704"/>
                    </a:cubicBezTo>
                    <a:cubicBezTo>
                      <a:pt x="346" y="704"/>
                      <a:pt x="346" y="704"/>
                      <a:pt x="346" y="704"/>
                    </a:cubicBezTo>
                    <a:cubicBezTo>
                      <a:pt x="502" y="704"/>
                      <a:pt x="629" y="577"/>
                      <a:pt x="629" y="420"/>
                    </a:cubicBezTo>
                    <a:cubicBezTo>
                      <a:pt x="629" y="284"/>
                      <a:pt x="629" y="284"/>
                      <a:pt x="629" y="284"/>
                    </a:cubicBezTo>
                    <a:cubicBezTo>
                      <a:pt x="629" y="127"/>
                      <a:pt x="502" y="0"/>
                      <a:pt x="346" y="0"/>
                    </a:cubicBezTo>
                    <a:close/>
                  </a:path>
                </a:pathLst>
              </a:custGeom>
              <a:solidFill>
                <a:srgbClr val="CE9C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58" name="Freeform 164">
                <a:extLst>
                  <a:ext uri="{FF2B5EF4-FFF2-40B4-BE49-F238E27FC236}">
                    <a16:creationId xmlns:a16="http://schemas.microsoft.com/office/drawing/2014/main" id="{E85E81F1-14CE-42C2-B754-9C3CE90497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9" y="1852"/>
                <a:ext cx="672" cy="988"/>
              </a:xfrm>
              <a:custGeom>
                <a:avLst/>
                <a:gdLst>
                  <a:gd name="T0" fmla="*/ 2 w 285"/>
                  <a:gd name="T1" fmla="*/ 419 h 419"/>
                  <a:gd name="T2" fmla="*/ 285 w 285"/>
                  <a:gd name="T3" fmla="*/ 135 h 419"/>
                  <a:gd name="T4" fmla="*/ 285 w 285"/>
                  <a:gd name="T5" fmla="*/ 3 h 419"/>
                  <a:gd name="T6" fmla="*/ 246 w 285"/>
                  <a:gd name="T7" fmla="*/ 1 h 419"/>
                  <a:gd name="T8" fmla="*/ 130 w 285"/>
                  <a:gd name="T9" fmla="*/ 1 h 419"/>
                  <a:gd name="T10" fmla="*/ 135 w 285"/>
                  <a:gd name="T11" fmla="*/ 67 h 419"/>
                  <a:gd name="T12" fmla="*/ 164 w 285"/>
                  <a:gd name="T13" fmla="*/ 127 h 419"/>
                  <a:gd name="T14" fmla="*/ 147 w 285"/>
                  <a:gd name="T15" fmla="*/ 162 h 419"/>
                  <a:gd name="T16" fmla="*/ 106 w 285"/>
                  <a:gd name="T17" fmla="*/ 173 h 419"/>
                  <a:gd name="T18" fmla="*/ 88 w 285"/>
                  <a:gd name="T19" fmla="*/ 197 h 419"/>
                  <a:gd name="T20" fmla="*/ 98 w 285"/>
                  <a:gd name="T21" fmla="*/ 287 h 419"/>
                  <a:gd name="T22" fmla="*/ 30 w 285"/>
                  <a:gd name="T23" fmla="*/ 406 h 419"/>
                  <a:gd name="T24" fmla="*/ 0 w 285"/>
                  <a:gd name="T25" fmla="*/ 419 h 419"/>
                  <a:gd name="T26" fmla="*/ 2 w 285"/>
                  <a:gd name="T27" fmla="*/ 419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5" h="419">
                    <a:moveTo>
                      <a:pt x="2" y="419"/>
                    </a:moveTo>
                    <a:cubicBezTo>
                      <a:pt x="158" y="419"/>
                      <a:pt x="285" y="292"/>
                      <a:pt x="285" y="135"/>
                    </a:cubicBezTo>
                    <a:cubicBezTo>
                      <a:pt x="285" y="3"/>
                      <a:pt x="285" y="3"/>
                      <a:pt x="285" y="3"/>
                    </a:cubicBezTo>
                    <a:cubicBezTo>
                      <a:pt x="285" y="0"/>
                      <a:pt x="260" y="1"/>
                      <a:pt x="246" y="1"/>
                    </a:cubicBezTo>
                    <a:cubicBezTo>
                      <a:pt x="130" y="1"/>
                      <a:pt x="130" y="1"/>
                      <a:pt x="130" y="1"/>
                    </a:cubicBezTo>
                    <a:cubicBezTo>
                      <a:pt x="130" y="1"/>
                      <a:pt x="115" y="27"/>
                      <a:pt x="135" y="67"/>
                    </a:cubicBezTo>
                    <a:cubicBezTo>
                      <a:pt x="164" y="127"/>
                      <a:pt x="164" y="127"/>
                      <a:pt x="164" y="127"/>
                    </a:cubicBezTo>
                    <a:cubicBezTo>
                      <a:pt x="171" y="141"/>
                      <a:pt x="163" y="158"/>
                      <a:pt x="147" y="162"/>
                    </a:cubicBezTo>
                    <a:cubicBezTo>
                      <a:pt x="106" y="173"/>
                      <a:pt x="106" y="173"/>
                      <a:pt x="106" y="173"/>
                    </a:cubicBezTo>
                    <a:cubicBezTo>
                      <a:pt x="95" y="176"/>
                      <a:pt x="88" y="186"/>
                      <a:pt x="88" y="197"/>
                    </a:cubicBezTo>
                    <a:cubicBezTo>
                      <a:pt x="98" y="287"/>
                      <a:pt x="98" y="287"/>
                      <a:pt x="98" y="287"/>
                    </a:cubicBezTo>
                    <a:cubicBezTo>
                      <a:pt x="105" y="338"/>
                      <a:pt x="77" y="386"/>
                      <a:pt x="30" y="406"/>
                    </a:cubicBezTo>
                    <a:cubicBezTo>
                      <a:pt x="0" y="419"/>
                      <a:pt x="0" y="419"/>
                      <a:pt x="0" y="419"/>
                    </a:cubicBezTo>
                    <a:cubicBezTo>
                      <a:pt x="1" y="419"/>
                      <a:pt x="1" y="419"/>
                      <a:pt x="2" y="419"/>
                    </a:cubicBezTo>
                    <a:close/>
                  </a:path>
                </a:pathLst>
              </a:custGeom>
              <a:solidFill>
                <a:srgbClr val="BA8C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59" name="Oval 165">
                <a:extLst>
                  <a:ext uri="{FF2B5EF4-FFF2-40B4-BE49-F238E27FC236}">
                    <a16:creationId xmlns:a16="http://schemas.microsoft.com/office/drawing/2014/main" id="{9C5733EC-ED13-4CDC-AC5C-A684C7CB23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52" y="1932"/>
                <a:ext cx="104" cy="10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60" name="Oval 166">
                <a:extLst>
                  <a:ext uri="{FF2B5EF4-FFF2-40B4-BE49-F238E27FC236}">
                    <a16:creationId xmlns:a16="http://schemas.microsoft.com/office/drawing/2014/main" id="{A0759B8D-A3B5-45D0-BCE8-3F85FEC9B3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5" y="1934"/>
                <a:ext cx="94" cy="97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61" name="Freeform 167">
                <a:extLst>
                  <a:ext uri="{FF2B5EF4-FFF2-40B4-BE49-F238E27FC236}">
                    <a16:creationId xmlns:a16="http://schemas.microsoft.com/office/drawing/2014/main" id="{8B73AD9A-EE6E-4CCF-8A71-FEB7C9C450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3" y="1180"/>
                <a:ext cx="1368" cy="1724"/>
              </a:xfrm>
              <a:custGeom>
                <a:avLst/>
                <a:gdLst>
                  <a:gd name="T0" fmla="*/ 537 w 580"/>
                  <a:gd name="T1" fmla="*/ 486 h 731"/>
                  <a:gd name="T2" fmla="*/ 417 w 580"/>
                  <a:gd name="T3" fmla="*/ 477 h 731"/>
                  <a:gd name="T4" fmla="*/ 383 w 580"/>
                  <a:gd name="T5" fmla="*/ 490 h 731"/>
                  <a:gd name="T6" fmla="*/ 357 w 580"/>
                  <a:gd name="T7" fmla="*/ 479 h 731"/>
                  <a:gd name="T8" fmla="*/ 237 w 580"/>
                  <a:gd name="T9" fmla="*/ 479 h 731"/>
                  <a:gd name="T10" fmla="*/ 182 w 580"/>
                  <a:gd name="T11" fmla="*/ 508 h 731"/>
                  <a:gd name="T12" fmla="*/ 94 w 580"/>
                  <a:gd name="T13" fmla="*/ 419 h 731"/>
                  <a:gd name="T14" fmla="*/ 101 w 580"/>
                  <a:gd name="T15" fmla="*/ 292 h 731"/>
                  <a:gd name="T16" fmla="*/ 128 w 580"/>
                  <a:gd name="T17" fmla="*/ 252 h 731"/>
                  <a:gd name="T18" fmla="*/ 139 w 580"/>
                  <a:gd name="T19" fmla="*/ 247 h 731"/>
                  <a:gd name="T20" fmla="*/ 166 w 580"/>
                  <a:gd name="T21" fmla="*/ 205 h 731"/>
                  <a:gd name="T22" fmla="*/ 166 w 580"/>
                  <a:gd name="T23" fmla="*/ 180 h 731"/>
                  <a:gd name="T24" fmla="*/ 224 w 580"/>
                  <a:gd name="T25" fmla="*/ 128 h 731"/>
                  <a:gd name="T26" fmla="*/ 303 w 580"/>
                  <a:gd name="T27" fmla="*/ 137 h 731"/>
                  <a:gd name="T28" fmla="*/ 416 w 580"/>
                  <a:gd name="T29" fmla="*/ 182 h 731"/>
                  <a:gd name="T30" fmla="*/ 475 w 580"/>
                  <a:gd name="T31" fmla="*/ 226 h 731"/>
                  <a:gd name="T32" fmla="*/ 469 w 580"/>
                  <a:gd name="T33" fmla="*/ 143 h 731"/>
                  <a:gd name="T34" fmla="*/ 540 w 580"/>
                  <a:gd name="T35" fmla="*/ 193 h 731"/>
                  <a:gd name="T36" fmla="*/ 513 w 580"/>
                  <a:gd name="T37" fmla="*/ 105 h 731"/>
                  <a:gd name="T38" fmla="*/ 556 w 580"/>
                  <a:gd name="T39" fmla="*/ 116 h 731"/>
                  <a:gd name="T40" fmla="*/ 290 w 580"/>
                  <a:gd name="T41" fmla="*/ 0 h 731"/>
                  <a:gd name="T42" fmla="*/ 13 w 580"/>
                  <a:gd name="T43" fmla="*/ 223 h 731"/>
                  <a:gd name="T44" fmla="*/ 0 w 580"/>
                  <a:gd name="T45" fmla="*/ 258 h 731"/>
                  <a:gd name="T46" fmla="*/ 50 w 580"/>
                  <a:gd name="T47" fmla="*/ 307 h 731"/>
                  <a:gd name="T48" fmla="*/ 50 w 580"/>
                  <a:gd name="T49" fmla="*/ 434 h 731"/>
                  <a:gd name="T50" fmla="*/ 21 w 580"/>
                  <a:gd name="T51" fmla="*/ 434 h 731"/>
                  <a:gd name="T52" fmla="*/ 14 w 580"/>
                  <a:gd name="T53" fmla="*/ 433 h 731"/>
                  <a:gd name="T54" fmla="*/ 57 w 580"/>
                  <a:gd name="T55" fmla="*/ 572 h 731"/>
                  <a:gd name="T56" fmla="*/ 57 w 580"/>
                  <a:gd name="T57" fmla="*/ 572 h 731"/>
                  <a:gd name="T58" fmla="*/ 305 w 580"/>
                  <a:gd name="T59" fmla="*/ 731 h 731"/>
                  <a:gd name="T60" fmla="*/ 377 w 580"/>
                  <a:gd name="T61" fmla="*/ 731 h 731"/>
                  <a:gd name="T62" fmla="*/ 580 w 580"/>
                  <a:gd name="T63" fmla="*/ 528 h 731"/>
                  <a:gd name="T64" fmla="*/ 580 w 580"/>
                  <a:gd name="T65" fmla="*/ 506 h 731"/>
                  <a:gd name="T66" fmla="*/ 557 w 580"/>
                  <a:gd name="T67" fmla="*/ 493 h 731"/>
                  <a:gd name="T68" fmla="*/ 537 w 580"/>
                  <a:gd name="T69" fmla="*/ 486 h 7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80" h="731">
                    <a:moveTo>
                      <a:pt x="537" y="486"/>
                    </a:moveTo>
                    <a:cubicBezTo>
                      <a:pt x="500" y="466"/>
                      <a:pt x="456" y="462"/>
                      <a:pt x="417" y="477"/>
                    </a:cubicBezTo>
                    <a:cubicBezTo>
                      <a:pt x="383" y="490"/>
                      <a:pt x="383" y="490"/>
                      <a:pt x="383" y="490"/>
                    </a:cubicBezTo>
                    <a:cubicBezTo>
                      <a:pt x="357" y="479"/>
                      <a:pt x="357" y="479"/>
                      <a:pt x="357" y="479"/>
                    </a:cubicBezTo>
                    <a:cubicBezTo>
                      <a:pt x="319" y="461"/>
                      <a:pt x="275" y="461"/>
                      <a:pt x="237" y="479"/>
                    </a:cubicBezTo>
                    <a:cubicBezTo>
                      <a:pt x="182" y="508"/>
                      <a:pt x="182" y="508"/>
                      <a:pt x="182" y="508"/>
                    </a:cubicBezTo>
                    <a:cubicBezTo>
                      <a:pt x="182" y="508"/>
                      <a:pt x="94" y="505"/>
                      <a:pt x="94" y="419"/>
                    </a:cubicBezTo>
                    <a:cubicBezTo>
                      <a:pt x="101" y="292"/>
                      <a:pt x="101" y="292"/>
                      <a:pt x="101" y="292"/>
                    </a:cubicBezTo>
                    <a:cubicBezTo>
                      <a:pt x="102" y="275"/>
                      <a:pt x="113" y="260"/>
                      <a:pt x="128" y="252"/>
                    </a:cubicBezTo>
                    <a:cubicBezTo>
                      <a:pt x="139" y="247"/>
                      <a:pt x="139" y="247"/>
                      <a:pt x="139" y="247"/>
                    </a:cubicBezTo>
                    <a:cubicBezTo>
                      <a:pt x="155" y="240"/>
                      <a:pt x="166" y="223"/>
                      <a:pt x="166" y="205"/>
                    </a:cubicBezTo>
                    <a:cubicBezTo>
                      <a:pt x="166" y="180"/>
                      <a:pt x="166" y="180"/>
                      <a:pt x="166" y="180"/>
                    </a:cubicBezTo>
                    <a:cubicBezTo>
                      <a:pt x="166" y="149"/>
                      <a:pt x="193" y="125"/>
                      <a:pt x="224" y="128"/>
                    </a:cubicBezTo>
                    <a:cubicBezTo>
                      <a:pt x="303" y="137"/>
                      <a:pt x="303" y="137"/>
                      <a:pt x="303" y="137"/>
                    </a:cubicBezTo>
                    <a:cubicBezTo>
                      <a:pt x="344" y="141"/>
                      <a:pt x="383" y="157"/>
                      <a:pt x="416" y="182"/>
                    </a:cubicBezTo>
                    <a:cubicBezTo>
                      <a:pt x="475" y="226"/>
                      <a:pt x="475" y="226"/>
                      <a:pt x="475" y="226"/>
                    </a:cubicBezTo>
                    <a:cubicBezTo>
                      <a:pt x="469" y="143"/>
                      <a:pt x="469" y="143"/>
                      <a:pt x="469" y="143"/>
                    </a:cubicBezTo>
                    <a:cubicBezTo>
                      <a:pt x="540" y="193"/>
                      <a:pt x="540" y="193"/>
                      <a:pt x="540" y="193"/>
                    </a:cubicBezTo>
                    <a:cubicBezTo>
                      <a:pt x="513" y="105"/>
                      <a:pt x="513" y="105"/>
                      <a:pt x="513" y="105"/>
                    </a:cubicBezTo>
                    <a:cubicBezTo>
                      <a:pt x="556" y="116"/>
                      <a:pt x="556" y="116"/>
                      <a:pt x="556" y="116"/>
                    </a:cubicBezTo>
                    <a:cubicBezTo>
                      <a:pt x="556" y="116"/>
                      <a:pt x="508" y="0"/>
                      <a:pt x="290" y="0"/>
                    </a:cubicBezTo>
                    <a:cubicBezTo>
                      <a:pt x="72" y="0"/>
                      <a:pt x="13" y="148"/>
                      <a:pt x="13" y="223"/>
                    </a:cubicBezTo>
                    <a:cubicBezTo>
                      <a:pt x="13" y="233"/>
                      <a:pt x="0" y="245"/>
                      <a:pt x="0" y="258"/>
                    </a:cubicBezTo>
                    <a:cubicBezTo>
                      <a:pt x="27" y="258"/>
                      <a:pt x="50" y="280"/>
                      <a:pt x="50" y="307"/>
                    </a:cubicBezTo>
                    <a:cubicBezTo>
                      <a:pt x="50" y="434"/>
                      <a:pt x="50" y="434"/>
                      <a:pt x="50" y="434"/>
                    </a:cubicBezTo>
                    <a:cubicBezTo>
                      <a:pt x="21" y="434"/>
                      <a:pt x="21" y="434"/>
                      <a:pt x="21" y="434"/>
                    </a:cubicBezTo>
                    <a:cubicBezTo>
                      <a:pt x="19" y="434"/>
                      <a:pt x="16" y="433"/>
                      <a:pt x="14" y="433"/>
                    </a:cubicBezTo>
                    <a:cubicBezTo>
                      <a:pt x="22" y="483"/>
                      <a:pt x="35" y="532"/>
                      <a:pt x="57" y="572"/>
                    </a:cubicBezTo>
                    <a:cubicBezTo>
                      <a:pt x="57" y="572"/>
                      <a:pt x="57" y="572"/>
                      <a:pt x="57" y="572"/>
                    </a:cubicBezTo>
                    <a:cubicBezTo>
                      <a:pt x="102" y="669"/>
                      <a:pt x="198" y="731"/>
                      <a:pt x="305" y="731"/>
                    </a:cubicBezTo>
                    <a:cubicBezTo>
                      <a:pt x="377" y="731"/>
                      <a:pt x="377" y="731"/>
                      <a:pt x="377" y="731"/>
                    </a:cubicBezTo>
                    <a:cubicBezTo>
                      <a:pt x="489" y="731"/>
                      <a:pt x="580" y="640"/>
                      <a:pt x="580" y="528"/>
                    </a:cubicBezTo>
                    <a:cubicBezTo>
                      <a:pt x="580" y="506"/>
                      <a:pt x="580" y="506"/>
                      <a:pt x="580" y="506"/>
                    </a:cubicBezTo>
                    <a:cubicBezTo>
                      <a:pt x="557" y="493"/>
                      <a:pt x="557" y="493"/>
                      <a:pt x="557" y="493"/>
                    </a:cubicBezTo>
                    <a:lnTo>
                      <a:pt x="537" y="48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62" name="Freeform 168">
                <a:extLst>
                  <a:ext uri="{FF2B5EF4-FFF2-40B4-BE49-F238E27FC236}">
                    <a16:creationId xmlns:a16="http://schemas.microsoft.com/office/drawing/2014/main" id="{E915C859-6742-4DB9-8A11-2E5C8E3F35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9" y="2380"/>
                <a:ext cx="479" cy="132"/>
              </a:xfrm>
              <a:custGeom>
                <a:avLst/>
                <a:gdLst>
                  <a:gd name="T0" fmla="*/ 0 w 203"/>
                  <a:gd name="T1" fmla="*/ 0 h 56"/>
                  <a:gd name="T2" fmla="*/ 203 w 203"/>
                  <a:gd name="T3" fmla="*/ 0 h 56"/>
                  <a:gd name="T4" fmla="*/ 115 w 203"/>
                  <a:gd name="T5" fmla="*/ 56 h 56"/>
                  <a:gd name="T6" fmla="*/ 0 w 203"/>
                  <a:gd name="T7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3" h="56">
                    <a:moveTo>
                      <a:pt x="0" y="0"/>
                    </a:moveTo>
                    <a:cubicBezTo>
                      <a:pt x="203" y="0"/>
                      <a:pt x="203" y="0"/>
                      <a:pt x="203" y="0"/>
                    </a:cubicBezTo>
                    <a:cubicBezTo>
                      <a:pt x="203" y="0"/>
                      <a:pt x="180" y="56"/>
                      <a:pt x="115" y="56"/>
                    </a:cubicBezTo>
                    <a:cubicBezTo>
                      <a:pt x="49" y="56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63" name="Freeform 169">
                <a:extLst>
                  <a:ext uri="{FF2B5EF4-FFF2-40B4-BE49-F238E27FC236}">
                    <a16:creationId xmlns:a16="http://schemas.microsoft.com/office/drawing/2014/main" id="{E7D80F7A-3BFF-409D-8CED-EF9585E816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7" y="1899"/>
                <a:ext cx="149" cy="252"/>
              </a:xfrm>
              <a:custGeom>
                <a:avLst/>
                <a:gdLst>
                  <a:gd name="T0" fmla="*/ 149 w 149"/>
                  <a:gd name="T1" fmla="*/ 252 h 252"/>
                  <a:gd name="T2" fmla="*/ 24 w 149"/>
                  <a:gd name="T3" fmla="*/ 0 h 252"/>
                  <a:gd name="T4" fmla="*/ 0 w 149"/>
                  <a:gd name="T5" fmla="*/ 212 h 252"/>
                  <a:gd name="T6" fmla="*/ 149 w 149"/>
                  <a:gd name="T7" fmla="*/ 252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9" h="252">
                    <a:moveTo>
                      <a:pt x="149" y="252"/>
                    </a:moveTo>
                    <a:lnTo>
                      <a:pt x="24" y="0"/>
                    </a:lnTo>
                    <a:lnTo>
                      <a:pt x="0" y="212"/>
                    </a:lnTo>
                    <a:lnTo>
                      <a:pt x="149" y="252"/>
                    </a:lnTo>
                    <a:close/>
                  </a:path>
                </a:pathLst>
              </a:custGeom>
              <a:solidFill>
                <a:srgbClr val="CE9C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64" name="Freeform 170">
                <a:extLst>
                  <a:ext uri="{FF2B5EF4-FFF2-40B4-BE49-F238E27FC236}">
                    <a16:creationId xmlns:a16="http://schemas.microsoft.com/office/drawing/2014/main" id="{878FC8C3-3668-4681-B1E4-913DA37955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25" y="1769"/>
                <a:ext cx="1255" cy="366"/>
              </a:xfrm>
              <a:custGeom>
                <a:avLst/>
                <a:gdLst>
                  <a:gd name="T0" fmla="*/ 495 w 532"/>
                  <a:gd name="T1" fmla="*/ 26 h 155"/>
                  <a:gd name="T2" fmla="*/ 395 w 532"/>
                  <a:gd name="T3" fmla="*/ 26 h 155"/>
                  <a:gd name="T4" fmla="*/ 279 w 532"/>
                  <a:gd name="T5" fmla="*/ 19 h 155"/>
                  <a:gd name="T6" fmla="*/ 265 w 532"/>
                  <a:gd name="T7" fmla="*/ 26 h 155"/>
                  <a:gd name="T8" fmla="*/ 168 w 532"/>
                  <a:gd name="T9" fmla="*/ 26 h 155"/>
                  <a:gd name="T10" fmla="*/ 154 w 532"/>
                  <a:gd name="T11" fmla="*/ 26 h 155"/>
                  <a:gd name="T12" fmla="*/ 0 w 532"/>
                  <a:gd name="T13" fmla="*/ 26 h 155"/>
                  <a:gd name="T14" fmla="*/ 1 w 532"/>
                  <a:gd name="T15" fmla="*/ 28 h 155"/>
                  <a:gd name="T16" fmla="*/ 9 w 532"/>
                  <a:gd name="T17" fmla="*/ 47 h 155"/>
                  <a:gd name="T18" fmla="*/ 9 w 532"/>
                  <a:gd name="T19" fmla="*/ 47 h 155"/>
                  <a:gd name="T20" fmla="*/ 122 w 532"/>
                  <a:gd name="T21" fmla="*/ 47 h 155"/>
                  <a:gd name="T22" fmla="*/ 117 w 532"/>
                  <a:gd name="T23" fmla="*/ 63 h 155"/>
                  <a:gd name="T24" fmla="*/ 117 w 532"/>
                  <a:gd name="T25" fmla="*/ 106 h 155"/>
                  <a:gd name="T26" fmla="*/ 166 w 532"/>
                  <a:gd name="T27" fmla="*/ 155 h 155"/>
                  <a:gd name="T28" fmla="*/ 245 w 532"/>
                  <a:gd name="T29" fmla="*/ 155 h 155"/>
                  <a:gd name="T30" fmla="*/ 293 w 532"/>
                  <a:gd name="T31" fmla="*/ 106 h 155"/>
                  <a:gd name="T32" fmla="*/ 293 w 532"/>
                  <a:gd name="T33" fmla="*/ 35 h 155"/>
                  <a:gd name="T34" fmla="*/ 372 w 532"/>
                  <a:gd name="T35" fmla="*/ 37 h 155"/>
                  <a:gd name="T36" fmla="*/ 372 w 532"/>
                  <a:gd name="T37" fmla="*/ 39 h 155"/>
                  <a:gd name="T38" fmla="*/ 385 w 532"/>
                  <a:gd name="T39" fmla="*/ 91 h 155"/>
                  <a:gd name="T40" fmla="*/ 393 w 532"/>
                  <a:gd name="T41" fmla="*/ 108 h 155"/>
                  <a:gd name="T42" fmla="*/ 393 w 532"/>
                  <a:gd name="T43" fmla="*/ 106 h 155"/>
                  <a:gd name="T44" fmla="*/ 393 w 532"/>
                  <a:gd name="T45" fmla="*/ 47 h 155"/>
                  <a:gd name="T46" fmla="*/ 495 w 532"/>
                  <a:gd name="T47" fmla="*/ 47 h 155"/>
                  <a:gd name="T48" fmla="*/ 512 w 532"/>
                  <a:gd name="T49" fmla="*/ 63 h 155"/>
                  <a:gd name="T50" fmla="*/ 512 w 532"/>
                  <a:gd name="T51" fmla="*/ 106 h 155"/>
                  <a:gd name="T52" fmla="*/ 484 w 532"/>
                  <a:gd name="T53" fmla="*/ 135 h 155"/>
                  <a:gd name="T54" fmla="*/ 421 w 532"/>
                  <a:gd name="T55" fmla="*/ 135 h 155"/>
                  <a:gd name="T56" fmla="*/ 403 w 532"/>
                  <a:gd name="T57" fmla="*/ 128 h 155"/>
                  <a:gd name="T58" fmla="*/ 416 w 532"/>
                  <a:gd name="T59" fmla="*/ 154 h 155"/>
                  <a:gd name="T60" fmla="*/ 417 w 532"/>
                  <a:gd name="T61" fmla="*/ 155 h 155"/>
                  <a:gd name="T62" fmla="*/ 484 w 532"/>
                  <a:gd name="T63" fmla="*/ 155 h 155"/>
                  <a:gd name="T64" fmla="*/ 532 w 532"/>
                  <a:gd name="T65" fmla="*/ 106 h 155"/>
                  <a:gd name="T66" fmla="*/ 532 w 532"/>
                  <a:gd name="T67" fmla="*/ 63 h 155"/>
                  <a:gd name="T68" fmla="*/ 495 w 532"/>
                  <a:gd name="T69" fmla="*/ 26 h 155"/>
                  <a:gd name="T70" fmla="*/ 273 w 532"/>
                  <a:gd name="T71" fmla="*/ 106 h 155"/>
                  <a:gd name="T72" fmla="*/ 245 w 532"/>
                  <a:gd name="T73" fmla="*/ 135 h 155"/>
                  <a:gd name="T74" fmla="*/ 166 w 532"/>
                  <a:gd name="T75" fmla="*/ 135 h 155"/>
                  <a:gd name="T76" fmla="*/ 138 w 532"/>
                  <a:gd name="T77" fmla="*/ 106 h 155"/>
                  <a:gd name="T78" fmla="*/ 138 w 532"/>
                  <a:gd name="T79" fmla="*/ 63 h 155"/>
                  <a:gd name="T80" fmla="*/ 154 w 532"/>
                  <a:gd name="T81" fmla="*/ 47 h 155"/>
                  <a:gd name="T82" fmla="*/ 168 w 532"/>
                  <a:gd name="T83" fmla="*/ 47 h 155"/>
                  <a:gd name="T84" fmla="*/ 273 w 532"/>
                  <a:gd name="T85" fmla="*/ 47 h 155"/>
                  <a:gd name="T86" fmla="*/ 273 w 532"/>
                  <a:gd name="T87" fmla="*/ 106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32" h="155">
                    <a:moveTo>
                      <a:pt x="495" y="26"/>
                    </a:moveTo>
                    <a:cubicBezTo>
                      <a:pt x="395" y="26"/>
                      <a:pt x="395" y="26"/>
                      <a:pt x="395" y="26"/>
                    </a:cubicBezTo>
                    <a:cubicBezTo>
                      <a:pt x="361" y="3"/>
                      <a:pt x="317" y="0"/>
                      <a:pt x="279" y="19"/>
                    </a:cubicBezTo>
                    <a:cubicBezTo>
                      <a:pt x="265" y="26"/>
                      <a:pt x="265" y="26"/>
                      <a:pt x="265" y="26"/>
                    </a:cubicBezTo>
                    <a:cubicBezTo>
                      <a:pt x="168" y="26"/>
                      <a:pt x="168" y="26"/>
                      <a:pt x="168" y="26"/>
                    </a:cubicBezTo>
                    <a:cubicBezTo>
                      <a:pt x="154" y="26"/>
                      <a:pt x="154" y="26"/>
                      <a:pt x="154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5" y="33"/>
                      <a:pt x="8" y="40"/>
                      <a:pt x="9" y="47"/>
                    </a:cubicBezTo>
                    <a:cubicBezTo>
                      <a:pt x="9" y="47"/>
                      <a:pt x="9" y="47"/>
                      <a:pt x="9" y="47"/>
                    </a:cubicBezTo>
                    <a:cubicBezTo>
                      <a:pt x="122" y="47"/>
                      <a:pt x="122" y="47"/>
                      <a:pt x="122" y="47"/>
                    </a:cubicBezTo>
                    <a:cubicBezTo>
                      <a:pt x="119" y="52"/>
                      <a:pt x="117" y="57"/>
                      <a:pt x="117" y="63"/>
                    </a:cubicBezTo>
                    <a:cubicBezTo>
                      <a:pt x="117" y="106"/>
                      <a:pt x="117" y="106"/>
                      <a:pt x="117" y="106"/>
                    </a:cubicBezTo>
                    <a:cubicBezTo>
                      <a:pt x="117" y="133"/>
                      <a:pt x="139" y="155"/>
                      <a:pt x="166" y="155"/>
                    </a:cubicBezTo>
                    <a:cubicBezTo>
                      <a:pt x="245" y="155"/>
                      <a:pt x="245" y="155"/>
                      <a:pt x="245" y="155"/>
                    </a:cubicBezTo>
                    <a:cubicBezTo>
                      <a:pt x="271" y="155"/>
                      <a:pt x="293" y="133"/>
                      <a:pt x="293" y="106"/>
                    </a:cubicBezTo>
                    <a:cubicBezTo>
                      <a:pt x="293" y="35"/>
                      <a:pt x="293" y="35"/>
                      <a:pt x="293" y="35"/>
                    </a:cubicBezTo>
                    <a:cubicBezTo>
                      <a:pt x="319" y="24"/>
                      <a:pt x="348" y="25"/>
                      <a:pt x="372" y="37"/>
                    </a:cubicBezTo>
                    <a:cubicBezTo>
                      <a:pt x="372" y="39"/>
                      <a:pt x="372" y="39"/>
                      <a:pt x="372" y="39"/>
                    </a:cubicBezTo>
                    <a:cubicBezTo>
                      <a:pt x="372" y="57"/>
                      <a:pt x="377" y="75"/>
                      <a:pt x="385" y="91"/>
                    </a:cubicBezTo>
                    <a:cubicBezTo>
                      <a:pt x="393" y="108"/>
                      <a:pt x="393" y="108"/>
                      <a:pt x="393" y="108"/>
                    </a:cubicBezTo>
                    <a:cubicBezTo>
                      <a:pt x="393" y="107"/>
                      <a:pt x="393" y="107"/>
                      <a:pt x="393" y="106"/>
                    </a:cubicBezTo>
                    <a:cubicBezTo>
                      <a:pt x="393" y="47"/>
                      <a:pt x="393" y="47"/>
                      <a:pt x="393" y="47"/>
                    </a:cubicBezTo>
                    <a:cubicBezTo>
                      <a:pt x="495" y="47"/>
                      <a:pt x="495" y="47"/>
                      <a:pt x="495" y="47"/>
                    </a:cubicBezTo>
                    <a:cubicBezTo>
                      <a:pt x="505" y="47"/>
                      <a:pt x="512" y="54"/>
                      <a:pt x="512" y="63"/>
                    </a:cubicBezTo>
                    <a:cubicBezTo>
                      <a:pt x="512" y="106"/>
                      <a:pt x="512" y="106"/>
                      <a:pt x="512" y="106"/>
                    </a:cubicBezTo>
                    <a:cubicBezTo>
                      <a:pt x="512" y="122"/>
                      <a:pt x="499" y="135"/>
                      <a:pt x="484" y="135"/>
                    </a:cubicBezTo>
                    <a:cubicBezTo>
                      <a:pt x="421" y="135"/>
                      <a:pt x="421" y="135"/>
                      <a:pt x="421" y="135"/>
                    </a:cubicBezTo>
                    <a:cubicBezTo>
                      <a:pt x="414" y="135"/>
                      <a:pt x="408" y="132"/>
                      <a:pt x="403" y="128"/>
                    </a:cubicBezTo>
                    <a:cubicBezTo>
                      <a:pt x="416" y="154"/>
                      <a:pt x="416" y="154"/>
                      <a:pt x="416" y="154"/>
                    </a:cubicBezTo>
                    <a:cubicBezTo>
                      <a:pt x="416" y="155"/>
                      <a:pt x="417" y="155"/>
                      <a:pt x="417" y="155"/>
                    </a:cubicBezTo>
                    <a:cubicBezTo>
                      <a:pt x="484" y="155"/>
                      <a:pt x="484" y="155"/>
                      <a:pt x="484" y="155"/>
                    </a:cubicBezTo>
                    <a:cubicBezTo>
                      <a:pt x="511" y="155"/>
                      <a:pt x="532" y="133"/>
                      <a:pt x="532" y="106"/>
                    </a:cubicBezTo>
                    <a:cubicBezTo>
                      <a:pt x="532" y="63"/>
                      <a:pt x="532" y="63"/>
                      <a:pt x="532" y="63"/>
                    </a:cubicBezTo>
                    <a:cubicBezTo>
                      <a:pt x="532" y="43"/>
                      <a:pt x="516" y="26"/>
                      <a:pt x="495" y="26"/>
                    </a:cubicBezTo>
                    <a:close/>
                    <a:moveTo>
                      <a:pt x="273" y="106"/>
                    </a:moveTo>
                    <a:cubicBezTo>
                      <a:pt x="273" y="122"/>
                      <a:pt x="260" y="135"/>
                      <a:pt x="245" y="135"/>
                    </a:cubicBezTo>
                    <a:cubicBezTo>
                      <a:pt x="166" y="135"/>
                      <a:pt x="166" y="135"/>
                      <a:pt x="166" y="135"/>
                    </a:cubicBezTo>
                    <a:cubicBezTo>
                      <a:pt x="150" y="135"/>
                      <a:pt x="138" y="122"/>
                      <a:pt x="138" y="106"/>
                    </a:cubicBezTo>
                    <a:cubicBezTo>
                      <a:pt x="138" y="63"/>
                      <a:pt x="138" y="63"/>
                      <a:pt x="138" y="63"/>
                    </a:cubicBezTo>
                    <a:cubicBezTo>
                      <a:pt x="138" y="54"/>
                      <a:pt x="145" y="47"/>
                      <a:pt x="154" y="47"/>
                    </a:cubicBezTo>
                    <a:cubicBezTo>
                      <a:pt x="168" y="47"/>
                      <a:pt x="168" y="47"/>
                      <a:pt x="168" y="47"/>
                    </a:cubicBezTo>
                    <a:cubicBezTo>
                      <a:pt x="273" y="47"/>
                      <a:pt x="273" y="47"/>
                      <a:pt x="273" y="47"/>
                    </a:cubicBezTo>
                    <a:lnTo>
                      <a:pt x="273" y="106"/>
                    </a:lnTo>
                    <a:close/>
                  </a:path>
                </a:pathLst>
              </a:custGeom>
              <a:solidFill>
                <a:srgbClr val="73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65" name="Freeform 171">
                <a:extLst>
                  <a:ext uri="{FF2B5EF4-FFF2-40B4-BE49-F238E27FC236}">
                    <a16:creationId xmlns:a16="http://schemas.microsoft.com/office/drawing/2014/main" id="{86C83E91-FDAF-4B56-BF13-BD151BC8E3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3" y="1830"/>
                <a:ext cx="173" cy="48"/>
              </a:xfrm>
              <a:custGeom>
                <a:avLst/>
                <a:gdLst>
                  <a:gd name="T0" fmla="*/ 63 w 73"/>
                  <a:gd name="T1" fmla="*/ 0 h 20"/>
                  <a:gd name="T2" fmla="*/ 0 w 73"/>
                  <a:gd name="T3" fmla="*/ 0 h 20"/>
                  <a:gd name="T4" fmla="*/ 0 w 73"/>
                  <a:gd name="T5" fmla="*/ 20 h 20"/>
                  <a:gd name="T6" fmla="*/ 63 w 73"/>
                  <a:gd name="T7" fmla="*/ 20 h 20"/>
                  <a:gd name="T8" fmla="*/ 73 w 73"/>
                  <a:gd name="T9" fmla="*/ 10 h 20"/>
                  <a:gd name="T10" fmla="*/ 73 w 73"/>
                  <a:gd name="T11" fmla="*/ 10 h 20"/>
                  <a:gd name="T12" fmla="*/ 63 w 73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20">
                    <a:moveTo>
                      <a:pt x="6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63" y="20"/>
                      <a:pt x="63" y="20"/>
                      <a:pt x="63" y="20"/>
                    </a:cubicBezTo>
                    <a:cubicBezTo>
                      <a:pt x="69" y="20"/>
                      <a:pt x="73" y="16"/>
                      <a:pt x="73" y="10"/>
                    </a:cubicBezTo>
                    <a:cubicBezTo>
                      <a:pt x="73" y="10"/>
                      <a:pt x="73" y="10"/>
                      <a:pt x="73" y="10"/>
                    </a:cubicBezTo>
                    <a:cubicBezTo>
                      <a:pt x="73" y="5"/>
                      <a:pt x="69" y="0"/>
                      <a:pt x="63" y="0"/>
                    </a:cubicBezTo>
                    <a:close/>
                  </a:path>
                </a:pathLst>
              </a:custGeom>
              <a:solidFill>
                <a:srgbClr val="73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66" name="Freeform 172">
                <a:extLst>
                  <a:ext uri="{FF2B5EF4-FFF2-40B4-BE49-F238E27FC236}">
                    <a16:creationId xmlns:a16="http://schemas.microsoft.com/office/drawing/2014/main" id="{92618C65-B947-42D6-9DC2-F659C93577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3" y="1137"/>
                <a:ext cx="1383" cy="698"/>
              </a:xfrm>
              <a:custGeom>
                <a:avLst/>
                <a:gdLst>
                  <a:gd name="T0" fmla="*/ 290 w 586"/>
                  <a:gd name="T1" fmla="*/ 0 h 296"/>
                  <a:gd name="T2" fmla="*/ 0 w 586"/>
                  <a:gd name="T3" fmla="*/ 241 h 296"/>
                  <a:gd name="T4" fmla="*/ 0 w 586"/>
                  <a:gd name="T5" fmla="*/ 276 h 296"/>
                  <a:gd name="T6" fmla="*/ 40 w 586"/>
                  <a:gd name="T7" fmla="*/ 296 h 296"/>
                  <a:gd name="T8" fmla="*/ 40 w 586"/>
                  <a:gd name="T9" fmla="*/ 222 h 296"/>
                  <a:gd name="T10" fmla="*/ 284 w 586"/>
                  <a:gd name="T11" fmla="*/ 46 h 296"/>
                  <a:gd name="T12" fmla="*/ 537 w 586"/>
                  <a:gd name="T13" fmla="*/ 209 h 296"/>
                  <a:gd name="T14" fmla="*/ 540 w 586"/>
                  <a:gd name="T15" fmla="*/ 211 h 296"/>
                  <a:gd name="T16" fmla="*/ 528 w 586"/>
                  <a:gd name="T17" fmla="*/ 137 h 296"/>
                  <a:gd name="T18" fmla="*/ 586 w 586"/>
                  <a:gd name="T19" fmla="*/ 154 h 296"/>
                  <a:gd name="T20" fmla="*/ 290 w 586"/>
                  <a:gd name="T21" fmla="*/ 0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6" h="296">
                    <a:moveTo>
                      <a:pt x="290" y="0"/>
                    </a:moveTo>
                    <a:cubicBezTo>
                      <a:pt x="72" y="0"/>
                      <a:pt x="0" y="166"/>
                      <a:pt x="0" y="241"/>
                    </a:cubicBezTo>
                    <a:cubicBezTo>
                      <a:pt x="0" y="251"/>
                      <a:pt x="0" y="263"/>
                      <a:pt x="0" y="276"/>
                    </a:cubicBezTo>
                    <a:cubicBezTo>
                      <a:pt x="17" y="276"/>
                      <a:pt x="31" y="284"/>
                      <a:pt x="40" y="296"/>
                    </a:cubicBezTo>
                    <a:cubicBezTo>
                      <a:pt x="40" y="275"/>
                      <a:pt x="40" y="246"/>
                      <a:pt x="40" y="222"/>
                    </a:cubicBezTo>
                    <a:cubicBezTo>
                      <a:pt x="40" y="177"/>
                      <a:pt x="112" y="46"/>
                      <a:pt x="284" y="46"/>
                    </a:cubicBezTo>
                    <a:cubicBezTo>
                      <a:pt x="433" y="46"/>
                      <a:pt x="517" y="175"/>
                      <a:pt x="537" y="209"/>
                    </a:cubicBezTo>
                    <a:cubicBezTo>
                      <a:pt x="540" y="211"/>
                      <a:pt x="540" y="211"/>
                      <a:pt x="540" y="211"/>
                    </a:cubicBezTo>
                    <a:cubicBezTo>
                      <a:pt x="528" y="137"/>
                      <a:pt x="528" y="137"/>
                      <a:pt x="528" y="137"/>
                    </a:cubicBezTo>
                    <a:cubicBezTo>
                      <a:pt x="586" y="154"/>
                      <a:pt x="586" y="154"/>
                      <a:pt x="586" y="154"/>
                    </a:cubicBezTo>
                    <a:cubicBezTo>
                      <a:pt x="586" y="154"/>
                      <a:pt x="508" y="0"/>
                      <a:pt x="290" y="0"/>
                    </a:cubicBezTo>
                    <a:close/>
                  </a:path>
                </a:pathLst>
              </a:cu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67" name="Freeform 173">
                <a:extLst>
                  <a:ext uri="{FF2B5EF4-FFF2-40B4-BE49-F238E27FC236}">
                    <a16:creationId xmlns:a16="http://schemas.microsoft.com/office/drawing/2014/main" id="{33906C22-13C2-45A9-9577-A689F4C1B9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0" y="2180"/>
                <a:ext cx="1151" cy="287"/>
              </a:xfrm>
              <a:custGeom>
                <a:avLst/>
                <a:gdLst>
                  <a:gd name="T0" fmla="*/ 445 w 488"/>
                  <a:gd name="T1" fmla="*/ 51 h 122"/>
                  <a:gd name="T2" fmla="*/ 325 w 488"/>
                  <a:gd name="T3" fmla="*/ 44 h 122"/>
                  <a:gd name="T4" fmla="*/ 291 w 488"/>
                  <a:gd name="T5" fmla="*/ 58 h 122"/>
                  <a:gd name="T6" fmla="*/ 265 w 488"/>
                  <a:gd name="T7" fmla="*/ 46 h 122"/>
                  <a:gd name="T8" fmla="*/ 145 w 488"/>
                  <a:gd name="T9" fmla="*/ 48 h 122"/>
                  <a:gd name="T10" fmla="*/ 90 w 488"/>
                  <a:gd name="T11" fmla="*/ 75 h 122"/>
                  <a:gd name="T12" fmla="*/ 3 w 488"/>
                  <a:gd name="T13" fmla="*/ 0 h 122"/>
                  <a:gd name="T14" fmla="*/ 1 w 488"/>
                  <a:gd name="T15" fmla="*/ 41 h 122"/>
                  <a:gd name="T16" fmla="*/ 79 w 488"/>
                  <a:gd name="T17" fmla="*/ 122 h 122"/>
                  <a:gd name="T18" fmla="*/ 79 w 488"/>
                  <a:gd name="T19" fmla="*/ 122 h 122"/>
                  <a:gd name="T20" fmla="*/ 164 w 488"/>
                  <a:gd name="T21" fmla="*/ 86 h 122"/>
                  <a:gd name="T22" fmla="*/ 165 w 488"/>
                  <a:gd name="T23" fmla="*/ 85 h 122"/>
                  <a:gd name="T24" fmla="*/ 398 w 488"/>
                  <a:gd name="T25" fmla="*/ 85 h 122"/>
                  <a:gd name="T26" fmla="*/ 424 w 488"/>
                  <a:gd name="T27" fmla="*/ 93 h 122"/>
                  <a:gd name="T28" fmla="*/ 424 w 488"/>
                  <a:gd name="T29" fmla="*/ 93 h 122"/>
                  <a:gd name="T30" fmla="*/ 481 w 488"/>
                  <a:gd name="T31" fmla="*/ 88 h 122"/>
                  <a:gd name="T32" fmla="*/ 488 w 488"/>
                  <a:gd name="T33" fmla="*/ 82 h 122"/>
                  <a:gd name="T34" fmla="*/ 488 w 488"/>
                  <a:gd name="T35" fmla="*/ 15 h 122"/>
                  <a:gd name="T36" fmla="*/ 458 w 488"/>
                  <a:gd name="T37" fmla="*/ 58 h 122"/>
                  <a:gd name="T38" fmla="*/ 445 w 488"/>
                  <a:gd name="T39" fmla="*/ 51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88" h="122">
                    <a:moveTo>
                      <a:pt x="445" y="51"/>
                    </a:moveTo>
                    <a:cubicBezTo>
                      <a:pt x="408" y="31"/>
                      <a:pt x="364" y="29"/>
                      <a:pt x="325" y="44"/>
                    </a:cubicBezTo>
                    <a:cubicBezTo>
                      <a:pt x="291" y="58"/>
                      <a:pt x="291" y="58"/>
                      <a:pt x="291" y="58"/>
                    </a:cubicBezTo>
                    <a:cubicBezTo>
                      <a:pt x="265" y="46"/>
                      <a:pt x="265" y="46"/>
                      <a:pt x="265" y="46"/>
                    </a:cubicBezTo>
                    <a:cubicBezTo>
                      <a:pt x="227" y="29"/>
                      <a:pt x="183" y="30"/>
                      <a:pt x="145" y="48"/>
                    </a:cubicBezTo>
                    <a:cubicBezTo>
                      <a:pt x="90" y="75"/>
                      <a:pt x="90" y="75"/>
                      <a:pt x="90" y="75"/>
                    </a:cubicBezTo>
                    <a:cubicBezTo>
                      <a:pt x="90" y="75"/>
                      <a:pt x="6" y="81"/>
                      <a:pt x="3" y="0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0" y="86"/>
                      <a:pt x="35" y="122"/>
                      <a:pt x="79" y="122"/>
                    </a:cubicBezTo>
                    <a:cubicBezTo>
                      <a:pt x="79" y="122"/>
                      <a:pt x="79" y="122"/>
                      <a:pt x="79" y="122"/>
                    </a:cubicBezTo>
                    <a:cubicBezTo>
                      <a:pt x="111" y="122"/>
                      <a:pt x="142" y="109"/>
                      <a:pt x="164" y="86"/>
                    </a:cubicBezTo>
                    <a:cubicBezTo>
                      <a:pt x="165" y="85"/>
                      <a:pt x="165" y="85"/>
                      <a:pt x="165" y="85"/>
                    </a:cubicBezTo>
                    <a:cubicBezTo>
                      <a:pt x="398" y="85"/>
                      <a:pt x="398" y="85"/>
                      <a:pt x="398" y="85"/>
                    </a:cubicBezTo>
                    <a:cubicBezTo>
                      <a:pt x="407" y="85"/>
                      <a:pt x="416" y="88"/>
                      <a:pt x="424" y="93"/>
                    </a:cubicBezTo>
                    <a:cubicBezTo>
                      <a:pt x="424" y="93"/>
                      <a:pt x="424" y="93"/>
                      <a:pt x="424" y="93"/>
                    </a:cubicBezTo>
                    <a:cubicBezTo>
                      <a:pt x="442" y="104"/>
                      <a:pt x="465" y="102"/>
                      <a:pt x="481" y="88"/>
                    </a:cubicBezTo>
                    <a:cubicBezTo>
                      <a:pt x="488" y="82"/>
                      <a:pt x="488" y="82"/>
                      <a:pt x="488" y="82"/>
                    </a:cubicBezTo>
                    <a:cubicBezTo>
                      <a:pt x="488" y="15"/>
                      <a:pt x="488" y="15"/>
                      <a:pt x="488" y="15"/>
                    </a:cubicBezTo>
                    <a:cubicBezTo>
                      <a:pt x="458" y="58"/>
                      <a:pt x="458" y="58"/>
                      <a:pt x="458" y="58"/>
                    </a:cubicBezTo>
                    <a:lnTo>
                      <a:pt x="445" y="51"/>
                    </a:lnTo>
                    <a:close/>
                  </a:path>
                </a:pathLst>
              </a:cu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68" name="Freeform 174">
                <a:extLst>
                  <a:ext uri="{FF2B5EF4-FFF2-40B4-BE49-F238E27FC236}">
                    <a16:creationId xmlns:a16="http://schemas.microsoft.com/office/drawing/2014/main" id="{8F792C4A-F376-49AB-8063-EB96A427BF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7" y="2550"/>
                <a:ext cx="241" cy="111"/>
              </a:xfrm>
              <a:custGeom>
                <a:avLst/>
                <a:gdLst>
                  <a:gd name="T0" fmla="*/ 0 w 102"/>
                  <a:gd name="T1" fmla="*/ 47 h 47"/>
                  <a:gd name="T2" fmla="*/ 102 w 102"/>
                  <a:gd name="T3" fmla="*/ 47 h 47"/>
                  <a:gd name="T4" fmla="*/ 50 w 102"/>
                  <a:gd name="T5" fmla="*/ 0 h 47"/>
                  <a:gd name="T6" fmla="*/ 0 w 102"/>
                  <a:gd name="T7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2" h="47">
                    <a:moveTo>
                      <a:pt x="0" y="47"/>
                    </a:moveTo>
                    <a:cubicBezTo>
                      <a:pt x="102" y="47"/>
                      <a:pt x="102" y="47"/>
                      <a:pt x="102" y="47"/>
                    </a:cubicBezTo>
                    <a:cubicBezTo>
                      <a:pt x="102" y="47"/>
                      <a:pt x="100" y="0"/>
                      <a:pt x="50" y="0"/>
                    </a:cubicBezTo>
                    <a:cubicBezTo>
                      <a:pt x="0" y="0"/>
                      <a:pt x="0" y="47"/>
                      <a:pt x="0" y="47"/>
                    </a:cubicBezTo>
                    <a:close/>
                  </a:path>
                </a:pathLst>
              </a:cu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</p:grpSp>
        <p:grpSp>
          <p:nvGrpSpPr>
            <p:cNvPr id="90" name="Group 595">
              <a:extLst>
                <a:ext uri="{FF2B5EF4-FFF2-40B4-BE49-F238E27FC236}">
                  <a16:creationId xmlns:a16="http://schemas.microsoft.com/office/drawing/2014/main" id="{68D79790-5AF9-4AC5-987E-1EEF21D7E9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102208" y="2938767"/>
              <a:ext cx="412442" cy="412150"/>
              <a:chOff x="2499" y="790"/>
              <a:chExt cx="2832" cy="2830"/>
            </a:xfrm>
          </p:grpSpPr>
          <p:sp>
            <p:nvSpPr>
              <p:cNvPr id="71" name="Oval 596">
                <a:extLst>
                  <a:ext uri="{FF2B5EF4-FFF2-40B4-BE49-F238E27FC236}">
                    <a16:creationId xmlns:a16="http://schemas.microsoft.com/office/drawing/2014/main" id="{CBB1262F-6963-4CB3-9185-D5E9EDF811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99" y="790"/>
                <a:ext cx="2832" cy="2830"/>
              </a:xfrm>
              <a:prstGeom prst="ellipse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72" name="Freeform 597">
                <a:extLst>
                  <a:ext uri="{FF2B5EF4-FFF2-40B4-BE49-F238E27FC236}">
                    <a16:creationId xmlns:a16="http://schemas.microsoft.com/office/drawing/2014/main" id="{9F6E666B-36E5-49D6-BDD1-1666E00F5F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0" y="2748"/>
                <a:ext cx="838" cy="658"/>
              </a:xfrm>
              <a:custGeom>
                <a:avLst/>
                <a:gdLst>
                  <a:gd name="T0" fmla="*/ 751 w 838"/>
                  <a:gd name="T1" fmla="*/ 42 h 658"/>
                  <a:gd name="T2" fmla="*/ 838 w 838"/>
                  <a:gd name="T3" fmla="*/ 658 h 658"/>
                  <a:gd name="T4" fmla="*/ 0 w 838"/>
                  <a:gd name="T5" fmla="*/ 658 h 658"/>
                  <a:gd name="T6" fmla="*/ 123 w 838"/>
                  <a:gd name="T7" fmla="*/ 42 h 658"/>
                  <a:gd name="T8" fmla="*/ 401 w 838"/>
                  <a:gd name="T9" fmla="*/ 0 h 658"/>
                  <a:gd name="T10" fmla="*/ 751 w 838"/>
                  <a:gd name="T11" fmla="*/ 42 h 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38" h="658">
                    <a:moveTo>
                      <a:pt x="751" y="42"/>
                    </a:moveTo>
                    <a:lnTo>
                      <a:pt x="838" y="658"/>
                    </a:lnTo>
                    <a:lnTo>
                      <a:pt x="0" y="658"/>
                    </a:lnTo>
                    <a:lnTo>
                      <a:pt x="123" y="42"/>
                    </a:lnTo>
                    <a:lnTo>
                      <a:pt x="401" y="0"/>
                    </a:lnTo>
                    <a:lnTo>
                      <a:pt x="751" y="42"/>
                    </a:lnTo>
                    <a:close/>
                  </a:path>
                </a:pathLst>
              </a:custGeom>
              <a:solidFill>
                <a:srgbClr val="CE9C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73" name="Freeform 598">
                <a:extLst>
                  <a:ext uri="{FF2B5EF4-FFF2-40B4-BE49-F238E27FC236}">
                    <a16:creationId xmlns:a16="http://schemas.microsoft.com/office/drawing/2014/main" id="{D4BA1081-334F-4DC0-A69E-42BB86E8DB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2062"/>
                <a:ext cx="241" cy="358"/>
              </a:xfrm>
              <a:custGeom>
                <a:avLst/>
                <a:gdLst>
                  <a:gd name="T0" fmla="*/ 102 w 102"/>
                  <a:gd name="T1" fmla="*/ 149 h 152"/>
                  <a:gd name="T2" fmla="*/ 78 w 102"/>
                  <a:gd name="T3" fmla="*/ 150 h 152"/>
                  <a:gd name="T4" fmla="*/ 3 w 102"/>
                  <a:gd name="T5" fmla="*/ 81 h 152"/>
                  <a:gd name="T6" fmla="*/ 1 w 102"/>
                  <a:gd name="T7" fmla="*/ 51 h 152"/>
                  <a:gd name="T8" fmla="*/ 47 w 102"/>
                  <a:gd name="T9" fmla="*/ 1 h 152"/>
                  <a:gd name="T10" fmla="*/ 47 w 102"/>
                  <a:gd name="T11" fmla="*/ 1 h 152"/>
                  <a:gd name="T12" fmla="*/ 97 w 102"/>
                  <a:gd name="T13" fmla="*/ 46 h 152"/>
                  <a:gd name="T14" fmla="*/ 102 w 102"/>
                  <a:gd name="T15" fmla="*/ 149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2" h="152">
                    <a:moveTo>
                      <a:pt x="102" y="149"/>
                    </a:moveTo>
                    <a:cubicBezTo>
                      <a:pt x="78" y="150"/>
                      <a:pt x="78" y="150"/>
                      <a:pt x="78" y="150"/>
                    </a:cubicBezTo>
                    <a:cubicBezTo>
                      <a:pt x="38" y="152"/>
                      <a:pt x="5" y="121"/>
                      <a:pt x="3" y="81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0" y="24"/>
                      <a:pt x="20" y="2"/>
                      <a:pt x="47" y="1"/>
                    </a:cubicBezTo>
                    <a:cubicBezTo>
                      <a:pt x="47" y="1"/>
                      <a:pt x="47" y="1"/>
                      <a:pt x="47" y="1"/>
                    </a:cubicBezTo>
                    <a:cubicBezTo>
                      <a:pt x="73" y="0"/>
                      <a:pt x="95" y="20"/>
                      <a:pt x="97" y="46"/>
                    </a:cubicBezTo>
                    <a:lnTo>
                      <a:pt x="102" y="149"/>
                    </a:lnTo>
                    <a:close/>
                  </a:path>
                </a:pathLst>
              </a:custGeom>
              <a:solidFill>
                <a:srgbClr val="D8B0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74" name="Freeform 599">
                <a:extLst>
                  <a:ext uri="{FF2B5EF4-FFF2-40B4-BE49-F238E27FC236}">
                    <a16:creationId xmlns:a16="http://schemas.microsoft.com/office/drawing/2014/main" id="{974D5DE5-D42A-478A-B988-3074EF6B3A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8" y="1993"/>
                <a:ext cx="236" cy="363"/>
              </a:xfrm>
              <a:custGeom>
                <a:avLst/>
                <a:gdLst>
                  <a:gd name="T0" fmla="*/ 6 w 100"/>
                  <a:gd name="T1" fmla="*/ 154 h 154"/>
                  <a:gd name="T2" fmla="*/ 29 w 100"/>
                  <a:gd name="T3" fmla="*/ 153 h 154"/>
                  <a:gd name="T4" fmla="*/ 98 w 100"/>
                  <a:gd name="T5" fmla="*/ 77 h 154"/>
                  <a:gd name="T6" fmla="*/ 96 w 100"/>
                  <a:gd name="T7" fmla="*/ 47 h 154"/>
                  <a:gd name="T8" fmla="*/ 46 w 100"/>
                  <a:gd name="T9" fmla="*/ 1 h 154"/>
                  <a:gd name="T10" fmla="*/ 46 w 100"/>
                  <a:gd name="T11" fmla="*/ 1 h 154"/>
                  <a:gd name="T12" fmla="*/ 1 w 100"/>
                  <a:gd name="T13" fmla="*/ 51 h 154"/>
                  <a:gd name="T14" fmla="*/ 6 w 100"/>
                  <a:gd name="T15" fmla="*/ 154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0" h="154">
                    <a:moveTo>
                      <a:pt x="6" y="154"/>
                    </a:moveTo>
                    <a:cubicBezTo>
                      <a:pt x="29" y="153"/>
                      <a:pt x="29" y="153"/>
                      <a:pt x="29" y="153"/>
                    </a:cubicBezTo>
                    <a:cubicBezTo>
                      <a:pt x="69" y="151"/>
                      <a:pt x="100" y="117"/>
                      <a:pt x="98" y="77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5" y="20"/>
                      <a:pt x="73" y="0"/>
                      <a:pt x="46" y="1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20" y="3"/>
                      <a:pt x="0" y="25"/>
                      <a:pt x="1" y="51"/>
                    </a:cubicBezTo>
                    <a:lnTo>
                      <a:pt x="6" y="154"/>
                    </a:lnTo>
                    <a:close/>
                  </a:path>
                </a:pathLst>
              </a:custGeom>
              <a:solidFill>
                <a:srgbClr val="CE9C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75" name="Freeform 600">
                <a:extLst>
                  <a:ext uri="{FF2B5EF4-FFF2-40B4-BE49-F238E27FC236}">
                    <a16:creationId xmlns:a16="http://schemas.microsoft.com/office/drawing/2014/main" id="{835179A4-14D6-4568-BB91-E31EB80E56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6" y="1257"/>
                <a:ext cx="1326" cy="1632"/>
              </a:xfrm>
              <a:custGeom>
                <a:avLst/>
                <a:gdLst>
                  <a:gd name="T0" fmla="*/ 297 w 562"/>
                  <a:gd name="T1" fmla="*/ 685 h 692"/>
                  <a:gd name="T2" fmla="*/ 297 w 562"/>
                  <a:gd name="T3" fmla="*/ 685 h 692"/>
                  <a:gd name="T4" fmla="*/ 14 w 562"/>
                  <a:gd name="T5" fmla="*/ 427 h 692"/>
                  <a:gd name="T6" fmla="*/ 7 w 562"/>
                  <a:gd name="T7" fmla="*/ 290 h 692"/>
                  <a:gd name="T8" fmla="*/ 265 w 562"/>
                  <a:gd name="T9" fmla="*/ 7 h 692"/>
                  <a:gd name="T10" fmla="*/ 265 w 562"/>
                  <a:gd name="T11" fmla="*/ 7 h 692"/>
                  <a:gd name="T12" fmla="*/ 548 w 562"/>
                  <a:gd name="T13" fmla="*/ 264 h 692"/>
                  <a:gd name="T14" fmla="*/ 555 w 562"/>
                  <a:gd name="T15" fmla="*/ 402 h 692"/>
                  <a:gd name="T16" fmla="*/ 297 w 562"/>
                  <a:gd name="T17" fmla="*/ 685 h 6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2" h="692">
                    <a:moveTo>
                      <a:pt x="297" y="685"/>
                    </a:moveTo>
                    <a:cubicBezTo>
                      <a:pt x="297" y="685"/>
                      <a:pt x="297" y="685"/>
                      <a:pt x="297" y="685"/>
                    </a:cubicBezTo>
                    <a:cubicBezTo>
                      <a:pt x="148" y="692"/>
                      <a:pt x="21" y="577"/>
                      <a:pt x="14" y="427"/>
                    </a:cubicBezTo>
                    <a:cubicBezTo>
                      <a:pt x="7" y="290"/>
                      <a:pt x="7" y="290"/>
                      <a:pt x="7" y="290"/>
                    </a:cubicBezTo>
                    <a:cubicBezTo>
                      <a:pt x="0" y="141"/>
                      <a:pt x="115" y="14"/>
                      <a:pt x="265" y="7"/>
                    </a:cubicBezTo>
                    <a:cubicBezTo>
                      <a:pt x="265" y="7"/>
                      <a:pt x="265" y="7"/>
                      <a:pt x="265" y="7"/>
                    </a:cubicBezTo>
                    <a:cubicBezTo>
                      <a:pt x="414" y="0"/>
                      <a:pt x="541" y="115"/>
                      <a:pt x="548" y="264"/>
                    </a:cubicBezTo>
                    <a:cubicBezTo>
                      <a:pt x="555" y="402"/>
                      <a:pt x="555" y="402"/>
                      <a:pt x="555" y="402"/>
                    </a:cubicBezTo>
                    <a:cubicBezTo>
                      <a:pt x="562" y="551"/>
                      <a:pt x="446" y="678"/>
                      <a:pt x="297" y="685"/>
                    </a:cubicBezTo>
                    <a:close/>
                  </a:path>
                </a:pathLst>
              </a:custGeom>
              <a:solidFill>
                <a:srgbClr val="BB91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76" name="Freeform 601">
                <a:extLst>
                  <a:ext uri="{FF2B5EF4-FFF2-40B4-BE49-F238E27FC236}">
                    <a16:creationId xmlns:a16="http://schemas.microsoft.com/office/drawing/2014/main" id="{2F3A4F00-1B86-4439-A783-B87B497E71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6" y="1257"/>
                <a:ext cx="1326" cy="1630"/>
              </a:xfrm>
              <a:custGeom>
                <a:avLst/>
                <a:gdLst>
                  <a:gd name="T0" fmla="*/ 265 w 562"/>
                  <a:gd name="T1" fmla="*/ 7 h 691"/>
                  <a:gd name="T2" fmla="*/ 7 w 562"/>
                  <a:gd name="T3" fmla="*/ 290 h 691"/>
                  <a:gd name="T4" fmla="*/ 8 w 562"/>
                  <a:gd name="T5" fmla="*/ 316 h 691"/>
                  <a:gd name="T6" fmla="*/ 17 w 562"/>
                  <a:gd name="T7" fmla="*/ 455 h 691"/>
                  <a:gd name="T8" fmla="*/ 297 w 562"/>
                  <a:gd name="T9" fmla="*/ 685 h 691"/>
                  <a:gd name="T10" fmla="*/ 555 w 562"/>
                  <a:gd name="T11" fmla="*/ 402 h 691"/>
                  <a:gd name="T12" fmla="*/ 548 w 562"/>
                  <a:gd name="T13" fmla="*/ 264 h 691"/>
                  <a:gd name="T14" fmla="*/ 265 w 562"/>
                  <a:gd name="T15" fmla="*/ 7 h 6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62" h="691">
                    <a:moveTo>
                      <a:pt x="265" y="7"/>
                    </a:moveTo>
                    <a:cubicBezTo>
                      <a:pt x="115" y="14"/>
                      <a:pt x="0" y="141"/>
                      <a:pt x="7" y="290"/>
                    </a:cubicBezTo>
                    <a:cubicBezTo>
                      <a:pt x="8" y="316"/>
                      <a:pt x="8" y="316"/>
                      <a:pt x="8" y="316"/>
                    </a:cubicBezTo>
                    <a:cubicBezTo>
                      <a:pt x="17" y="455"/>
                      <a:pt x="17" y="455"/>
                      <a:pt x="17" y="455"/>
                    </a:cubicBezTo>
                    <a:cubicBezTo>
                      <a:pt x="37" y="591"/>
                      <a:pt x="157" y="691"/>
                      <a:pt x="297" y="685"/>
                    </a:cubicBezTo>
                    <a:cubicBezTo>
                      <a:pt x="446" y="678"/>
                      <a:pt x="562" y="551"/>
                      <a:pt x="555" y="402"/>
                    </a:cubicBezTo>
                    <a:cubicBezTo>
                      <a:pt x="548" y="264"/>
                      <a:pt x="548" y="264"/>
                      <a:pt x="548" y="264"/>
                    </a:cubicBezTo>
                    <a:cubicBezTo>
                      <a:pt x="541" y="115"/>
                      <a:pt x="414" y="0"/>
                      <a:pt x="265" y="7"/>
                    </a:cubicBezTo>
                    <a:close/>
                  </a:path>
                </a:pathLst>
              </a:custGeom>
              <a:solidFill>
                <a:srgbClr val="D8B0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77" name="Freeform 602">
                <a:extLst>
                  <a:ext uri="{FF2B5EF4-FFF2-40B4-BE49-F238E27FC236}">
                    <a16:creationId xmlns:a16="http://schemas.microsoft.com/office/drawing/2014/main" id="{ACE0AAA2-0905-4467-986A-8D865E21F7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7" y="1967"/>
                <a:ext cx="646" cy="932"/>
              </a:xfrm>
              <a:custGeom>
                <a:avLst/>
                <a:gdLst>
                  <a:gd name="T0" fmla="*/ 259 w 274"/>
                  <a:gd name="T1" fmla="*/ 55 h 395"/>
                  <a:gd name="T2" fmla="*/ 259 w 274"/>
                  <a:gd name="T3" fmla="*/ 55 h 395"/>
                  <a:gd name="T4" fmla="*/ 205 w 274"/>
                  <a:gd name="T5" fmla="*/ 11 h 395"/>
                  <a:gd name="T6" fmla="*/ 140 w 274"/>
                  <a:gd name="T7" fmla="*/ 0 h 395"/>
                  <a:gd name="T8" fmla="*/ 61 w 274"/>
                  <a:gd name="T9" fmla="*/ 80 h 395"/>
                  <a:gd name="T10" fmla="*/ 79 w 274"/>
                  <a:gd name="T11" fmla="*/ 151 h 395"/>
                  <a:gd name="T12" fmla="*/ 49 w 274"/>
                  <a:gd name="T13" fmla="*/ 191 h 395"/>
                  <a:gd name="T14" fmla="*/ 43 w 274"/>
                  <a:gd name="T15" fmla="*/ 191 h 395"/>
                  <a:gd name="T16" fmla="*/ 18 w 274"/>
                  <a:gd name="T17" fmla="*/ 219 h 395"/>
                  <a:gd name="T18" fmla="*/ 20 w 274"/>
                  <a:gd name="T19" fmla="*/ 279 h 395"/>
                  <a:gd name="T20" fmla="*/ 27 w 274"/>
                  <a:gd name="T21" fmla="*/ 279 h 395"/>
                  <a:gd name="T22" fmla="*/ 63 w 274"/>
                  <a:gd name="T23" fmla="*/ 312 h 395"/>
                  <a:gd name="T24" fmla="*/ 22 w 274"/>
                  <a:gd name="T25" fmla="*/ 314 h 395"/>
                  <a:gd name="T26" fmla="*/ 23 w 274"/>
                  <a:gd name="T27" fmla="*/ 325 h 395"/>
                  <a:gd name="T28" fmla="*/ 0 w 274"/>
                  <a:gd name="T29" fmla="*/ 395 h 395"/>
                  <a:gd name="T30" fmla="*/ 123 w 274"/>
                  <a:gd name="T31" fmla="*/ 369 h 395"/>
                  <a:gd name="T32" fmla="*/ 149 w 274"/>
                  <a:gd name="T33" fmla="*/ 342 h 395"/>
                  <a:gd name="T34" fmla="*/ 274 w 274"/>
                  <a:gd name="T35" fmla="*/ 129 h 395"/>
                  <a:gd name="T36" fmla="*/ 259 w 274"/>
                  <a:gd name="T37" fmla="*/ 55 h 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4" h="395">
                    <a:moveTo>
                      <a:pt x="259" y="55"/>
                    </a:moveTo>
                    <a:cubicBezTo>
                      <a:pt x="259" y="55"/>
                      <a:pt x="259" y="55"/>
                      <a:pt x="259" y="55"/>
                    </a:cubicBezTo>
                    <a:cubicBezTo>
                      <a:pt x="243" y="12"/>
                      <a:pt x="205" y="11"/>
                      <a:pt x="205" y="11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02" y="2"/>
                      <a:pt x="51" y="43"/>
                      <a:pt x="61" y="80"/>
                    </a:cubicBezTo>
                    <a:cubicBezTo>
                      <a:pt x="79" y="151"/>
                      <a:pt x="79" y="151"/>
                      <a:pt x="79" y="151"/>
                    </a:cubicBezTo>
                    <a:cubicBezTo>
                      <a:pt x="84" y="171"/>
                      <a:pt x="70" y="190"/>
                      <a:pt x="49" y="191"/>
                    </a:cubicBezTo>
                    <a:cubicBezTo>
                      <a:pt x="43" y="191"/>
                      <a:pt x="43" y="191"/>
                      <a:pt x="43" y="191"/>
                    </a:cubicBezTo>
                    <a:cubicBezTo>
                      <a:pt x="28" y="192"/>
                      <a:pt x="17" y="204"/>
                      <a:pt x="18" y="219"/>
                    </a:cubicBezTo>
                    <a:cubicBezTo>
                      <a:pt x="20" y="279"/>
                      <a:pt x="20" y="279"/>
                      <a:pt x="20" y="279"/>
                    </a:cubicBezTo>
                    <a:cubicBezTo>
                      <a:pt x="27" y="279"/>
                      <a:pt x="27" y="279"/>
                      <a:pt x="27" y="279"/>
                    </a:cubicBezTo>
                    <a:cubicBezTo>
                      <a:pt x="46" y="278"/>
                      <a:pt x="62" y="293"/>
                      <a:pt x="63" y="312"/>
                    </a:cubicBezTo>
                    <a:cubicBezTo>
                      <a:pt x="22" y="314"/>
                      <a:pt x="22" y="314"/>
                      <a:pt x="22" y="314"/>
                    </a:cubicBezTo>
                    <a:cubicBezTo>
                      <a:pt x="23" y="325"/>
                      <a:pt x="23" y="325"/>
                      <a:pt x="23" y="325"/>
                    </a:cubicBezTo>
                    <a:cubicBezTo>
                      <a:pt x="24" y="347"/>
                      <a:pt x="16" y="380"/>
                      <a:pt x="0" y="395"/>
                    </a:cubicBezTo>
                    <a:cubicBezTo>
                      <a:pt x="123" y="369"/>
                      <a:pt x="123" y="369"/>
                      <a:pt x="123" y="369"/>
                    </a:cubicBezTo>
                    <a:cubicBezTo>
                      <a:pt x="149" y="342"/>
                      <a:pt x="149" y="342"/>
                      <a:pt x="149" y="342"/>
                    </a:cubicBezTo>
                    <a:cubicBezTo>
                      <a:pt x="221" y="297"/>
                      <a:pt x="269" y="218"/>
                      <a:pt x="274" y="129"/>
                    </a:cubicBezTo>
                    <a:lnTo>
                      <a:pt x="259" y="55"/>
                    </a:lnTo>
                    <a:close/>
                  </a:path>
                </a:pathLst>
              </a:custGeom>
              <a:solidFill>
                <a:srgbClr val="CE9C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78" name="Freeform 603">
                <a:extLst>
                  <a:ext uri="{FF2B5EF4-FFF2-40B4-BE49-F238E27FC236}">
                    <a16:creationId xmlns:a16="http://schemas.microsoft.com/office/drawing/2014/main" id="{4000B704-8D6C-42CA-B05A-B4AA5DE8B5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5" y="2418"/>
                <a:ext cx="139" cy="120"/>
              </a:xfrm>
              <a:custGeom>
                <a:avLst/>
                <a:gdLst>
                  <a:gd name="T0" fmla="*/ 59 w 59"/>
                  <a:gd name="T1" fmla="*/ 6 h 51"/>
                  <a:gd name="T2" fmla="*/ 17 w 59"/>
                  <a:gd name="T3" fmla="*/ 51 h 51"/>
                  <a:gd name="T4" fmla="*/ 59 w 59"/>
                  <a:gd name="T5" fmla="*/ 6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9" h="51">
                    <a:moveTo>
                      <a:pt x="59" y="6"/>
                    </a:moveTo>
                    <a:cubicBezTo>
                      <a:pt x="17" y="51"/>
                      <a:pt x="17" y="51"/>
                      <a:pt x="17" y="51"/>
                    </a:cubicBezTo>
                    <a:cubicBezTo>
                      <a:pt x="17" y="51"/>
                      <a:pt x="0" y="0"/>
                      <a:pt x="59" y="6"/>
                    </a:cubicBezTo>
                    <a:close/>
                  </a:path>
                </a:pathLst>
              </a:custGeom>
              <a:solidFill>
                <a:srgbClr val="CE9C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79" name="Freeform 604">
                <a:extLst>
                  <a:ext uri="{FF2B5EF4-FFF2-40B4-BE49-F238E27FC236}">
                    <a16:creationId xmlns:a16="http://schemas.microsoft.com/office/drawing/2014/main" id="{F8391FA7-50DA-4257-A82C-055D12C4FD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6" y="2833"/>
                <a:ext cx="1930" cy="787"/>
              </a:xfrm>
              <a:custGeom>
                <a:avLst/>
                <a:gdLst>
                  <a:gd name="T0" fmla="*/ 402 w 818"/>
                  <a:gd name="T1" fmla="*/ 334 h 334"/>
                  <a:gd name="T2" fmla="*/ 818 w 818"/>
                  <a:gd name="T3" fmla="*/ 167 h 334"/>
                  <a:gd name="T4" fmla="*/ 589 w 818"/>
                  <a:gd name="T5" fmla="*/ 100 h 334"/>
                  <a:gd name="T6" fmla="*/ 567 w 818"/>
                  <a:gd name="T7" fmla="*/ 0 h 334"/>
                  <a:gd name="T8" fmla="*/ 501 w 818"/>
                  <a:gd name="T9" fmla="*/ 27 h 334"/>
                  <a:gd name="T10" fmla="*/ 418 w 818"/>
                  <a:gd name="T11" fmla="*/ 176 h 334"/>
                  <a:gd name="T12" fmla="*/ 349 w 818"/>
                  <a:gd name="T13" fmla="*/ 38 h 334"/>
                  <a:gd name="T14" fmla="*/ 282 w 818"/>
                  <a:gd name="T15" fmla="*/ 2 h 334"/>
                  <a:gd name="T16" fmla="*/ 247 w 818"/>
                  <a:gd name="T17" fmla="*/ 105 h 334"/>
                  <a:gd name="T18" fmla="*/ 3 w 818"/>
                  <a:gd name="T19" fmla="*/ 179 h 334"/>
                  <a:gd name="T20" fmla="*/ 0 w 818"/>
                  <a:gd name="T21" fmla="*/ 179 h 334"/>
                  <a:gd name="T22" fmla="*/ 402 w 818"/>
                  <a:gd name="T23" fmla="*/ 334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18" h="334">
                    <a:moveTo>
                      <a:pt x="402" y="334"/>
                    </a:moveTo>
                    <a:cubicBezTo>
                      <a:pt x="563" y="334"/>
                      <a:pt x="710" y="270"/>
                      <a:pt x="818" y="167"/>
                    </a:cubicBezTo>
                    <a:cubicBezTo>
                      <a:pt x="589" y="100"/>
                      <a:pt x="589" y="100"/>
                      <a:pt x="589" y="100"/>
                    </a:cubicBezTo>
                    <a:cubicBezTo>
                      <a:pt x="567" y="0"/>
                      <a:pt x="567" y="0"/>
                      <a:pt x="567" y="0"/>
                    </a:cubicBezTo>
                    <a:cubicBezTo>
                      <a:pt x="501" y="27"/>
                      <a:pt x="501" y="27"/>
                      <a:pt x="501" y="27"/>
                    </a:cubicBezTo>
                    <a:cubicBezTo>
                      <a:pt x="418" y="176"/>
                      <a:pt x="418" y="176"/>
                      <a:pt x="418" y="176"/>
                    </a:cubicBezTo>
                    <a:cubicBezTo>
                      <a:pt x="349" y="38"/>
                      <a:pt x="349" y="38"/>
                      <a:pt x="349" y="38"/>
                    </a:cubicBezTo>
                    <a:cubicBezTo>
                      <a:pt x="282" y="2"/>
                      <a:pt x="282" y="2"/>
                      <a:pt x="282" y="2"/>
                    </a:cubicBezTo>
                    <a:cubicBezTo>
                      <a:pt x="247" y="105"/>
                      <a:pt x="247" y="105"/>
                      <a:pt x="247" y="105"/>
                    </a:cubicBezTo>
                    <a:cubicBezTo>
                      <a:pt x="3" y="179"/>
                      <a:pt x="3" y="179"/>
                      <a:pt x="3" y="179"/>
                    </a:cubicBezTo>
                    <a:cubicBezTo>
                      <a:pt x="2" y="179"/>
                      <a:pt x="1" y="179"/>
                      <a:pt x="0" y="179"/>
                    </a:cubicBezTo>
                    <a:cubicBezTo>
                      <a:pt x="106" y="275"/>
                      <a:pt x="247" y="334"/>
                      <a:pt x="402" y="334"/>
                    </a:cubicBez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0" name="Freeform 605">
                <a:extLst>
                  <a:ext uri="{FF2B5EF4-FFF2-40B4-BE49-F238E27FC236}">
                    <a16:creationId xmlns:a16="http://schemas.microsoft.com/office/drawing/2014/main" id="{6A152B2F-7917-411C-AD0B-C2AEC03F59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3" y="1121"/>
                <a:ext cx="1357" cy="1254"/>
              </a:xfrm>
              <a:custGeom>
                <a:avLst/>
                <a:gdLst>
                  <a:gd name="T0" fmla="*/ 399 w 575"/>
                  <a:gd name="T1" fmla="*/ 54 h 532"/>
                  <a:gd name="T2" fmla="*/ 121 w 575"/>
                  <a:gd name="T3" fmla="*/ 17 h 532"/>
                  <a:gd name="T4" fmla="*/ 140 w 575"/>
                  <a:gd name="T5" fmla="*/ 55 h 532"/>
                  <a:gd name="T6" fmla="*/ 41 w 575"/>
                  <a:gd name="T7" fmla="*/ 59 h 532"/>
                  <a:gd name="T8" fmla="*/ 86 w 575"/>
                  <a:gd name="T9" fmla="*/ 86 h 532"/>
                  <a:gd name="T10" fmla="*/ 5 w 575"/>
                  <a:gd name="T11" fmla="*/ 225 h 532"/>
                  <a:gd name="T12" fmla="*/ 10 w 575"/>
                  <a:gd name="T13" fmla="*/ 316 h 532"/>
                  <a:gd name="T14" fmla="*/ 26 w 575"/>
                  <a:gd name="T15" fmla="*/ 374 h 532"/>
                  <a:gd name="T16" fmla="*/ 32 w 575"/>
                  <a:gd name="T17" fmla="*/ 498 h 532"/>
                  <a:gd name="T18" fmla="*/ 69 w 575"/>
                  <a:gd name="T19" fmla="*/ 531 h 532"/>
                  <a:gd name="T20" fmla="*/ 76 w 575"/>
                  <a:gd name="T21" fmla="*/ 531 h 532"/>
                  <a:gd name="T22" fmla="*/ 67 w 575"/>
                  <a:gd name="T23" fmla="*/ 337 h 532"/>
                  <a:gd name="T24" fmla="*/ 149 w 575"/>
                  <a:gd name="T25" fmla="*/ 214 h 532"/>
                  <a:gd name="T26" fmla="*/ 161 w 575"/>
                  <a:gd name="T27" fmla="*/ 210 h 532"/>
                  <a:gd name="T28" fmla="*/ 418 w 575"/>
                  <a:gd name="T29" fmla="*/ 198 h 532"/>
                  <a:gd name="T30" fmla="*/ 430 w 575"/>
                  <a:gd name="T31" fmla="*/ 201 h 532"/>
                  <a:gd name="T32" fmla="*/ 523 w 575"/>
                  <a:gd name="T33" fmla="*/ 315 h 532"/>
                  <a:gd name="T34" fmla="*/ 532 w 575"/>
                  <a:gd name="T35" fmla="*/ 507 h 532"/>
                  <a:gd name="T36" fmla="*/ 541 w 575"/>
                  <a:gd name="T37" fmla="*/ 506 h 532"/>
                  <a:gd name="T38" fmla="*/ 574 w 575"/>
                  <a:gd name="T39" fmla="*/ 469 h 532"/>
                  <a:gd name="T40" fmla="*/ 562 w 575"/>
                  <a:gd name="T41" fmla="*/ 212 h 532"/>
                  <a:gd name="T42" fmla="*/ 399 w 575"/>
                  <a:gd name="T43" fmla="*/ 54 h 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75" h="532">
                    <a:moveTo>
                      <a:pt x="399" y="54"/>
                    </a:moveTo>
                    <a:cubicBezTo>
                      <a:pt x="399" y="54"/>
                      <a:pt x="257" y="0"/>
                      <a:pt x="121" y="17"/>
                    </a:cubicBezTo>
                    <a:cubicBezTo>
                      <a:pt x="140" y="55"/>
                      <a:pt x="140" y="55"/>
                      <a:pt x="140" y="55"/>
                    </a:cubicBezTo>
                    <a:cubicBezTo>
                      <a:pt x="41" y="59"/>
                      <a:pt x="41" y="59"/>
                      <a:pt x="41" y="59"/>
                    </a:cubicBezTo>
                    <a:cubicBezTo>
                      <a:pt x="86" y="86"/>
                      <a:pt x="86" y="86"/>
                      <a:pt x="86" y="86"/>
                    </a:cubicBezTo>
                    <a:cubicBezTo>
                      <a:pt x="42" y="120"/>
                      <a:pt x="13" y="170"/>
                      <a:pt x="5" y="225"/>
                    </a:cubicBezTo>
                    <a:cubicBezTo>
                      <a:pt x="0" y="256"/>
                      <a:pt x="2" y="287"/>
                      <a:pt x="10" y="316"/>
                    </a:cubicBezTo>
                    <a:cubicBezTo>
                      <a:pt x="26" y="374"/>
                      <a:pt x="26" y="374"/>
                      <a:pt x="26" y="374"/>
                    </a:cubicBezTo>
                    <a:cubicBezTo>
                      <a:pt x="32" y="498"/>
                      <a:pt x="32" y="498"/>
                      <a:pt x="32" y="498"/>
                    </a:cubicBezTo>
                    <a:cubicBezTo>
                      <a:pt x="33" y="517"/>
                      <a:pt x="50" y="532"/>
                      <a:pt x="69" y="531"/>
                    </a:cubicBezTo>
                    <a:cubicBezTo>
                      <a:pt x="76" y="531"/>
                      <a:pt x="76" y="531"/>
                      <a:pt x="76" y="531"/>
                    </a:cubicBezTo>
                    <a:cubicBezTo>
                      <a:pt x="67" y="337"/>
                      <a:pt x="67" y="337"/>
                      <a:pt x="67" y="337"/>
                    </a:cubicBezTo>
                    <a:cubicBezTo>
                      <a:pt x="64" y="282"/>
                      <a:pt x="97" y="233"/>
                      <a:pt x="149" y="214"/>
                    </a:cubicBezTo>
                    <a:cubicBezTo>
                      <a:pt x="161" y="210"/>
                      <a:pt x="161" y="210"/>
                      <a:pt x="161" y="210"/>
                    </a:cubicBezTo>
                    <a:cubicBezTo>
                      <a:pt x="243" y="180"/>
                      <a:pt x="333" y="176"/>
                      <a:pt x="418" y="198"/>
                    </a:cubicBezTo>
                    <a:cubicBezTo>
                      <a:pt x="430" y="201"/>
                      <a:pt x="430" y="201"/>
                      <a:pt x="430" y="201"/>
                    </a:cubicBezTo>
                    <a:cubicBezTo>
                      <a:pt x="483" y="214"/>
                      <a:pt x="521" y="260"/>
                      <a:pt x="523" y="315"/>
                    </a:cubicBezTo>
                    <a:cubicBezTo>
                      <a:pt x="532" y="507"/>
                      <a:pt x="532" y="507"/>
                      <a:pt x="532" y="507"/>
                    </a:cubicBezTo>
                    <a:cubicBezTo>
                      <a:pt x="541" y="506"/>
                      <a:pt x="541" y="506"/>
                      <a:pt x="541" y="506"/>
                    </a:cubicBezTo>
                    <a:cubicBezTo>
                      <a:pt x="560" y="505"/>
                      <a:pt x="575" y="489"/>
                      <a:pt x="574" y="469"/>
                    </a:cubicBezTo>
                    <a:cubicBezTo>
                      <a:pt x="562" y="212"/>
                      <a:pt x="562" y="212"/>
                      <a:pt x="562" y="212"/>
                    </a:cubicBezTo>
                    <a:cubicBezTo>
                      <a:pt x="552" y="9"/>
                      <a:pt x="399" y="54"/>
                      <a:pt x="399" y="54"/>
                    </a:cubicBezTo>
                    <a:close/>
                  </a:path>
                </a:pathLst>
              </a:custGeom>
              <a:solidFill>
                <a:srgbClr val="9393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1" name="Freeform 606">
                <a:extLst>
                  <a:ext uri="{FF2B5EF4-FFF2-40B4-BE49-F238E27FC236}">
                    <a16:creationId xmlns:a16="http://schemas.microsoft.com/office/drawing/2014/main" id="{59E41BC5-4462-4DAC-AA2A-ED76DEBA89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7" y="2922"/>
                <a:ext cx="234" cy="279"/>
              </a:xfrm>
              <a:custGeom>
                <a:avLst/>
                <a:gdLst>
                  <a:gd name="T0" fmla="*/ 234 w 234"/>
                  <a:gd name="T1" fmla="*/ 224 h 279"/>
                  <a:gd name="T2" fmla="*/ 123 w 234"/>
                  <a:gd name="T3" fmla="*/ 0 h 279"/>
                  <a:gd name="T4" fmla="*/ 0 w 234"/>
                  <a:gd name="T5" fmla="*/ 279 h 279"/>
                  <a:gd name="T6" fmla="*/ 158 w 234"/>
                  <a:gd name="T7" fmla="*/ 175 h 279"/>
                  <a:gd name="T8" fmla="*/ 234 w 234"/>
                  <a:gd name="T9" fmla="*/ 22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4" h="279">
                    <a:moveTo>
                      <a:pt x="234" y="224"/>
                    </a:moveTo>
                    <a:lnTo>
                      <a:pt x="123" y="0"/>
                    </a:lnTo>
                    <a:lnTo>
                      <a:pt x="0" y="279"/>
                    </a:lnTo>
                    <a:lnTo>
                      <a:pt x="158" y="175"/>
                    </a:lnTo>
                    <a:lnTo>
                      <a:pt x="234" y="224"/>
                    </a:lnTo>
                    <a:close/>
                  </a:path>
                </a:pathLst>
              </a:cu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2" name="Freeform 607">
                <a:extLst>
                  <a:ext uri="{FF2B5EF4-FFF2-40B4-BE49-F238E27FC236}">
                    <a16:creationId xmlns:a16="http://schemas.microsoft.com/office/drawing/2014/main" id="{1B99438E-A47D-48E3-AE7D-D534AB255A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9" y="2896"/>
                <a:ext cx="267" cy="305"/>
              </a:xfrm>
              <a:custGeom>
                <a:avLst/>
                <a:gdLst>
                  <a:gd name="T0" fmla="*/ 139 w 267"/>
                  <a:gd name="T1" fmla="*/ 0 h 305"/>
                  <a:gd name="T2" fmla="*/ 267 w 267"/>
                  <a:gd name="T3" fmla="*/ 305 h 305"/>
                  <a:gd name="T4" fmla="*/ 132 w 267"/>
                  <a:gd name="T5" fmla="*/ 187 h 305"/>
                  <a:gd name="T6" fmla="*/ 0 w 267"/>
                  <a:gd name="T7" fmla="*/ 250 h 305"/>
                  <a:gd name="T8" fmla="*/ 139 w 267"/>
                  <a:gd name="T9" fmla="*/ 0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7" h="305">
                    <a:moveTo>
                      <a:pt x="139" y="0"/>
                    </a:moveTo>
                    <a:lnTo>
                      <a:pt x="267" y="305"/>
                    </a:lnTo>
                    <a:lnTo>
                      <a:pt x="132" y="187"/>
                    </a:lnTo>
                    <a:lnTo>
                      <a:pt x="0" y="250"/>
                    </a:lnTo>
                    <a:lnTo>
                      <a:pt x="139" y="0"/>
                    </a:lnTo>
                    <a:close/>
                  </a:path>
                </a:pathLst>
              </a:cu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3" name="Oval 608">
                <a:extLst>
                  <a:ext uri="{FF2B5EF4-FFF2-40B4-BE49-F238E27FC236}">
                    <a16:creationId xmlns:a16="http://schemas.microsoft.com/office/drawing/2014/main" id="{5106EA6B-8BB4-4A2F-BFA0-B02A35CC90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2" y="3359"/>
                <a:ext cx="90" cy="92"/>
              </a:xfrm>
              <a:prstGeom prst="ellipse">
                <a:avLst/>
              </a:pr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4" name="Freeform 609">
                <a:extLst>
                  <a:ext uri="{FF2B5EF4-FFF2-40B4-BE49-F238E27FC236}">
                    <a16:creationId xmlns:a16="http://schemas.microsoft.com/office/drawing/2014/main" id="{8D55254E-CF70-4D15-90C7-1E056A9B4C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6" y="1920"/>
                <a:ext cx="340" cy="151"/>
              </a:xfrm>
              <a:custGeom>
                <a:avLst/>
                <a:gdLst>
                  <a:gd name="T0" fmla="*/ 10 w 144"/>
                  <a:gd name="T1" fmla="*/ 64 h 64"/>
                  <a:gd name="T2" fmla="*/ 3 w 144"/>
                  <a:gd name="T3" fmla="*/ 61 h 64"/>
                  <a:gd name="T4" fmla="*/ 4 w 144"/>
                  <a:gd name="T5" fmla="*/ 47 h 64"/>
                  <a:gd name="T6" fmla="*/ 138 w 144"/>
                  <a:gd name="T7" fmla="*/ 40 h 64"/>
                  <a:gd name="T8" fmla="*/ 142 w 144"/>
                  <a:gd name="T9" fmla="*/ 53 h 64"/>
                  <a:gd name="T10" fmla="*/ 128 w 144"/>
                  <a:gd name="T11" fmla="*/ 57 h 64"/>
                  <a:gd name="T12" fmla="*/ 16 w 144"/>
                  <a:gd name="T13" fmla="*/ 62 h 64"/>
                  <a:gd name="T14" fmla="*/ 10 w 144"/>
                  <a:gd name="T1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4" h="64">
                    <a:moveTo>
                      <a:pt x="10" y="64"/>
                    </a:moveTo>
                    <a:cubicBezTo>
                      <a:pt x="8" y="64"/>
                      <a:pt x="5" y="63"/>
                      <a:pt x="3" y="61"/>
                    </a:cubicBezTo>
                    <a:cubicBezTo>
                      <a:pt x="0" y="56"/>
                      <a:pt x="0" y="50"/>
                      <a:pt x="4" y="47"/>
                    </a:cubicBezTo>
                    <a:cubicBezTo>
                      <a:pt x="7" y="45"/>
                      <a:pt x="62" y="0"/>
                      <a:pt x="138" y="40"/>
                    </a:cubicBezTo>
                    <a:cubicBezTo>
                      <a:pt x="142" y="43"/>
                      <a:pt x="144" y="48"/>
                      <a:pt x="142" y="53"/>
                    </a:cubicBezTo>
                    <a:cubicBezTo>
                      <a:pt x="139" y="58"/>
                      <a:pt x="133" y="60"/>
                      <a:pt x="128" y="57"/>
                    </a:cubicBezTo>
                    <a:cubicBezTo>
                      <a:pt x="65" y="23"/>
                      <a:pt x="18" y="60"/>
                      <a:pt x="16" y="62"/>
                    </a:cubicBezTo>
                    <a:cubicBezTo>
                      <a:pt x="15" y="63"/>
                      <a:pt x="13" y="64"/>
                      <a:pt x="10" y="64"/>
                    </a:cubicBezTo>
                    <a:close/>
                  </a:path>
                </a:pathLst>
              </a:custGeom>
              <a:solidFill>
                <a:srgbClr val="9393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5" name="Freeform 610">
                <a:extLst>
                  <a:ext uri="{FF2B5EF4-FFF2-40B4-BE49-F238E27FC236}">
                    <a16:creationId xmlns:a16="http://schemas.microsoft.com/office/drawing/2014/main" id="{37C66893-5131-4CB1-A90E-240B8F8661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8" y="1889"/>
                <a:ext cx="342" cy="151"/>
              </a:xfrm>
              <a:custGeom>
                <a:avLst/>
                <a:gdLst>
                  <a:gd name="T0" fmla="*/ 11 w 145"/>
                  <a:gd name="T1" fmla="*/ 64 h 64"/>
                  <a:gd name="T2" fmla="*/ 4 w 145"/>
                  <a:gd name="T3" fmla="*/ 60 h 64"/>
                  <a:gd name="T4" fmla="*/ 5 w 145"/>
                  <a:gd name="T5" fmla="*/ 47 h 64"/>
                  <a:gd name="T6" fmla="*/ 138 w 145"/>
                  <a:gd name="T7" fmla="*/ 40 h 64"/>
                  <a:gd name="T8" fmla="*/ 142 w 145"/>
                  <a:gd name="T9" fmla="*/ 53 h 64"/>
                  <a:gd name="T10" fmla="*/ 129 w 145"/>
                  <a:gd name="T11" fmla="*/ 57 h 64"/>
                  <a:gd name="T12" fmla="*/ 17 w 145"/>
                  <a:gd name="T13" fmla="*/ 62 h 64"/>
                  <a:gd name="T14" fmla="*/ 11 w 145"/>
                  <a:gd name="T1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5" h="64">
                    <a:moveTo>
                      <a:pt x="11" y="64"/>
                    </a:moveTo>
                    <a:cubicBezTo>
                      <a:pt x="9" y="64"/>
                      <a:pt x="6" y="63"/>
                      <a:pt x="4" y="60"/>
                    </a:cubicBezTo>
                    <a:cubicBezTo>
                      <a:pt x="0" y="56"/>
                      <a:pt x="1" y="50"/>
                      <a:pt x="5" y="47"/>
                    </a:cubicBezTo>
                    <a:cubicBezTo>
                      <a:pt x="7" y="45"/>
                      <a:pt x="63" y="0"/>
                      <a:pt x="138" y="40"/>
                    </a:cubicBezTo>
                    <a:cubicBezTo>
                      <a:pt x="143" y="42"/>
                      <a:pt x="145" y="48"/>
                      <a:pt x="142" y="53"/>
                    </a:cubicBezTo>
                    <a:cubicBezTo>
                      <a:pt x="140" y="58"/>
                      <a:pt x="134" y="60"/>
                      <a:pt x="129" y="57"/>
                    </a:cubicBezTo>
                    <a:cubicBezTo>
                      <a:pt x="66" y="23"/>
                      <a:pt x="19" y="60"/>
                      <a:pt x="17" y="62"/>
                    </a:cubicBezTo>
                    <a:cubicBezTo>
                      <a:pt x="16" y="63"/>
                      <a:pt x="13" y="64"/>
                      <a:pt x="11" y="64"/>
                    </a:cubicBezTo>
                    <a:close/>
                  </a:path>
                </a:pathLst>
              </a:custGeom>
              <a:solidFill>
                <a:srgbClr val="9393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6" name="Freeform 611">
                <a:extLst>
                  <a:ext uri="{FF2B5EF4-FFF2-40B4-BE49-F238E27FC236}">
                    <a16:creationId xmlns:a16="http://schemas.microsoft.com/office/drawing/2014/main" id="{22B44776-9D35-423D-8BB2-080C225CD5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9" y="2083"/>
                <a:ext cx="121" cy="80"/>
              </a:xfrm>
              <a:custGeom>
                <a:avLst/>
                <a:gdLst>
                  <a:gd name="T0" fmla="*/ 50 w 51"/>
                  <a:gd name="T1" fmla="*/ 32 h 34"/>
                  <a:gd name="T2" fmla="*/ 51 w 51"/>
                  <a:gd name="T3" fmla="*/ 25 h 34"/>
                  <a:gd name="T4" fmla="*/ 25 w 51"/>
                  <a:gd name="T5" fmla="*/ 1 h 34"/>
                  <a:gd name="T6" fmla="*/ 1 w 51"/>
                  <a:gd name="T7" fmla="*/ 27 h 34"/>
                  <a:gd name="T8" fmla="*/ 2 w 51"/>
                  <a:gd name="T9" fmla="*/ 34 h 34"/>
                  <a:gd name="T10" fmla="*/ 50 w 51"/>
                  <a:gd name="T11" fmla="*/ 3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1" h="34">
                    <a:moveTo>
                      <a:pt x="50" y="32"/>
                    </a:moveTo>
                    <a:cubicBezTo>
                      <a:pt x="51" y="29"/>
                      <a:pt x="51" y="27"/>
                      <a:pt x="51" y="25"/>
                    </a:cubicBezTo>
                    <a:cubicBezTo>
                      <a:pt x="50" y="11"/>
                      <a:pt x="38" y="0"/>
                      <a:pt x="25" y="1"/>
                    </a:cubicBezTo>
                    <a:cubicBezTo>
                      <a:pt x="11" y="2"/>
                      <a:pt x="0" y="14"/>
                      <a:pt x="1" y="27"/>
                    </a:cubicBezTo>
                    <a:cubicBezTo>
                      <a:pt x="1" y="30"/>
                      <a:pt x="1" y="32"/>
                      <a:pt x="2" y="34"/>
                    </a:cubicBezTo>
                    <a:lnTo>
                      <a:pt x="50" y="32"/>
                    </a:lnTo>
                    <a:close/>
                  </a:path>
                </a:pathLst>
              </a:cu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7" name="Freeform 612">
                <a:extLst>
                  <a:ext uri="{FF2B5EF4-FFF2-40B4-BE49-F238E27FC236}">
                    <a16:creationId xmlns:a16="http://schemas.microsoft.com/office/drawing/2014/main" id="{2CCF1EA6-DF77-4796-A4A3-B74C8EC06E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1" y="2054"/>
                <a:ext cx="121" cy="78"/>
              </a:xfrm>
              <a:custGeom>
                <a:avLst/>
                <a:gdLst>
                  <a:gd name="T0" fmla="*/ 51 w 51"/>
                  <a:gd name="T1" fmla="*/ 31 h 33"/>
                  <a:gd name="T2" fmla="*/ 51 w 51"/>
                  <a:gd name="T3" fmla="*/ 24 h 33"/>
                  <a:gd name="T4" fmla="*/ 25 w 51"/>
                  <a:gd name="T5" fmla="*/ 0 h 33"/>
                  <a:gd name="T6" fmla="*/ 1 w 51"/>
                  <a:gd name="T7" fmla="*/ 27 h 33"/>
                  <a:gd name="T8" fmla="*/ 2 w 51"/>
                  <a:gd name="T9" fmla="*/ 33 h 33"/>
                  <a:gd name="T10" fmla="*/ 51 w 51"/>
                  <a:gd name="T11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1" h="33">
                    <a:moveTo>
                      <a:pt x="51" y="31"/>
                    </a:moveTo>
                    <a:cubicBezTo>
                      <a:pt x="51" y="29"/>
                      <a:pt x="51" y="26"/>
                      <a:pt x="51" y="24"/>
                    </a:cubicBezTo>
                    <a:cubicBezTo>
                      <a:pt x="51" y="10"/>
                      <a:pt x="39" y="0"/>
                      <a:pt x="25" y="0"/>
                    </a:cubicBezTo>
                    <a:cubicBezTo>
                      <a:pt x="11" y="1"/>
                      <a:pt x="0" y="13"/>
                      <a:pt x="1" y="27"/>
                    </a:cubicBezTo>
                    <a:cubicBezTo>
                      <a:pt x="1" y="29"/>
                      <a:pt x="1" y="31"/>
                      <a:pt x="2" y="33"/>
                    </a:cubicBezTo>
                    <a:lnTo>
                      <a:pt x="51" y="31"/>
                    </a:lnTo>
                    <a:close/>
                  </a:path>
                </a:pathLst>
              </a:cu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8" name="Freeform 613">
                <a:extLst>
                  <a:ext uri="{FF2B5EF4-FFF2-40B4-BE49-F238E27FC236}">
                    <a16:creationId xmlns:a16="http://schemas.microsoft.com/office/drawing/2014/main" id="{05A33CB0-7E0E-42D8-9C5D-D13439746F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7" y="2486"/>
                <a:ext cx="434" cy="116"/>
              </a:xfrm>
              <a:custGeom>
                <a:avLst/>
                <a:gdLst>
                  <a:gd name="T0" fmla="*/ 90 w 184"/>
                  <a:gd name="T1" fmla="*/ 37 h 49"/>
                  <a:gd name="T2" fmla="*/ 4 w 184"/>
                  <a:gd name="T3" fmla="*/ 20 h 49"/>
                  <a:gd name="T4" fmla="*/ 1 w 184"/>
                  <a:gd name="T5" fmla="*/ 12 h 49"/>
                  <a:gd name="T6" fmla="*/ 9 w 184"/>
                  <a:gd name="T7" fmla="*/ 9 h 49"/>
                  <a:gd name="T8" fmla="*/ 175 w 184"/>
                  <a:gd name="T9" fmla="*/ 2 h 49"/>
                  <a:gd name="T10" fmla="*/ 183 w 184"/>
                  <a:gd name="T11" fmla="*/ 3 h 49"/>
                  <a:gd name="T12" fmla="*/ 181 w 184"/>
                  <a:gd name="T13" fmla="*/ 11 h 49"/>
                  <a:gd name="T14" fmla="*/ 90 w 184"/>
                  <a:gd name="T15" fmla="*/ 3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4" h="49">
                    <a:moveTo>
                      <a:pt x="90" y="37"/>
                    </a:moveTo>
                    <a:cubicBezTo>
                      <a:pt x="43" y="37"/>
                      <a:pt x="7" y="21"/>
                      <a:pt x="4" y="20"/>
                    </a:cubicBezTo>
                    <a:cubicBezTo>
                      <a:pt x="1" y="19"/>
                      <a:pt x="0" y="15"/>
                      <a:pt x="1" y="12"/>
                    </a:cubicBezTo>
                    <a:cubicBezTo>
                      <a:pt x="3" y="9"/>
                      <a:pt x="6" y="8"/>
                      <a:pt x="9" y="9"/>
                    </a:cubicBezTo>
                    <a:cubicBezTo>
                      <a:pt x="10" y="10"/>
                      <a:pt x="101" y="49"/>
                      <a:pt x="175" y="2"/>
                    </a:cubicBezTo>
                    <a:cubicBezTo>
                      <a:pt x="177" y="0"/>
                      <a:pt x="181" y="1"/>
                      <a:pt x="183" y="3"/>
                    </a:cubicBezTo>
                    <a:cubicBezTo>
                      <a:pt x="184" y="6"/>
                      <a:pt x="184" y="10"/>
                      <a:pt x="181" y="11"/>
                    </a:cubicBezTo>
                    <a:cubicBezTo>
                      <a:pt x="151" y="31"/>
                      <a:pt x="118" y="37"/>
                      <a:pt x="90" y="37"/>
                    </a:cubicBezTo>
                    <a:close/>
                  </a:path>
                </a:pathLst>
              </a:custGeom>
              <a:solidFill>
                <a:srgbClr val="8E56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9" name="Freeform 614">
                <a:extLst>
                  <a:ext uri="{FF2B5EF4-FFF2-40B4-BE49-F238E27FC236}">
                    <a16:creationId xmlns:a16="http://schemas.microsoft.com/office/drawing/2014/main" id="{69FFF57A-FC4F-4BC7-AD03-2D73A52EEB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0" y="1264"/>
                <a:ext cx="1210" cy="1052"/>
              </a:xfrm>
              <a:custGeom>
                <a:avLst/>
                <a:gdLst>
                  <a:gd name="T0" fmla="*/ 87 w 513"/>
                  <a:gd name="T1" fmla="*/ 153 h 446"/>
                  <a:gd name="T2" fmla="*/ 99 w 513"/>
                  <a:gd name="T3" fmla="*/ 149 h 446"/>
                  <a:gd name="T4" fmla="*/ 356 w 513"/>
                  <a:gd name="T5" fmla="*/ 137 h 446"/>
                  <a:gd name="T6" fmla="*/ 368 w 513"/>
                  <a:gd name="T7" fmla="*/ 140 h 446"/>
                  <a:gd name="T8" fmla="*/ 461 w 513"/>
                  <a:gd name="T9" fmla="*/ 254 h 446"/>
                  <a:gd name="T10" fmla="*/ 470 w 513"/>
                  <a:gd name="T11" fmla="*/ 446 h 446"/>
                  <a:gd name="T12" fmla="*/ 479 w 513"/>
                  <a:gd name="T13" fmla="*/ 445 h 446"/>
                  <a:gd name="T14" fmla="*/ 512 w 513"/>
                  <a:gd name="T15" fmla="*/ 408 h 446"/>
                  <a:gd name="T16" fmla="*/ 502 w 513"/>
                  <a:gd name="T17" fmla="*/ 196 h 446"/>
                  <a:gd name="T18" fmla="*/ 330 w 513"/>
                  <a:gd name="T19" fmla="*/ 43 h 446"/>
                  <a:gd name="T20" fmla="*/ 134 w 513"/>
                  <a:gd name="T21" fmla="*/ 0 h 446"/>
                  <a:gd name="T22" fmla="*/ 172 w 513"/>
                  <a:gd name="T23" fmla="*/ 40 h 446"/>
                  <a:gd name="T24" fmla="*/ 24 w 513"/>
                  <a:gd name="T25" fmla="*/ 25 h 446"/>
                  <a:gd name="T26" fmla="*/ 24 w 513"/>
                  <a:gd name="T27" fmla="*/ 25 h 446"/>
                  <a:gd name="T28" fmla="*/ 24 w 513"/>
                  <a:gd name="T29" fmla="*/ 25 h 446"/>
                  <a:gd name="T30" fmla="*/ 24 w 513"/>
                  <a:gd name="T31" fmla="*/ 25 h 446"/>
                  <a:gd name="T32" fmla="*/ 83 w 513"/>
                  <a:gd name="T33" fmla="*/ 72 h 446"/>
                  <a:gd name="T34" fmla="*/ 7 w 513"/>
                  <a:gd name="T35" fmla="*/ 247 h 446"/>
                  <a:gd name="T36" fmla="*/ 7 w 513"/>
                  <a:gd name="T37" fmla="*/ 248 h 446"/>
                  <a:gd name="T38" fmla="*/ 87 w 513"/>
                  <a:gd name="T39" fmla="*/ 153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13" h="446">
                    <a:moveTo>
                      <a:pt x="87" y="153"/>
                    </a:moveTo>
                    <a:cubicBezTo>
                      <a:pt x="99" y="149"/>
                      <a:pt x="99" y="149"/>
                      <a:pt x="99" y="149"/>
                    </a:cubicBezTo>
                    <a:cubicBezTo>
                      <a:pt x="181" y="119"/>
                      <a:pt x="271" y="115"/>
                      <a:pt x="356" y="137"/>
                    </a:cubicBezTo>
                    <a:cubicBezTo>
                      <a:pt x="368" y="140"/>
                      <a:pt x="368" y="140"/>
                      <a:pt x="368" y="140"/>
                    </a:cubicBezTo>
                    <a:cubicBezTo>
                      <a:pt x="421" y="153"/>
                      <a:pt x="459" y="199"/>
                      <a:pt x="461" y="254"/>
                    </a:cubicBezTo>
                    <a:cubicBezTo>
                      <a:pt x="470" y="446"/>
                      <a:pt x="470" y="446"/>
                      <a:pt x="470" y="446"/>
                    </a:cubicBezTo>
                    <a:cubicBezTo>
                      <a:pt x="479" y="445"/>
                      <a:pt x="479" y="445"/>
                      <a:pt x="479" y="445"/>
                    </a:cubicBezTo>
                    <a:cubicBezTo>
                      <a:pt x="498" y="444"/>
                      <a:pt x="513" y="428"/>
                      <a:pt x="512" y="408"/>
                    </a:cubicBezTo>
                    <a:cubicBezTo>
                      <a:pt x="502" y="196"/>
                      <a:pt x="502" y="196"/>
                      <a:pt x="502" y="196"/>
                    </a:cubicBezTo>
                    <a:cubicBezTo>
                      <a:pt x="497" y="83"/>
                      <a:pt x="407" y="29"/>
                      <a:pt x="330" y="43"/>
                    </a:cubicBezTo>
                    <a:cubicBezTo>
                      <a:pt x="287" y="19"/>
                      <a:pt x="134" y="0"/>
                      <a:pt x="134" y="0"/>
                    </a:cubicBezTo>
                    <a:cubicBezTo>
                      <a:pt x="172" y="40"/>
                      <a:pt x="172" y="40"/>
                      <a:pt x="172" y="40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83" y="72"/>
                      <a:pt x="83" y="72"/>
                      <a:pt x="83" y="72"/>
                    </a:cubicBezTo>
                    <a:cubicBezTo>
                      <a:pt x="83" y="72"/>
                      <a:pt x="0" y="110"/>
                      <a:pt x="7" y="247"/>
                    </a:cubicBezTo>
                    <a:cubicBezTo>
                      <a:pt x="7" y="248"/>
                      <a:pt x="7" y="248"/>
                      <a:pt x="7" y="248"/>
                    </a:cubicBezTo>
                    <a:cubicBezTo>
                      <a:pt x="14" y="205"/>
                      <a:pt x="44" y="168"/>
                      <a:pt x="87" y="153"/>
                    </a:cubicBezTo>
                    <a:close/>
                  </a:path>
                </a:pathLst>
              </a:custGeom>
              <a:solidFill>
                <a:srgbClr val="73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</p:grpSp>
        <p:grpSp>
          <p:nvGrpSpPr>
            <p:cNvPr id="110" name="Group 925">
              <a:extLst>
                <a:ext uri="{FF2B5EF4-FFF2-40B4-BE49-F238E27FC236}">
                  <a16:creationId xmlns:a16="http://schemas.microsoft.com/office/drawing/2014/main" id="{A8F33F28-5659-4908-9C6F-3D21ECC9533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1043090" y="2938767"/>
              <a:ext cx="411515" cy="412150"/>
              <a:chOff x="2619" y="903"/>
              <a:chExt cx="2592" cy="2596"/>
            </a:xfrm>
          </p:grpSpPr>
          <p:sp>
            <p:nvSpPr>
              <p:cNvPr id="92" name="Oval 926">
                <a:extLst>
                  <a:ext uri="{FF2B5EF4-FFF2-40B4-BE49-F238E27FC236}">
                    <a16:creationId xmlns:a16="http://schemas.microsoft.com/office/drawing/2014/main" id="{EB703ECF-5DEF-4C63-B415-7920DEB479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19" y="903"/>
                <a:ext cx="2592" cy="2596"/>
              </a:xfrm>
              <a:prstGeom prst="ellipse">
                <a:avLst/>
              </a:prstGeom>
              <a:solidFill>
                <a:srgbClr val="F250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93" name="Freeform 927">
                <a:extLst>
                  <a:ext uri="{FF2B5EF4-FFF2-40B4-BE49-F238E27FC236}">
                    <a16:creationId xmlns:a16="http://schemas.microsoft.com/office/drawing/2014/main" id="{B864B928-738F-4B8A-BAF9-EE4225539C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4" y="2666"/>
                <a:ext cx="748" cy="609"/>
              </a:xfrm>
              <a:custGeom>
                <a:avLst/>
                <a:gdLst>
                  <a:gd name="T0" fmla="*/ 647 w 748"/>
                  <a:gd name="T1" fmla="*/ 0 h 609"/>
                  <a:gd name="T2" fmla="*/ 748 w 748"/>
                  <a:gd name="T3" fmla="*/ 609 h 609"/>
                  <a:gd name="T4" fmla="*/ 0 w 748"/>
                  <a:gd name="T5" fmla="*/ 609 h 609"/>
                  <a:gd name="T6" fmla="*/ 120 w 748"/>
                  <a:gd name="T7" fmla="*/ 0 h 609"/>
                  <a:gd name="T8" fmla="*/ 359 w 748"/>
                  <a:gd name="T9" fmla="*/ 19 h 609"/>
                  <a:gd name="T10" fmla="*/ 647 w 748"/>
                  <a:gd name="T11" fmla="*/ 0 h 609"/>
                  <a:gd name="T12" fmla="*/ 647 w 748"/>
                  <a:gd name="T13" fmla="*/ 0 h 609"/>
                  <a:gd name="T14" fmla="*/ 647 w 748"/>
                  <a:gd name="T15" fmla="*/ 0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8" h="609">
                    <a:moveTo>
                      <a:pt x="647" y="0"/>
                    </a:moveTo>
                    <a:lnTo>
                      <a:pt x="748" y="609"/>
                    </a:lnTo>
                    <a:lnTo>
                      <a:pt x="0" y="609"/>
                    </a:lnTo>
                    <a:lnTo>
                      <a:pt x="120" y="0"/>
                    </a:lnTo>
                    <a:lnTo>
                      <a:pt x="359" y="19"/>
                    </a:lnTo>
                    <a:lnTo>
                      <a:pt x="647" y="0"/>
                    </a:lnTo>
                    <a:lnTo>
                      <a:pt x="647" y="0"/>
                    </a:lnTo>
                    <a:lnTo>
                      <a:pt x="647" y="0"/>
                    </a:lnTo>
                    <a:close/>
                  </a:path>
                </a:pathLst>
              </a:custGeom>
              <a:solidFill>
                <a:srgbClr val="DEB69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94" name="Freeform 928">
                <a:extLst>
                  <a:ext uri="{FF2B5EF4-FFF2-40B4-BE49-F238E27FC236}">
                    <a16:creationId xmlns:a16="http://schemas.microsoft.com/office/drawing/2014/main" id="{B5A5CA51-6FC1-4F52-94A3-79F7D1D294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5" y="2008"/>
                <a:ext cx="217" cy="326"/>
              </a:xfrm>
              <a:custGeom>
                <a:avLst/>
                <a:gdLst>
                  <a:gd name="T0" fmla="*/ 85 w 92"/>
                  <a:gd name="T1" fmla="*/ 138 h 138"/>
                  <a:gd name="T2" fmla="*/ 63 w 92"/>
                  <a:gd name="T3" fmla="*/ 136 h 138"/>
                  <a:gd name="T4" fmla="*/ 2 w 92"/>
                  <a:gd name="T5" fmla="*/ 69 h 138"/>
                  <a:gd name="T6" fmla="*/ 4 w 92"/>
                  <a:gd name="T7" fmla="*/ 41 h 138"/>
                  <a:gd name="T8" fmla="*/ 49 w 92"/>
                  <a:gd name="T9" fmla="*/ 2 h 138"/>
                  <a:gd name="T10" fmla="*/ 49 w 92"/>
                  <a:gd name="T11" fmla="*/ 2 h 138"/>
                  <a:gd name="T12" fmla="*/ 90 w 92"/>
                  <a:gd name="T13" fmla="*/ 47 h 138"/>
                  <a:gd name="T14" fmla="*/ 85 w 92"/>
                  <a:gd name="T15" fmla="*/ 138 h 138"/>
                  <a:gd name="T16" fmla="*/ 85 w 92"/>
                  <a:gd name="T17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" h="138">
                    <a:moveTo>
                      <a:pt x="85" y="138"/>
                    </a:moveTo>
                    <a:cubicBezTo>
                      <a:pt x="63" y="136"/>
                      <a:pt x="63" y="136"/>
                      <a:pt x="63" y="136"/>
                    </a:cubicBezTo>
                    <a:cubicBezTo>
                      <a:pt x="28" y="134"/>
                      <a:pt x="0" y="104"/>
                      <a:pt x="2" y="69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6" y="19"/>
                      <a:pt x="26" y="0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ubicBezTo>
                      <a:pt x="74" y="3"/>
                      <a:pt x="92" y="23"/>
                      <a:pt x="90" y="47"/>
                    </a:cubicBezTo>
                    <a:cubicBezTo>
                      <a:pt x="85" y="138"/>
                      <a:pt x="85" y="138"/>
                      <a:pt x="85" y="138"/>
                    </a:cubicBezTo>
                    <a:cubicBezTo>
                      <a:pt x="85" y="138"/>
                      <a:pt x="85" y="138"/>
                      <a:pt x="85" y="138"/>
                    </a:cubicBezTo>
                    <a:close/>
                  </a:path>
                </a:pathLst>
              </a:custGeom>
              <a:solidFill>
                <a:srgbClr val="F6CA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95" name="Freeform 929">
                <a:extLst>
                  <a:ext uri="{FF2B5EF4-FFF2-40B4-BE49-F238E27FC236}">
                    <a16:creationId xmlns:a16="http://schemas.microsoft.com/office/drawing/2014/main" id="{B9B2A9A1-7791-48D9-BBBB-E3F0E6D4E1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3" y="2084"/>
                <a:ext cx="217" cy="316"/>
              </a:xfrm>
              <a:custGeom>
                <a:avLst/>
                <a:gdLst>
                  <a:gd name="T0" fmla="*/ 0 w 92"/>
                  <a:gd name="T1" fmla="*/ 131 h 134"/>
                  <a:gd name="T2" fmla="*/ 20 w 92"/>
                  <a:gd name="T3" fmla="*/ 132 h 134"/>
                  <a:gd name="T4" fmla="*/ 89 w 92"/>
                  <a:gd name="T5" fmla="*/ 73 h 134"/>
                  <a:gd name="T6" fmla="*/ 90 w 92"/>
                  <a:gd name="T7" fmla="*/ 46 h 134"/>
                  <a:gd name="T8" fmla="*/ 51 w 92"/>
                  <a:gd name="T9" fmla="*/ 2 h 134"/>
                  <a:gd name="T10" fmla="*/ 51 w 92"/>
                  <a:gd name="T11" fmla="*/ 2 h 134"/>
                  <a:gd name="T12" fmla="*/ 6 w 92"/>
                  <a:gd name="T13" fmla="*/ 41 h 134"/>
                  <a:gd name="T14" fmla="*/ 0 w 92"/>
                  <a:gd name="T15" fmla="*/ 131 h 134"/>
                  <a:gd name="T16" fmla="*/ 0 w 92"/>
                  <a:gd name="T17" fmla="*/ 131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" h="134">
                    <a:moveTo>
                      <a:pt x="0" y="131"/>
                    </a:moveTo>
                    <a:cubicBezTo>
                      <a:pt x="20" y="132"/>
                      <a:pt x="20" y="132"/>
                      <a:pt x="20" y="132"/>
                    </a:cubicBezTo>
                    <a:cubicBezTo>
                      <a:pt x="56" y="134"/>
                      <a:pt x="86" y="108"/>
                      <a:pt x="89" y="73"/>
                    </a:cubicBezTo>
                    <a:cubicBezTo>
                      <a:pt x="90" y="46"/>
                      <a:pt x="90" y="46"/>
                      <a:pt x="90" y="46"/>
                    </a:cubicBezTo>
                    <a:cubicBezTo>
                      <a:pt x="92" y="23"/>
                      <a:pt x="74" y="3"/>
                      <a:pt x="51" y="2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27" y="0"/>
                      <a:pt x="7" y="18"/>
                      <a:pt x="6" y="41"/>
                    </a:cubicBezTo>
                    <a:cubicBezTo>
                      <a:pt x="0" y="131"/>
                      <a:pt x="0" y="131"/>
                      <a:pt x="0" y="131"/>
                    </a:cubicBezTo>
                    <a:cubicBezTo>
                      <a:pt x="0" y="131"/>
                      <a:pt x="0" y="131"/>
                      <a:pt x="0" y="131"/>
                    </a:cubicBezTo>
                    <a:close/>
                  </a:path>
                </a:pathLst>
              </a:custGeom>
              <a:solidFill>
                <a:srgbClr val="DEB69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96" name="Freeform 930">
                <a:extLst>
                  <a:ext uri="{FF2B5EF4-FFF2-40B4-BE49-F238E27FC236}">
                    <a16:creationId xmlns:a16="http://schemas.microsoft.com/office/drawing/2014/main" id="{5778F9F6-6EFB-47CA-B976-C624145132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6" y="1353"/>
                <a:ext cx="1199" cy="1464"/>
              </a:xfrm>
              <a:custGeom>
                <a:avLst/>
                <a:gdLst>
                  <a:gd name="T0" fmla="*/ 236 w 508"/>
                  <a:gd name="T1" fmla="*/ 612 h 621"/>
                  <a:gd name="T2" fmla="*/ 236 w 508"/>
                  <a:gd name="T3" fmla="*/ 612 h 621"/>
                  <a:gd name="T4" fmla="*/ 7 w 508"/>
                  <a:gd name="T5" fmla="*/ 357 h 621"/>
                  <a:gd name="T6" fmla="*/ 15 w 508"/>
                  <a:gd name="T7" fmla="*/ 234 h 621"/>
                  <a:gd name="T8" fmla="*/ 273 w 508"/>
                  <a:gd name="T9" fmla="*/ 7 h 621"/>
                  <a:gd name="T10" fmla="*/ 273 w 508"/>
                  <a:gd name="T11" fmla="*/ 7 h 621"/>
                  <a:gd name="T12" fmla="*/ 501 w 508"/>
                  <a:gd name="T13" fmla="*/ 263 h 621"/>
                  <a:gd name="T14" fmla="*/ 494 w 508"/>
                  <a:gd name="T15" fmla="*/ 386 h 621"/>
                  <a:gd name="T16" fmla="*/ 236 w 508"/>
                  <a:gd name="T17" fmla="*/ 612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8" h="621">
                    <a:moveTo>
                      <a:pt x="236" y="612"/>
                    </a:moveTo>
                    <a:cubicBezTo>
                      <a:pt x="236" y="612"/>
                      <a:pt x="236" y="612"/>
                      <a:pt x="236" y="612"/>
                    </a:cubicBezTo>
                    <a:cubicBezTo>
                      <a:pt x="102" y="605"/>
                      <a:pt x="0" y="491"/>
                      <a:pt x="7" y="357"/>
                    </a:cubicBezTo>
                    <a:cubicBezTo>
                      <a:pt x="15" y="234"/>
                      <a:pt x="15" y="234"/>
                      <a:pt x="15" y="234"/>
                    </a:cubicBezTo>
                    <a:cubicBezTo>
                      <a:pt x="23" y="101"/>
                      <a:pt x="138" y="0"/>
                      <a:pt x="273" y="7"/>
                    </a:cubicBezTo>
                    <a:cubicBezTo>
                      <a:pt x="273" y="7"/>
                      <a:pt x="273" y="7"/>
                      <a:pt x="273" y="7"/>
                    </a:cubicBezTo>
                    <a:cubicBezTo>
                      <a:pt x="406" y="15"/>
                      <a:pt x="508" y="130"/>
                      <a:pt x="501" y="263"/>
                    </a:cubicBezTo>
                    <a:cubicBezTo>
                      <a:pt x="494" y="386"/>
                      <a:pt x="494" y="386"/>
                      <a:pt x="494" y="386"/>
                    </a:cubicBezTo>
                    <a:cubicBezTo>
                      <a:pt x="485" y="519"/>
                      <a:pt x="370" y="621"/>
                      <a:pt x="236" y="612"/>
                    </a:cubicBezTo>
                    <a:close/>
                  </a:path>
                </a:pathLst>
              </a:custGeom>
              <a:solidFill>
                <a:srgbClr val="BB91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97" name="Freeform 931">
                <a:extLst>
                  <a:ext uri="{FF2B5EF4-FFF2-40B4-BE49-F238E27FC236}">
                    <a16:creationId xmlns:a16="http://schemas.microsoft.com/office/drawing/2014/main" id="{C9E90EC2-C8BC-4E8D-AF3D-507869068B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3" y="1353"/>
                <a:ext cx="1182" cy="1464"/>
              </a:xfrm>
              <a:custGeom>
                <a:avLst/>
                <a:gdLst>
                  <a:gd name="T0" fmla="*/ 265 w 501"/>
                  <a:gd name="T1" fmla="*/ 7 h 621"/>
                  <a:gd name="T2" fmla="*/ 7 w 501"/>
                  <a:gd name="T3" fmla="*/ 234 h 621"/>
                  <a:gd name="T4" fmla="*/ 6 w 501"/>
                  <a:gd name="T5" fmla="*/ 257 h 621"/>
                  <a:gd name="T6" fmla="*/ 0 w 501"/>
                  <a:gd name="T7" fmla="*/ 382 h 621"/>
                  <a:gd name="T8" fmla="*/ 229 w 501"/>
                  <a:gd name="T9" fmla="*/ 612 h 621"/>
                  <a:gd name="T10" fmla="*/ 487 w 501"/>
                  <a:gd name="T11" fmla="*/ 386 h 621"/>
                  <a:gd name="T12" fmla="*/ 494 w 501"/>
                  <a:gd name="T13" fmla="*/ 263 h 621"/>
                  <a:gd name="T14" fmla="*/ 265 w 501"/>
                  <a:gd name="T15" fmla="*/ 7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01" h="621">
                    <a:moveTo>
                      <a:pt x="265" y="7"/>
                    </a:moveTo>
                    <a:cubicBezTo>
                      <a:pt x="131" y="0"/>
                      <a:pt x="16" y="101"/>
                      <a:pt x="7" y="234"/>
                    </a:cubicBezTo>
                    <a:cubicBezTo>
                      <a:pt x="6" y="257"/>
                      <a:pt x="6" y="257"/>
                      <a:pt x="6" y="257"/>
                    </a:cubicBezTo>
                    <a:cubicBezTo>
                      <a:pt x="0" y="382"/>
                      <a:pt x="0" y="382"/>
                      <a:pt x="0" y="382"/>
                    </a:cubicBezTo>
                    <a:cubicBezTo>
                      <a:pt x="5" y="504"/>
                      <a:pt x="103" y="605"/>
                      <a:pt x="229" y="612"/>
                    </a:cubicBezTo>
                    <a:cubicBezTo>
                      <a:pt x="363" y="621"/>
                      <a:pt x="478" y="519"/>
                      <a:pt x="487" y="386"/>
                    </a:cubicBezTo>
                    <a:cubicBezTo>
                      <a:pt x="494" y="263"/>
                      <a:pt x="494" y="263"/>
                      <a:pt x="494" y="263"/>
                    </a:cubicBezTo>
                    <a:cubicBezTo>
                      <a:pt x="501" y="130"/>
                      <a:pt x="399" y="15"/>
                      <a:pt x="265" y="7"/>
                    </a:cubicBezTo>
                    <a:close/>
                  </a:path>
                </a:pathLst>
              </a:custGeom>
              <a:solidFill>
                <a:srgbClr val="F6CA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98" name="Freeform 932">
                <a:extLst>
                  <a:ext uri="{FF2B5EF4-FFF2-40B4-BE49-F238E27FC236}">
                    <a16:creationId xmlns:a16="http://schemas.microsoft.com/office/drawing/2014/main" id="{3F247789-B1DF-4DDD-B6E7-3AE1C8DB05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3" y="2018"/>
                <a:ext cx="642" cy="799"/>
              </a:xfrm>
              <a:custGeom>
                <a:avLst/>
                <a:gdLst>
                  <a:gd name="T0" fmla="*/ 266 w 272"/>
                  <a:gd name="T1" fmla="*/ 62 h 339"/>
                  <a:gd name="T2" fmla="*/ 266 w 272"/>
                  <a:gd name="T3" fmla="*/ 62 h 339"/>
                  <a:gd name="T4" fmla="*/ 221 w 272"/>
                  <a:gd name="T5" fmla="*/ 18 h 339"/>
                  <a:gd name="T6" fmla="*/ 164 w 272"/>
                  <a:gd name="T7" fmla="*/ 2 h 339"/>
                  <a:gd name="T8" fmla="*/ 85 w 272"/>
                  <a:gd name="T9" fmla="*/ 65 h 339"/>
                  <a:gd name="T10" fmla="*/ 95 w 272"/>
                  <a:gd name="T11" fmla="*/ 130 h 339"/>
                  <a:gd name="T12" fmla="*/ 65 w 272"/>
                  <a:gd name="T13" fmla="*/ 163 h 339"/>
                  <a:gd name="T14" fmla="*/ 58 w 272"/>
                  <a:gd name="T15" fmla="*/ 162 h 339"/>
                  <a:gd name="T16" fmla="*/ 33 w 272"/>
                  <a:gd name="T17" fmla="*/ 184 h 339"/>
                  <a:gd name="T18" fmla="*/ 28 w 272"/>
                  <a:gd name="T19" fmla="*/ 269 h 339"/>
                  <a:gd name="T20" fmla="*/ 28 w 272"/>
                  <a:gd name="T21" fmla="*/ 279 h 339"/>
                  <a:gd name="T22" fmla="*/ 0 w 272"/>
                  <a:gd name="T23" fmla="*/ 339 h 339"/>
                  <a:gd name="T24" fmla="*/ 114 w 272"/>
                  <a:gd name="T25" fmla="*/ 328 h 339"/>
                  <a:gd name="T26" fmla="*/ 139 w 272"/>
                  <a:gd name="T27" fmla="*/ 307 h 339"/>
                  <a:gd name="T28" fmla="*/ 272 w 272"/>
                  <a:gd name="T29" fmla="*/ 129 h 339"/>
                  <a:gd name="T30" fmla="*/ 266 w 272"/>
                  <a:gd name="T31" fmla="*/ 62 h 339"/>
                  <a:gd name="T32" fmla="*/ 266 w 272"/>
                  <a:gd name="T33" fmla="*/ 62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2" h="339">
                    <a:moveTo>
                      <a:pt x="266" y="62"/>
                    </a:moveTo>
                    <a:cubicBezTo>
                      <a:pt x="266" y="62"/>
                      <a:pt x="266" y="62"/>
                      <a:pt x="266" y="62"/>
                    </a:cubicBezTo>
                    <a:cubicBezTo>
                      <a:pt x="256" y="22"/>
                      <a:pt x="221" y="18"/>
                      <a:pt x="221" y="18"/>
                    </a:cubicBezTo>
                    <a:cubicBezTo>
                      <a:pt x="164" y="2"/>
                      <a:pt x="164" y="2"/>
                      <a:pt x="164" y="2"/>
                    </a:cubicBezTo>
                    <a:cubicBezTo>
                      <a:pt x="129" y="0"/>
                      <a:pt x="80" y="32"/>
                      <a:pt x="85" y="65"/>
                    </a:cubicBezTo>
                    <a:cubicBezTo>
                      <a:pt x="95" y="130"/>
                      <a:pt x="95" y="130"/>
                      <a:pt x="95" y="130"/>
                    </a:cubicBezTo>
                    <a:cubicBezTo>
                      <a:pt x="97" y="148"/>
                      <a:pt x="83" y="164"/>
                      <a:pt x="65" y="163"/>
                    </a:cubicBezTo>
                    <a:cubicBezTo>
                      <a:pt x="58" y="162"/>
                      <a:pt x="58" y="162"/>
                      <a:pt x="58" y="162"/>
                    </a:cubicBezTo>
                    <a:cubicBezTo>
                      <a:pt x="45" y="161"/>
                      <a:pt x="34" y="171"/>
                      <a:pt x="33" y="184"/>
                    </a:cubicBezTo>
                    <a:cubicBezTo>
                      <a:pt x="28" y="269"/>
                      <a:pt x="28" y="269"/>
                      <a:pt x="28" y="269"/>
                    </a:cubicBezTo>
                    <a:cubicBezTo>
                      <a:pt x="28" y="279"/>
                      <a:pt x="28" y="279"/>
                      <a:pt x="28" y="279"/>
                    </a:cubicBezTo>
                    <a:cubicBezTo>
                      <a:pt x="26" y="298"/>
                      <a:pt x="16" y="328"/>
                      <a:pt x="0" y="339"/>
                    </a:cubicBezTo>
                    <a:cubicBezTo>
                      <a:pt x="114" y="328"/>
                      <a:pt x="114" y="328"/>
                      <a:pt x="114" y="328"/>
                    </a:cubicBezTo>
                    <a:cubicBezTo>
                      <a:pt x="139" y="307"/>
                      <a:pt x="139" y="307"/>
                      <a:pt x="139" y="307"/>
                    </a:cubicBezTo>
                    <a:cubicBezTo>
                      <a:pt x="208" y="273"/>
                      <a:pt x="259" y="208"/>
                      <a:pt x="272" y="129"/>
                    </a:cubicBezTo>
                    <a:cubicBezTo>
                      <a:pt x="266" y="62"/>
                      <a:pt x="266" y="62"/>
                      <a:pt x="266" y="62"/>
                    </a:cubicBezTo>
                    <a:cubicBezTo>
                      <a:pt x="266" y="62"/>
                      <a:pt x="266" y="62"/>
                      <a:pt x="266" y="62"/>
                    </a:cubicBezTo>
                    <a:close/>
                  </a:path>
                </a:pathLst>
              </a:custGeom>
              <a:solidFill>
                <a:srgbClr val="DEB69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99" name="Freeform 933">
                <a:extLst>
                  <a:ext uri="{FF2B5EF4-FFF2-40B4-BE49-F238E27FC236}">
                    <a16:creationId xmlns:a16="http://schemas.microsoft.com/office/drawing/2014/main" id="{C5B8DB87-A840-4BC6-AB71-9090FD6603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0" y="2758"/>
                <a:ext cx="1792" cy="741"/>
              </a:xfrm>
              <a:custGeom>
                <a:avLst/>
                <a:gdLst>
                  <a:gd name="T0" fmla="*/ 384 w 759"/>
                  <a:gd name="T1" fmla="*/ 314 h 314"/>
                  <a:gd name="T2" fmla="*/ 759 w 759"/>
                  <a:gd name="T3" fmla="*/ 166 h 314"/>
                  <a:gd name="T4" fmla="*/ 733 w 759"/>
                  <a:gd name="T5" fmla="*/ 151 h 314"/>
                  <a:gd name="T6" fmla="*/ 521 w 759"/>
                  <a:gd name="T7" fmla="*/ 89 h 314"/>
                  <a:gd name="T8" fmla="*/ 502 w 759"/>
                  <a:gd name="T9" fmla="*/ 0 h 314"/>
                  <a:gd name="T10" fmla="*/ 443 w 759"/>
                  <a:gd name="T11" fmla="*/ 24 h 314"/>
                  <a:gd name="T12" fmla="*/ 367 w 759"/>
                  <a:gd name="T13" fmla="*/ 158 h 314"/>
                  <a:gd name="T14" fmla="*/ 306 w 759"/>
                  <a:gd name="T15" fmla="*/ 33 h 314"/>
                  <a:gd name="T16" fmla="*/ 246 w 759"/>
                  <a:gd name="T17" fmla="*/ 1 h 314"/>
                  <a:gd name="T18" fmla="*/ 214 w 759"/>
                  <a:gd name="T19" fmla="*/ 94 h 314"/>
                  <a:gd name="T20" fmla="*/ 0 w 759"/>
                  <a:gd name="T21" fmla="*/ 158 h 314"/>
                  <a:gd name="T22" fmla="*/ 384 w 759"/>
                  <a:gd name="T23" fmla="*/ 314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59" h="314">
                    <a:moveTo>
                      <a:pt x="384" y="314"/>
                    </a:moveTo>
                    <a:cubicBezTo>
                      <a:pt x="529" y="314"/>
                      <a:pt x="661" y="257"/>
                      <a:pt x="759" y="166"/>
                    </a:cubicBezTo>
                    <a:cubicBezTo>
                      <a:pt x="752" y="160"/>
                      <a:pt x="743" y="154"/>
                      <a:pt x="733" y="151"/>
                    </a:cubicBezTo>
                    <a:cubicBezTo>
                      <a:pt x="521" y="89"/>
                      <a:pt x="521" y="89"/>
                      <a:pt x="521" y="89"/>
                    </a:cubicBezTo>
                    <a:cubicBezTo>
                      <a:pt x="502" y="0"/>
                      <a:pt x="502" y="0"/>
                      <a:pt x="502" y="0"/>
                    </a:cubicBezTo>
                    <a:cubicBezTo>
                      <a:pt x="443" y="24"/>
                      <a:pt x="443" y="24"/>
                      <a:pt x="443" y="24"/>
                    </a:cubicBezTo>
                    <a:cubicBezTo>
                      <a:pt x="367" y="158"/>
                      <a:pt x="367" y="158"/>
                      <a:pt x="367" y="158"/>
                    </a:cubicBezTo>
                    <a:cubicBezTo>
                      <a:pt x="306" y="33"/>
                      <a:pt x="306" y="33"/>
                      <a:pt x="306" y="33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14" y="94"/>
                      <a:pt x="214" y="94"/>
                      <a:pt x="214" y="94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100" y="255"/>
                      <a:pt x="235" y="314"/>
                      <a:pt x="384" y="314"/>
                    </a:cubicBezTo>
                    <a:close/>
                  </a:path>
                </a:pathLst>
              </a:cu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100" name="Freeform 934">
                <a:extLst>
                  <a:ext uri="{FF2B5EF4-FFF2-40B4-BE49-F238E27FC236}">
                    <a16:creationId xmlns:a16="http://schemas.microsoft.com/office/drawing/2014/main" id="{221A9959-E361-4A07-B801-2B69622178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0" y="2841"/>
                <a:ext cx="217" cy="250"/>
              </a:xfrm>
              <a:custGeom>
                <a:avLst/>
                <a:gdLst>
                  <a:gd name="T0" fmla="*/ 217 w 217"/>
                  <a:gd name="T1" fmla="*/ 200 h 250"/>
                  <a:gd name="T2" fmla="*/ 113 w 217"/>
                  <a:gd name="T3" fmla="*/ 0 h 250"/>
                  <a:gd name="T4" fmla="*/ 0 w 217"/>
                  <a:gd name="T5" fmla="*/ 250 h 250"/>
                  <a:gd name="T6" fmla="*/ 148 w 217"/>
                  <a:gd name="T7" fmla="*/ 155 h 250"/>
                  <a:gd name="T8" fmla="*/ 217 w 217"/>
                  <a:gd name="T9" fmla="*/ 200 h 250"/>
                  <a:gd name="T10" fmla="*/ 217 w 217"/>
                  <a:gd name="T11" fmla="*/ 200 h 250"/>
                  <a:gd name="T12" fmla="*/ 217 w 217"/>
                  <a:gd name="T13" fmla="*/ 20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7" h="250">
                    <a:moveTo>
                      <a:pt x="217" y="200"/>
                    </a:moveTo>
                    <a:lnTo>
                      <a:pt x="113" y="0"/>
                    </a:lnTo>
                    <a:lnTo>
                      <a:pt x="0" y="250"/>
                    </a:lnTo>
                    <a:lnTo>
                      <a:pt x="148" y="155"/>
                    </a:lnTo>
                    <a:lnTo>
                      <a:pt x="217" y="200"/>
                    </a:lnTo>
                    <a:lnTo>
                      <a:pt x="217" y="200"/>
                    </a:lnTo>
                    <a:lnTo>
                      <a:pt x="217" y="200"/>
                    </a:lnTo>
                    <a:close/>
                  </a:path>
                </a:pathLst>
              </a:custGeom>
              <a:solidFill>
                <a:srgbClr val="008C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101" name="Freeform 935">
                <a:extLst>
                  <a:ext uri="{FF2B5EF4-FFF2-40B4-BE49-F238E27FC236}">
                    <a16:creationId xmlns:a16="http://schemas.microsoft.com/office/drawing/2014/main" id="{C8556F7B-D14A-44E7-9C83-6CD3975AFE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9" y="2817"/>
                <a:ext cx="241" cy="274"/>
              </a:xfrm>
              <a:custGeom>
                <a:avLst/>
                <a:gdLst>
                  <a:gd name="T0" fmla="*/ 127 w 241"/>
                  <a:gd name="T1" fmla="*/ 0 h 274"/>
                  <a:gd name="T2" fmla="*/ 241 w 241"/>
                  <a:gd name="T3" fmla="*/ 274 h 274"/>
                  <a:gd name="T4" fmla="*/ 120 w 241"/>
                  <a:gd name="T5" fmla="*/ 168 h 274"/>
                  <a:gd name="T6" fmla="*/ 0 w 241"/>
                  <a:gd name="T7" fmla="*/ 224 h 274"/>
                  <a:gd name="T8" fmla="*/ 127 w 241"/>
                  <a:gd name="T9" fmla="*/ 0 h 274"/>
                  <a:gd name="T10" fmla="*/ 127 w 241"/>
                  <a:gd name="T11" fmla="*/ 0 h 274"/>
                  <a:gd name="T12" fmla="*/ 127 w 241"/>
                  <a:gd name="T13" fmla="*/ 0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1" h="274">
                    <a:moveTo>
                      <a:pt x="127" y="0"/>
                    </a:moveTo>
                    <a:lnTo>
                      <a:pt x="241" y="274"/>
                    </a:lnTo>
                    <a:lnTo>
                      <a:pt x="120" y="168"/>
                    </a:lnTo>
                    <a:lnTo>
                      <a:pt x="0" y="224"/>
                    </a:lnTo>
                    <a:lnTo>
                      <a:pt x="127" y="0"/>
                    </a:lnTo>
                    <a:lnTo>
                      <a:pt x="127" y="0"/>
                    </a:lnTo>
                    <a:lnTo>
                      <a:pt x="127" y="0"/>
                    </a:lnTo>
                    <a:close/>
                  </a:path>
                </a:pathLst>
              </a:custGeom>
              <a:solidFill>
                <a:srgbClr val="008C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102" name="Freeform 936">
                <a:extLst>
                  <a:ext uri="{FF2B5EF4-FFF2-40B4-BE49-F238E27FC236}">
                    <a16:creationId xmlns:a16="http://schemas.microsoft.com/office/drawing/2014/main" id="{6309E8FD-F689-4FBA-AEB7-E7A479D2BB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3" y="1905"/>
                <a:ext cx="335" cy="162"/>
              </a:xfrm>
              <a:custGeom>
                <a:avLst/>
                <a:gdLst>
                  <a:gd name="T0" fmla="*/ 126 w 142"/>
                  <a:gd name="T1" fmla="*/ 69 h 69"/>
                  <a:gd name="T2" fmla="*/ 118 w 142"/>
                  <a:gd name="T3" fmla="*/ 67 h 69"/>
                  <a:gd name="T4" fmla="*/ 24 w 142"/>
                  <a:gd name="T5" fmla="*/ 61 h 69"/>
                  <a:gd name="T6" fmla="*/ 4 w 142"/>
                  <a:gd name="T7" fmla="*/ 56 h 69"/>
                  <a:gd name="T8" fmla="*/ 8 w 142"/>
                  <a:gd name="T9" fmla="*/ 37 h 69"/>
                  <a:gd name="T10" fmla="*/ 133 w 142"/>
                  <a:gd name="T11" fmla="*/ 43 h 69"/>
                  <a:gd name="T12" fmla="*/ 137 w 142"/>
                  <a:gd name="T13" fmla="*/ 63 h 69"/>
                  <a:gd name="T14" fmla="*/ 126 w 142"/>
                  <a:gd name="T15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" h="69">
                    <a:moveTo>
                      <a:pt x="126" y="69"/>
                    </a:moveTo>
                    <a:cubicBezTo>
                      <a:pt x="123" y="69"/>
                      <a:pt x="120" y="68"/>
                      <a:pt x="118" y="67"/>
                    </a:cubicBezTo>
                    <a:cubicBezTo>
                      <a:pt x="67" y="33"/>
                      <a:pt x="24" y="60"/>
                      <a:pt x="24" y="61"/>
                    </a:cubicBezTo>
                    <a:cubicBezTo>
                      <a:pt x="17" y="65"/>
                      <a:pt x="8" y="63"/>
                      <a:pt x="4" y="56"/>
                    </a:cubicBezTo>
                    <a:cubicBezTo>
                      <a:pt x="0" y="50"/>
                      <a:pt x="2" y="41"/>
                      <a:pt x="8" y="37"/>
                    </a:cubicBezTo>
                    <a:cubicBezTo>
                      <a:pt x="11" y="35"/>
                      <a:pt x="67" y="0"/>
                      <a:pt x="133" y="43"/>
                    </a:cubicBezTo>
                    <a:cubicBezTo>
                      <a:pt x="140" y="47"/>
                      <a:pt x="142" y="56"/>
                      <a:pt x="137" y="63"/>
                    </a:cubicBezTo>
                    <a:cubicBezTo>
                      <a:pt x="135" y="67"/>
                      <a:pt x="130" y="69"/>
                      <a:pt x="126" y="69"/>
                    </a:cubicBezTo>
                    <a:close/>
                  </a:path>
                </a:pathLst>
              </a:custGeom>
              <a:solidFill>
                <a:srgbClr val="66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103" name="Freeform 937">
                <a:extLst>
                  <a:ext uri="{FF2B5EF4-FFF2-40B4-BE49-F238E27FC236}">
                    <a16:creationId xmlns:a16="http://schemas.microsoft.com/office/drawing/2014/main" id="{8436A9BF-C9E5-4A16-BD7E-54E7041D39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6" y="1938"/>
                <a:ext cx="325" cy="162"/>
              </a:xfrm>
              <a:custGeom>
                <a:avLst/>
                <a:gdLst>
                  <a:gd name="T0" fmla="*/ 122 w 138"/>
                  <a:gd name="T1" fmla="*/ 69 h 69"/>
                  <a:gd name="T2" fmla="*/ 114 w 138"/>
                  <a:gd name="T3" fmla="*/ 67 h 69"/>
                  <a:gd name="T4" fmla="*/ 24 w 138"/>
                  <a:gd name="T5" fmla="*/ 61 h 69"/>
                  <a:gd name="T6" fmla="*/ 4 w 138"/>
                  <a:gd name="T7" fmla="*/ 56 h 69"/>
                  <a:gd name="T8" fmla="*/ 8 w 138"/>
                  <a:gd name="T9" fmla="*/ 37 h 69"/>
                  <a:gd name="T10" fmla="*/ 130 w 138"/>
                  <a:gd name="T11" fmla="*/ 43 h 69"/>
                  <a:gd name="T12" fmla="*/ 133 w 138"/>
                  <a:gd name="T13" fmla="*/ 63 h 69"/>
                  <a:gd name="T14" fmla="*/ 122 w 138"/>
                  <a:gd name="T15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8" h="69">
                    <a:moveTo>
                      <a:pt x="122" y="69"/>
                    </a:moveTo>
                    <a:cubicBezTo>
                      <a:pt x="119" y="69"/>
                      <a:pt x="116" y="68"/>
                      <a:pt x="114" y="67"/>
                    </a:cubicBezTo>
                    <a:cubicBezTo>
                      <a:pt x="66" y="34"/>
                      <a:pt x="25" y="59"/>
                      <a:pt x="24" y="61"/>
                    </a:cubicBezTo>
                    <a:cubicBezTo>
                      <a:pt x="17" y="65"/>
                      <a:pt x="8" y="63"/>
                      <a:pt x="4" y="56"/>
                    </a:cubicBezTo>
                    <a:cubicBezTo>
                      <a:pt x="0" y="50"/>
                      <a:pt x="2" y="41"/>
                      <a:pt x="8" y="37"/>
                    </a:cubicBezTo>
                    <a:cubicBezTo>
                      <a:pt x="10" y="35"/>
                      <a:pt x="66" y="0"/>
                      <a:pt x="130" y="43"/>
                    </a:cubicBezTo>
                    <a:cubicBezTo>
                      <a:pt x="136" y="48"/>
                      <a:pt x="138" y="57"/>
                      <a:pt x="133" y="63"/>
                    </a:cubicBezTo>
                    <a:cubicBezTo>
                      <a:pt x="131" y="67"/>
                      <a:pt x="126" y="69"/>
                      <a:pt x="122" y="69"/>
                    </a:cubicBezTo>
                    <a:close/>
                  </a:path>
                </a:pathLst>
              </a:custGeom>
              <a:solidFill>
                <a:srgbClr val="66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104" name="Freeform 938">
                <a:extLst>
                  <a:ext uri="{FF2B5EF4-FFF2-40B4-BE49-F238E27FC236}">
                    <a16:creationId xmlns:a16="http://schemas.microsoft.com/office/drawing/2014/main" id="{30F5F815-0245-4771-9CAB-584F40DD85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9" y="1202"/>
                <a:ext cx="1173" cy="1158"/>
              </a:xfrm>
              <a:custGeom>
                <a:avLst/>
                <a:gdLst>
                  <a:gd name="T0" fmla="*/ 268 w 497"/>
                  <a:gd name="T1" fmla="*/ 30 h 491"/>
                  <a:gd name="T2" fmla="*/ 273 w 497"/>
                  <a:gd name="T3" fmla="*/ 0 h 491"/>
                  <a:gd name="T4" fmla="*/ 208 w 497"/>
                  <a:gd name="T5" fmla="*/ 31 h 491"/>
                  <a:gd name="T6" fmla="*/ 12 w 497"/>
                  <a:gd name="T7" fmla="*/ 193 h 491"/>
                  <a:gd name="T8" fmla="*/ 5 w 497"/>
                  <a:gd name="T9" fmla="*/ 353 h 491"/>
                  <a:gd name="T10" fmla="*/ 0 w 497"/>
                  <a:gd name="T11" fmla="*/ 426 h 491"/>
                  <a:gd name="T12" fmla="*/ 17 w 497"/>
                  <a:gd name="T13" fmla="*/ 437 h 491"/>
                  <a:gd name="T14" fmla="*/ 31 w 497"/>
                  <a:gd name="T15" fmla="*/ 280 h 491"/>
                  <a:gd name="T16" fmla="*/ 120 w 497"/>
                  <a:gd name="T17" fmla="*/ 192 h 491"/>
                  <a:gd name="T18" fmla="*/ 131 w 497"/>
                  <a:gd name="T19" fmla="*/ 190 h 491"/>
                  <a:gd name="T20" fmla="*/ 252 w 497"/>
                  <a:gd name="T21" fmla="*/ 214 h 491"/>
                  <a:gd name="T22" fmla="*/ 362 w 497"/>
                  <a:gd name="T23" fmla="*/ 204 h 491"/>
                  <a:gd name="T24" fmla="*/ 372 w 497"/>
                  <a:gd name="T25" fmla="*/ 208 h 491"/>
                  <a:gd name="T26" fmla="*/ 445 w 497"/>
                  <a:gd name="T27" fmla="*/ 318 h 491"/>
                  <a:gd name="T28" fmla="*/ 435 w 497"/>
                  <a:gd name="T29" fmla="*/ 489 h 491"/>
                  <a:gd name="T30" fmla="*/ 442 w 497"/>
                  <a:gd name="T31" fmla="*/ 490 h 491"/>
                  <a:gd name="T32" fmla="*/ 475 w 497"/>
                  <a:gd name="T33" fmla="*/ 459 h 491"/>
                  <a:gd name="T34" fmla="*/ 489 w 497"/>
                  <a:gd name="T35" fmla="*/ 231 h 491"/>
                  <a:gd name="T36" fmla="*/ 268 w 497"/>
                  <a:gd name="T37" fmla="*/ 30 h 4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97" h="491">
                    <a:moveTo>
                      <a:pt x="268" y="30"/>
                    </a:moveTo>
                    <a:cubicBezTo>
                      <a:pt x="276" y="5"/>
                      <a:pt x="273" y="0"/>
                      <a:pt x="273" y="0"/>
                    </a:cubicBezTo>
                    <a:cubicBezTo>
                      <a:pt x="273" y="0"/>
                      <a:pt x="260" y="25"/>
                      <a:pt x="208" y="31"/>
                    </a:cubicBezTo>
                    <a:cubicBezTo>
                      <a:pt x="155" y="38"/>
                      <a:pt x="58" y="67"/>
                      <a:pt x="12" y="193"/>
                    </a:cubicBezTo>
                    <a:cubicBezTo>
                      <a:pt x="4" y="219"/>
                      <a:pt x="5" y="353"/>
                      <a:pt x="5" y="353"/>
                    </a:cubicBezTo>
                    <a:cubicBezTo>
                      <a:pt x="0" y="426"/>
                      <a:pt x="0" y="426"/>
                      <a:pt x="0" y="426"/>
                    </a:cubicBezTo>
                    <a:cubicBezTo>
                      <a:pt x="0" y="443"/>
                      <a:pt x="17" y="437"/>
                      <a:pt x="17" y="437"/>
                    </a:cubicBezTo>
                    <a:cubicBezTo>
                      <a:pt x="31" y="280"/>
                      <a:pt x="31" y="280"/>
                      <a:pt x="31" y="280"/>
                    </a:cubicBezTo>
                    <a:cubicBezTo>
                      <a:pt x="34" y="232"/>
                      <a:pt x="72" y="204"/>
                      <a:pt x="120" y="192"/>
                    </a:cubicBezTo>
                    <a:cubicBezTo>
                      <a:pt x="131" y="190"/>
                      <a:pt x="131" y="190"/>
                      <a:pt x="131" y="190"/>
                    </a:cubicBezTo>
                    <a:cubicBezTo>
                      <a:pt x="171" y="180"/>
                      <a:pt x="212" y="212"/>
                      <a:pt x="252" y="214"/>
                    </a:cubicBezTo>
                    <a:cubicBezTo>
                      <a:pt x="289" y="217"/>
                      <a:pt x="326" y="190"/>
                      <a:pt x="362" y="204"/>
                    </a:cubicBezTo>
                    <a:cubicBezTo>
                      <a:pt x="372" y="208"/>
                      <a:pt x="372" y="208"/>
                      <a:pt x="372" y="208"/>
                    </a:cubicBezTo>
                    <a:cubicBezTo>
                      <a:pt x="418" y="224"/>
                      <a:pt x="448" y="269"/>
                      <a:pt x="445" y="318"/>
                    </a:cubicBezTo>
                    <a:cubicBezTo>
                      <a:pt x="435" y="489"/>
                      <a:pt x="435" y="489"/>
                      <a:pt x="435" y="489"/>
                    </a:cubicBezTo>
                    <a:cubicBezTo>
                      <a:pt x="442" y="490"/>
                      <a:pt x="442" y="490"/>
                      <a:pt x="442" y="490"/>
                    </a:cubicBezTo>
                    <a:cubicBezTo>
                      <a:pt x="460" y="491"/>
                      <a:pt x="474" y="477"/>
                      <a:pt x="475" y="459"/>
                    </a:cubicBezTo>
                    <a:cubicBezTo>
                      <a:pt x="489" y="231"/>
                      <a:pt x="489" y="231"/>
                      <a:pt x="489" y="231"/>
                    </a:cubicBezTo>
                    <a:cubicBezTo>
                      <a:pt x="497" y="104"/>
                      <a:pt x="353" y="51"/>
                      <a:pt x="268" y="30"/>
                    </a:cubicBezTo>
                    <a:close/>
                  </a:path>
                </a:pathLst>
              </a:custGeom>
              <a:solidFill>
                <a:srgbClr val="66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105" name="Oval 939">
                <a:extLst>
                  <a:ext uri="{FF2B5EF4-FFF2-40B4-BE49-F238E27FC236}">
                    <a16:creationId xmlns:a16="http://schemas.microsoft.com/office/drawing/2014/main" id="{0F7F5780-7580-42C6-9985-2791F0F5CE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86" y="2067"/>
                <a:ext cx="100" cy="99"/>
              </a:xfrm>
              <a:prstGeom prst="ellipse">
                <a:avLst/>
              </a:pr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106" name="Oval 940">
                <a:extLst>
                  <a:ext uri="{FF2B5EF4-FFF2-40B4-BE49-F238E27FC236}">
                    <a16:creationId xmlns:a16="http://schemas.microsoft.com/office/drawing/2014/main" id="{139553AF-001A-4CCF-86D9-0BD8DBE0A9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70" y="2100"/>
                <a:ext cx="99" cy="102"/>
              </a:xfrm>
              <a:prstGeom prst="ellipse">
                <a:avLst/>
              </a:pr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107" name="Freeform 941">
                <a:extLst>
                  <a:ext uri="{FF2B5EF4-FFF2-40B4-BE49-F238E27FC236}">
                    <a16:creationId xmlns:a16="http://schemas.microsoft.com/office/drawing/2014/main" id="{F2FAFB07-29AB-49D3-8B7E-78E183F63F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1" y="2591"/>
                <a:ext cx="207" cy="118"/>
              </a:xfrm>
              <a:custGeom>
                <a:avLst/>
                <a:gdLst>
                  <a:gd name="T0" fmla="*/ 79 w 88"/>
                  <a:gd name="T1" fmla="*/ 2 h 50"/>
                  <a:gd name="T2" fmla="*/ 88 w 88"/>
                  <a:gd name="T3" fmla="*/ 42 h 50"/>
                  <a:gd name="T4" fmla="*/ 88 w 88"/>
                  <a:gd name="T5" fmla="*/ 42 h 50"/>
                  <a:gd name="T6" fmla="*/ 2 w 88"/>
                  <a:gd name="T7" fmla="*/ 35 h 50"/>
                  <a:gd name="T8" fmla="*/ 0 w 88"/>
                  <a:gd name="T9" fmla="*/ 34 h 50"/>
                  <a:gd name="T10" fmla="*/ 15 w 88"/>
                  <a:gd name="T11" fmla="*/ 0 h 50"/>
                  <a:gd name="T12" fmla="*/ 15 w 88"/>
                  <a:gd name="T13" fmla="*/ 0 h 50"/>
                  <a:gd name="T14" fmla="*/ 76 w 88"/>
                  <a:gd name="T15" fmla="*/ 3 h 50"/>
                  <a:gd name="T16" fmla="*/ 79 w 88"/>
                  <a:gd name="T17" fmla="*/ 2 h 50"/>
                  <a:gd name="T18" fmla="*/ 79 w 88"/>
                  <a:gd name="T19" fmla="*/ 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8" h="50">
                    <a:moveTo>
                      <a:pt x="79" y="2"/>
                    </a:moveTo>
                    <a:cubicBezTo>
                      <a:pt x="88" y="42"/>
                      <a:pt x="88" y="42"/>
                      <a:pt x="88" y="42"/>
                    </a:cubicBezTo>
                    <a:cubicBezTo>
                      <a:pt x="88" y="42"/>
                      <a:pt x="88" y="42"/>
                      <a:pt x="88" y="42"/>
                    </a:cubicBezTo>
                    <a:cubicBezTo>
                      <a:pt x="60" y="50"/>
                      <a:pt x="29" y="47"/>
                      <a:pt x="2" y="35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34" y="6"/>
                      <a:pt x="55" y="7"/>
                      <a:pt x="76" y="3"/>
                    </a:cubicBezTo>
                    <a:cubicBezTo>
                      <a:pt x="79" y="2"/>
                      <a:pt x="79" y="2"/>
                      <a:pt x="79" y="2"/>
                    </a:cubicBezTo>
                    <a:cubicBezTo>
                      <a:pt x="79" y="2"/>
                      <a:pt x="79" y="2"/>
                      <a:pt x="79" y="2"/>
                    </a:cubicBezTo>
                    <a:close/>
                  </a:path>
                </a:pathLst>
              </a:custGeom>
              <a:solidFill>
                <a:srgbClr val="8E7A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108" name="Freeform 942">
                <a:extLst>
                  <a:ext uri="{FF2B5EF4-FFF2-40B4-BE49-F238E27FC236}">
                    <a16:creationId xmlns:a16="http://schemas.microsoft.com/office/drawing/2014/main" id="{137D4EE4-765A-463D-B5C3-568FD48AEA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475"/>
                <a:ext cx="333" cy="92"/>
              </a:xfrm>
              <a:custGeom>
                <a:avLst/>
                <a:gdLst>
                  <a:gd name="T0" fmla="*/ 0 w 141"/>
                  <a:gd name="T1" fmla="*/ 0 h 39"/>
                  <a:gd name="T2" fmla="*/ 69 w 141"/>
                  <a:gd name="T3" fmla="*/ 38 h 39"/>
                  <a:gd name="T4" fmla="*/ 141 w 141"/>
                  <a:gd name="T5" fmla="*/ 6 h 39"/>
                  <a:gd name="T6" fmla="*/ 0 w 141"/>
                  <a:gd name="T7" fmla="*/ 0 h 39"/>
                  <a:gd name="T8" fmla="*/ 0 w 141"/>
                  <a:gd name="T9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" h="39">
                    <a:moveTo>
                      <a:pt x="0" y="0"/>
                    </a:moveTo>
                    <a:cubicBezTo>
                      <a:pt x="15" y="22"/>
                      <a:pt x="40" y="36"/>
                      <a:pt x="69" y="38"/>
                    </a:cubicBezTo>
                    <a:cubicBezTo>
                      <a:pt x="98" y="39"/>
                      <a:pt x="124" y="27"/>
                      <a:pt x="141" y="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109" name="Freeform 943">
                <a:extLst>
                  <a:ext uri="{FF2B5EF4-FFF2-40B4-BE49-F238E27FC236}">
                    <a16:creationId xmlns:a16="http://schemas.microsoft.com/office/drawing/2014/main" id="{9801CFA8-5EDE-418C-9E43-212A458E23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3" y="1153"/>
                <a:ext cx="783" cy="1148"/>
              </a:xfrm>
              <a:custGeom>
                <a:avLst/>
                <a:gdLst>
                  <a:gd name="T0" fmla="*/ 332 w 332"/>
                  <a:gd name="T1" fmla="*/ 64 h 487"/>
                  <a:gd name="T2" fmla="*/ 287 w 332"/>
                  <a:gd name="T3" fmla="*/ 51 h 487"/>
                  <a:gd name="T4" fmla="*/ 289 w 332"/>
                  <a:gd name="T5" fmla="*/ 0 h 487"/>
                  <a:gd name="T6" fmla="*/ 219 w 332"/>
                  <a:gd name="T7" fmla="*/ 40 h 487"/>
                  <a:gd name="T8" fmla="*/ 12 w 332"/>
                  <a:gd name="T9" fmla="*/ 203 h 487"/>
                  <a:gd name="T10" fmla="*/ 7 w 332"/>
                  <a:gd name="T11" fmla="*/ 343 h 487"/>
                  <a:gd name="T12" fmla="*/ 1 w 332"/>
                  <a:gd name="T13" fmla="*/ 453 h 487"/>
                  <a:gd name="T14" fmla="*/ 30 w 332"/>
                  <a:gd name="T15" fmla="*/ 486 h 487"/>
                  <a:gd name="T16" fmla="*/ 36 w 332"/>
                  <a:gd name="T17" fmla="*/ 487 h 487"/>
                  <a:gd name="T18" fmla="*/ 47 w 332"/>
                  <a:gd name="T19" fmla="*/ 313 h 487"/>
                  <a:gd name="T20" fmla="*/ 119 w 332"/>
                  <a:gd name="T21" fmla="*/ 217 h 487"/>
                  <a:gd name="T22" fmla="*/ 151 w 332"/>
                  <a:gd name="T23" fmla="*/ 163 h 487"/>
                  <a:gd name="T24" fmla="*/ 317 w 332"/>
                  <a:gd name="T25" fmla="*/ 139 h 487"/>
                  <a:gd name="T26" fmla="*/ 260 w 332"/>
                  <a:gd name="T27" fmla="*/ 103 h 487"/>
                  <a:gd name="T28" fmla="*/ 332 w 332"/>
                  <a:gd name="T29" fmla="*/ 64 h 4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2" h="487">
                    <a:moveTo>
                      <a:pt x="332" y="64"/>
                    </a:moveTo>
                    <a:cubicBezTo>
                      <a:pt x="316" y="58"/>
                      <a:pt x="301" y="55"/>
                      <a:pt x="287" y="51"/>
                    </a:cubicBezTo>
                    <a:cubicBezTo>
                      <a:pt x="295" y="25"/>
                      <a:pt x="289" y="0"/>
                      <a:pt x="289" y="0"/>
                    </a:cubicBezTo>
                    <a:cubicBezTo>
                      <a:pt x="289" y="0"/>
                      <a:pt x="272" y="33"/>
                      <a:pt x="219" y="40"/>
                    </a:cubicBezTo>
                    <a:cubicBezTo>
                      <a:pt x="167" y="47"/>
                      <a:pt x="56" y="77"/>
                      <a:pt x="12" y="203"/>
                    </a:cubicBezTo>
                    <a:cubicBezTo>
                      <a:pt x="3" y="228"/>
                      <a:pt x="7" y="343"/>
                      <a:pt x="7" y="343"/>
                    </a:cubicBezTo>
                    <a:cubicBezTo>
                      <a:pt x="1" y="453"/>
                      <a:pt x="1" y="453"/>
                      <a:pt x="1" y="453"/>
                    </a:cubicBezTo>
                    <a:cubicBezTo>
                      <a:pt x="0" y="470"/>
                      <a:pt x="13" y="485"/>
                      <a:pt x="30" y="486"/>
                    </a:cubicBezTo>
                    <a:cubicBezTo>
                      <a:pt x="36" y="487"/>
                      <a:pt x="36" y="487"/>
                      <a:pt x="36" y="487"/>
                    </a:cubicBezTo>
                    <a:cubicBezTo>
                      <a:pt x="47" y="313"/>
                      <a:pt x="47" y="313"/>
                      <a:pt x="47" y="313"/>
                    </a:cubicBezTo>
                    <a:cubicBezTo>
                      <a:pt x="50" y="269"/>
                      <a:pt x="78" y="232"/>
                      <a:pt x="119" y="217"/>
                    </a:cubicBezTo>
                    <a:cubicBezTo>
                      <a:pt x="129" y="194"/>
                      <a:pt x="140" y="174"/>
                      <a:pt x="151" y="163"/>
                    </a:cubicBezTo>
                    <a:cubicBezTo>
                      <a:pt x="206" y="103"/>
                      <a:pt x="223" y="177"/>
                      <a:pt x="317" y="139"/>
                    </a:cubicBezTo>
                    <a:cubicBezTo>
                      <a:pt x="272" y="127"/>
                      <a:pt x="260" y="103"/>
                      <a:pt x="260" y="103"/>
                    </a:cubicBezTo>
                    <a:cubicBezTo>
                      <a:pt x="260" y="103"/>
                      <a:pt x="305" y="102"/>
                      <a:pt x="332" y="64"/>
                    </a:cubicBezTo>
                    <a:close/>
                  </a:path>
                </a:pathLst>
              </a:custGeom>
              <a:solidFill>
                <a:srgbClr val="8E7A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</p:grpSp>
        <p:sp>
          <p:nvSpPr>
            <p:cNvPr id="180" name="Right Brace 179">
              <a:extLst>
                <a:ext uri="{FF2B5EF4-FFF2-40B4-BE49-F238E27FC236}">
                  <a16:creationId xmlns:a16="http://schemas.microsoft.com/office/drawing/2014/main" id="{8DE3BB89-D7A6-4CAB-B165-6DA834A1650A}"/>
                </a:ext>
              </a:extLst>
            </p:cNvPr>
            <p:cNvSpPr/>
            <p:nvPr/>
          </p:nvSpPr>
          <p:spPr>
            <a:xfrm rot="5400000">
              <a:off x="9270379" y="3191942"/>
              <a:ext cx="183947" cy="583689"/>
            </a:xfrm>
            <a:prstGeom prst="rightBrace">
              <a:avLst>
                <a:gd name="adj1" fmla="val 0"/>
                <a:gd name="adj2" fmla="val 50000"/>
              </a:avLst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82" name="Right Brace 181">
              <a:extLst>
                <a:ext uri="{FF2B5EF4-FFF2-40B4-BE49-F238E27FC236}">
                  <a16:creationId xmlns:a16="http://schemas.microsoft.com/office/drawing/2014/main" id="{1FFE49A6-2A03-4E31-BE92-7C081C65A1B7}"/>
                </a:ext>
              </a:extLst>
            </p:cNvPr>
            <p:cNvSpPr/>
            <p:nvPr/>
          </p:nvSpPr>
          <p:spPr>
            <a:xfrm rot="5400000">
              <a:off x="10210994" y="3191942"/>
              <a:ext cx="183947" cy="583689"/>
            </a:xfrm>
            <a:prstGeom prst="rightBrace">
              <a:avLst>
                <a:gd name="adj1" fmla="val 0"/>
                <a:gd name="adj2" fmla="val 50000"/>
              </a:avLst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84" name="Right Brace 183">
              <a:extLst>
                <a:ext uri="{FF2B5EF4-FFF2-40B4-BE49-F238E27FC236}">
                  <a16:creationId xmlns:a16="http://schemas.microsoft.com/office/drawing/2014/main" id="{3A8699D5-030F-4D16-894C-D6DACDB46E14}"/>
                </a:ext>
              </a:extLst>
            </p:cNvPr>
            <p:cNvSpPr/>
            <p:nvPr/>
          </p:nvSpPr>
          <p:spPr>
            <a:xfrm rot="5400000">
              <a:off x="11151608" y="3191942"/>
              <a:ext cx="183947" cy="583689"/>
            </a:xfrm>
            <a:prstGeom prst="rightBrace">
              <a:avLst>
                <a:gd name="adj1" fmla="val 0"/>
                <a:gd name="adj2" fmla="val 50000"/>
              </a:avLst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B4BCD82D-890A-4BFD-B51F-31625DF6556B}"/>
                </a:ext>
              </a:extLst>
            </p:cNvPr>
            <p:cNvSpPr/>
            <p:nvPr/>
          </p:nvSpPr>
          <p:spPr bwMode="auto">
            <a:xfrm>
              <a:off x="9021174" y="5154601"/>
              <a:ext cx="131568" cy="88450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268927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82">
                  <a:solidFill>
                    <a:schemeClr val="tx1"/>
                  </a:solidFill>
                  <a:ea typeface="Segoe UI" pitchFamily="34" charset="0"/>
                  <a:cs typeface="Segoe UI" pitchFamily="34" charset="0"/>
                </a:rPr>
                <a:t>Utilization</a:t>
              </a:r>
            </a:p>
          </p:txBody>
        </p:sp>
        <p:grpSp>
          <p:nvGrpSpPr>
            <p:cNvPr id="216" name="Group 215">
              <a:extLst>
                <a:ext uri="{FF2B5EF4-FFF2-40B4-BE49-F238E27FC236}">
                  <a16:creationId xmlns:a16="http://schemas.microsoft.com/office/drawing/2014/main" id="{553CC655-C079-426A-819C-C2022AB174B8}"/>
                </a:ext>
              </a:extLst>
            </p:cNvPr>
            <p:cNvGrpSpPr/>
            <p:nvPr/>
          </p:nvGrpSpPr>
          <p:grpSpPr>
            <a:xfrm>
              <a:off x="9233044" y="3953422"/>
              <a:ext cx="2149381" cy="660139"/>
              <a:chOff x="977168" y="4552950"/>
              <a:chExt cx="2655165" cy="815480"/>
            </a:xfrm>
          </p:grpSpPr>
          <p:pic>
            <p:nvPicPr>
              <p:cNvPr id="201" name="Picture 200">
                <a:extLst>
                  <a:ext uri="{FF2B5EF4-FFF2-40B4-BE49-F238E27FC236}">
                    <a16:creationId xmlns:a16="http://schemas.microsoft.com/office/drawing/2014/main" id="{C177E402-A2E8-48CC-A9E1-A381766A38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77168" y="4552950"/>
                <a:ext cx="330020" cy="815480"/>
              </a:xfrm>
              <a:prstGeom prst="rect">
                <a:avLst/>
              </a:prstGeom>
            </p:spPr>
          </p:pic>
          <p:grpSp>
            <p:nvGrpSpPr>
              <p:cNvPr id="202" name="Group 201">
                <a:extLst>
                  <a:ext uri="{FF2B5EF4-FFF2-40B4-BE49-F238E27FC236}">
                    <a16:creationId xmlns:a16="http://schemas.microsoft.com/office/drawing/2014/main" id="{9FE15286-099D-4693-9BC7-398D7406B1A3}"/>
                  </a:ext>
                </a:extLst>
              </p:cNvPr>
              <p:cNvGrpSpPr/>
              <p:nvPr/>
            </p:nvGrpSpPr>
            <p:grpSpPr>
              <a:xfrm>
                <a:off x="1075762" y="5079655"/>
                <a:ext cx="121634" cy="272841"/>
                <a:chOff x="8615966" y="345865"/>
                <a:chExt cx="121634" cy="272841"/>
              </a:xfrm>
            </p:grpSpPr>
            <p:sp>
              <p:nvSpPr>
                <p:cNvPr id="213" name="Rectangle 212">
                  <a:extLst>
                    <a:ext uri="{FF2B5EF4-FFF2-40B4-BE49-F238E27FC236}">
                      <a16:creationId xmlns:a16="http://schemas.microsoft.com/office/drawing/2014/main" id="{3406A4CD-8E8E-4947-A4D8-38A4B73FC800}"/>
                    </a:ext>
                  </a:extLst>
                </p:cNvPr>
                <p:cNvSpPr/>
                <p:nvPr/>
              </p:nvSpPr>
              <p:spPr bwMode="auto">
                <a:xfrm>
                  <a:off x="8615966" y="536934"/>
                  <a:ext cx="121634" cy="81772"/>
                </a:xfrm>
                <a:prstGeom prst="rect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6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14" name="Rectangle 213">
                  <a:extLst>
                    <a:ext uri="{FF2B5EF4-FFF2-40B4-BE49-F238E27FC236}">
                      <a16:creationId xmlns:a16="http://schemas.microsoft.com/office/drawing/2014/main" id="{9F1AD6BD-49D1-460E-B6AD-549CA0CC451C}"/>
                    </a:ext>
                  </a:extLst>
                </p:cNvPr>
                <p:cNvSpPr/>
                <p:nvPr/>
              </p:nvSpPr>
              <p:spPr bwMode="auto">
                <a:xfrm>
                  <a:off x="8615966" y="439757"/>
                  <a:ext cx="121634" cy="81772"/>
                </a:xfrm>
                <a:prstGeom prst="rect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6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15" name="Rectangle 214">
                  <a:extLst>
                    <a:ext uri="{FF2B5EF4-FFF2-40B4-BE49-F238E27FC236}">
                      <a16:creationId xmlns:a16="http://schemas.microsoft.com/office/drawing/2014/main" id="{1916D7E3-23FC-4F27-B7DB-E37B19BA1398}"/>
                    </a:ext>
                  </a:extLst>
                </p:cNvPr>
                <p:cNvSpPr/>
                <p:nvPr/>
              </p:nvSpPr>
              <p:spPr bwMode="auto">
                <a:xfrm>
                  <a:off x="8615966" y="345865"/>
                  <a:ext cx="121634" cy="81772"/>
                </a:xfrm>
                <a:prstGeom prst="rect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6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pic>
            <p:nvPicPr>
              <p:cNvPr id="203" name="Picture 202">
                <a:extLst>
                  <a:ext uri="{FF2B5EF4-FFF2-40B4-BE49-F238E27FC236}">
                    <a16:creationId xmlns:a16="http://schemas.microsoft.com/office/drawing/2014/main" id="{408C92BF-542C-40EE-A222-2C13ECD50A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140598" y="4552950"/>
                <a:ext cx="330020" cy="815480"/>
              </a:xfrm>
              <a:prstGeom prst="rect">
                <a:avLst/>
              </a:prstGeom>
            </p:spPr>
          </p:pic>
          <p:grpSp>
            <p:nvGrpSpPr>
              <p:cNvPr id="204" name="Group 203">
                <a:extLst>
                  <a:ext uri="{FF2B5EF4-FFF2-40B4-BE49-F238E27FC236}">
                    <a16:creationId xmlns:a16="http://schemas.microsoft.com/office/drawing/2014/main" id="{541B1F90-48AF-40FD-95A1-8E9DE590BB55}"/>
                  </a:ext>
                </a:extLst>
              </p:cNvPr>
              <p:cNvGrpSpPr/>
              <p:nvPr/>
            </p:nvGrpSpPr>
            <p:grpSpPr>
              <a:xfrm>
                <a:off x="2237718" y="5079655"/>
                <a:ext cx="121634" cy="272841"/>
                <a:chOff x="8615966" y="345865"/>
                <a:chExt cx="121634" cy="272841"/>
              </a:xfrm>
            </p:grpSpPr>
            <p:sp>
              <p:nvSpPr>
                <p:cNvPr id="210" name="Rectangle 209">
                  <a:extLst>
                    <a:ext uri="{FF2B5EF4-FFF2-40B4-BE49-F238E27FC236}">
                      <a16:creationId xmlns:a16="http://schemas.microsoft.com/office/drawing/2014/main" id="{15698CA4-9F26-42A7-8FB0-F3446127FE8B}"/>
                    </a:ext>
                  </a:extLst>
                </p:cNvPr>
                <p:cNvSpPr/>
                <p:nvPr/>
              </p:nvSpPr>
              <p:spPr bwMode="auto">
                <a:xfrm>
                  <a:off x="8615966" y="536934"/>
                  <a:ext cx="121634" cy="81772"/>
                </a:xfrm>
                <a:prstGeom prst="rect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6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11" name="Rectangle 210">
                  <a:extLst>
                    <a:ext uri="{FF2B5EF4-FFF2-40B4-BE49-F238E27FC236}">
                      <a16:creationId xmlns:a16="http://schemas.microsoft.com/office/drawing/2014/main" id="{AECED8A8-1EE6-48B8-9833-195D7DC51080}"/>
                    </a:ext>
                  </a:extLst>
                </p:cNvPr>
                <p:cNvSpPr/>
                <p:nvPr/>
              </p:nvSpPr>
              <p:spPr bwMode="auto">
                <a:xfrm>
                  <a:off x="8615966" y="439757"/>
                  <a:ext cx="121634" cy="81772"/>
                </a:xfrm>
                <a:prstGeom prst="rect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6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12" name="Rectangle 211">
                  <a:extLst>
                    <a:ext uri="{FF2B5EF4-FFF2-40B4-BE49-F238E27FC236}">
                      <a16:creationId xmlns:a16="http://schemas.microsoft.com/office/drawing/2014/main" id="{D943724D-A525-466F-9DBC-9A9BA37162F9}"/>
                    </a:ext>
                  </a:extLst>
                </p:cNvPr>
                <p:cNvSpPr/>
                <p:nvPr/>
              </p:nvSpPr>
              <p:spPr bwMode="auto">
                <a:xfrm>
                  <a:off x="8615966" y="345865"/>
                  <a:ext cx="121634" cy="81772"/>
                </a:xfrm>
                <a:prstGeom prst="rect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6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pic>
            <p:nvPicPr>
              <p:cNvPr id="205" name="Picture 204">
                <a:extLst>
                  <a:ext uri="{FF2B5EF4-FFF2-40B4-BE49-F238E27FC236}">
                    <a16:creationId xmlns:a16="http://schemas.microsoft.com/office/drawing/2014/main" id="{AC6A6158-880B-46BE-B961-79A81A3560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302313" y="4552950"/>
                <a:ext cx="330020" cy="815480"/>
              </a:xfrm>
              <a:prstGeom prst="rect">
                <a:avLst/>
              </a:prstGeom>
            </p:spPr>
          </p:pic>
          <p:grpSp>
            <p:nvGrpSpPr>
              <p:cNvPr id="206" name="Group 205">
                <a:extLst>
                  <a:ext uri="{FF2B5EF4-FFF2-40B4-BE49-F238E27FC236}">
                    <a16:creationId xmlns:a16="http://schemas.microsoft.com/office/drawing/2014/main" id="{A3AC2641-8189-4155-8BB6-151C1A1D47E3}"/>
                  </a:ext>
                </a:extLst>
              </p:cNvPr>
              <p:cNvGrpSpPr/>
              <p:nvPr/>
            </p:nvGrpSpPr>
            <p:grpSpPr>
              <a:xfrm>
                <a:off x="3404704" y="5079655"/>
                <a:ext cx="121634" cy="272841"/>
                <a:chOff x="8615966" y="345865"/>
                <a:chExt cx="121634" cy="272841"/>
              </a:xfrm>
            </p:grpSpPr>
            <p:sp>
              <p:nvSpPr>
                <p:cNvPr id="207" name="Rectangle 206">
                  <a:extLst>
                    <a:ext uri="{FF2B5EF4-FFF2-40B4-BE49-F238E27FC236}">
                      <a16:creationId xmlns:a16="http://schemas.microsoft.com/office/drawing/2014/main" id="{EFE0F686-443E-4000-9875-050189FC86C8}"/>
                    </a:ext>
                  </a:extLst>
                </p:cNvPr>
                <p:cNvSpPr/>
                <p:nvPr/>
              </p:nvSpPr>
              <p:spPr bwMode="auto">
                <a:xfrm>
                  <a:off x="8615966" y="536934"/>
                  <a:ext cx="121634" cy="81772"/>
                </a:xfrm>
                <a:prstGeom prst="rect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6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08" name="Rectangle 207">
                  <a:extLst>
                    <a:ext uri="{FF2B5EF4-FFF2-40B4-BE49-F238E27FC236}">
                      <a16:creationId xmlns:a16="http://schemas.microsoft.com/office/drawing/2014/main" id="{33EB9640-17A9-419B-BB0C-BAC71C8102FE}"/>
                    </a:ext>
                  </a:extLst>
                </p:cNvPr>
                <p:cNvSpPr/>
                <p:nvPr/>
              </p:nvSpPr>
              <p:spPr bwMode="auto">
                <a:xfrm>
                  <a:off x="8615966" y="439757"/>
                  <a:ext cx="121634" cy="81772"/>
                </a:xfrm>
                <a:prstGeom prst="rect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6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09" name="Rectangle 208">
                  <a:extLst>
                    <a:ext uri="{FF2B5EF4-FFF2-40B4-BE49-F238E27FC236}">
                      <a16:creationId xmlns:a16="http://schemas.microsoft.com/office/drawing/2014/main" id="{D59B0E47-7A42-4D6B-87A9-6A358AB03F50}"/>
                    </a:ext>
                  </a:extLst>
                </p:cNvPr>
                <p:cNvSpPr/>
                <p:nvPr/>
              </p:nvSpPr>
              <p:spPr bwMode="auto">
                <a:xfrm>
                  <a:off x="8615966" y="345865"/>
                  <a:ext cx="121634" cy="81772"/>
                </a:xfrm>
                <a:prstGeom prst="rect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6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21984D12-52C8-4C87-9AAB-ECC8C5A4BB92}"/>
                </a:ext>
              </a:extLst>
            </p:cNvPr>
            <p:cNvSpPr txBox="1"/>
            <p:nvPr/>
          </p:nvSpPr>
          <p:spPr>
            <a:xfrm>
              <a:off x="8969407" y="2452145"/>
              <a:ext cx="2677120" cy="384912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chemeClr val="tx2"/>
              </a:solidFill>
            </a:ln>
          </p:spPr>
          <p:txBody>
            <a:bodyPr wrap="square" lIns="89642" tIns="44821" rIns="89642" bIns="44821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372" b="1">
                  <a:solidFill>
                    <a:schemeClr val="bg1"/>
                  </a:solidFill>
                </a:rPr>
                <a:t>Personal desktops</a:t>
              </a:r>
            </a:p>
          </p:txBody>
        </p:sp>
        <p:sp>
          <p:nvSpPr>
            <p:cNvPr id="224" name="Graphic 7">
              <a:extLst>
                <a:ext uri="{FF2B5EF4-FFF2-40B4-BE49-F238E27FC236}">
                  <a16:creationId xmlns:a16="http://schemas.microsoft.com/office/drawing/2014/main" id="{578A1393-F27B-4A8B-8C4F-6DEEB8347610}"/>
                </a:ext>
              </a:extLst>
            </p:cNvPr>
            <p:cNvSpPr/>
            <p:nvPr/>
          </p:nvSpPr>
          <p:spPr>
            <a:xfrm>
              <a:off x="9311540" y="3616373"/>
              <a:ext cx="110164" cy="207368"/>
            </a:xfrm>
            <a:custGeom>
              <a:avLst/>
              <a:gdLst>
                <a:gd name="connsiteX0" fmla="*/ 432462 w 462642"/>
                <a:gd name="connsiteY0" fmla="*/ 449281 h 870857"/>
                <a:gd name="connsiteX1" fmla="*/ 292771 w 462642"/>
                <a:gd name="connsiteY1" fmla="*/ 370169 h 870857"/>
                <a:gd name="connsiteX2" fmla="*/ 177845 w 462642"/>
                <a:gd name="connsiteY2" fmla="*/ 318598 h 870857"/>
                <a:gd name="connsiteX3" fmla="*/ 156918 w 462642"/>
                <a:gd name="connsiteY3" fmla="*/ 268714 h 870857"/>
                <a:gd name="connsiteX4" fmla="*/ 167177 w 462642"/>
                <a:gd name="connsiteY4" fmla="*/ 233689 h 870857"/>
                <a:gd name="connsiteX5" fmla="*/ 197739 w 462642"/>
                <a:gd name="connsiteY5" fmla="*/ 210911 h 870857"/>
                <a:gd name="connsiteX6" fmla="*/ 285750 w 462642"/>
                <a:gd name="connsiteY6" fmla="*/ 208598 h 870857"/>
                <a:gd name="connsiteX7" fmla="*/ 315468 w 462642"/>
                <a:gd name="connsiteY7" fmla="*/ 226913 h 870857"/>
                <a:gd name="connsiteX8" fmla="*/ 348724 w 462642"/>
                <a:gd name="connsiteY8" fmla="*/ 265203 h 870857"/>
                <a:gd name="connsiteX9" fmla="*/ 369597 w 462642"/>
                <a:gd name="connsiteY9" fmla="*/ 293724 h 870857"/>
                <a:gd name="connsiteX10" fmla="*/ 471950 w 462642"/>
                <a:gd name="connsiteY10" fmla="*/ 217497 h 870857"/>
                <a:gd name="connsiteX11" fmla="*/ 453662 w 462642"/>
                <a:gd name="connsiteY11" fmla="*/ 189847 h 870857"/>
                <a:gd name="connsiteX12" fmla="*/ 407915 w 462642"/>
                <a:gd name="connsiteY12" fmla="*/ 137623 h 870857"/>
                <a:gd name="connsiteX13" fmla="*/ 348778 w 462642"/>
                <a:gd name="connsiteY13" fmla="*/ 97944 h 870857"/>
                <a:gd name="connsiteX14" fmla="*/ 311386 w 462642"/>
                <a:gd name="connsiteY14" fmla="*/ 83521 h 870857"/>
                <a:gd name="connsiteX15" fmla="*/ 311386 w 462642"/>
                <a:gd name="connsiteY15" fmla="*/ 0 h 870857"/>
                <a:gd name="connsiteX16" fmla="*/ 182581 w 462642"/>
                <a:gd name="connsiteY16" fmla="*/ 0 h 870857"/>
                <a:gd name="connsiteX17" fmla="*/ 182581 w 462642"/>
                <a:gd name="connsiteY17" fmla="*/ 81343 h 870857"/>
                <a:gd name="connsiteX18" fmla="*/ 78459 w 462642"/>
                <a:gd name="connsiteY18" fmla="*/ 137378 h 870857"/>
                <a:gd name="connsiteX19" fmla="*/ 23649 w 462642"/>
                <a:gd name="connsiteY19" fmla="*/ 276524 h 870857"/>
                <a:gd name="connsiteX20" fmla="*/ 77806 w 462642"/>
                <a:gd name="connsiteY20" fmla="*/ 412296 h 870857"/>
                <a:gd name="connsiteX21" fmla="*/ 214149 w 462642"/>
                <a:gd name="connsiteY21" fmla="*/ 484795 h 870857"/>
                <a:gd name="connsiteX22" fmla="*/ 329375 w 462642"/>
                <a:gd name="connsiteY22" fmla="*/ 538952 h 870857"/>
                <a:gd name="connsiteX23" fmla="*/ 353759 w 462642"/>
                <a:gd name="connsiteY23" fmla="*/ 597707 h 870857"/>
                <a:gd name="connsiteX24" fmla="*/ 340696 w 462642"/>
                <a:gd name="connsiteY24" fmla="*/ 640543 h 870857"/>
                <a:gd name="connsiteX25" fmla="*/ 303249 w 462642"/>
                <a:gd name="connsiteY25" fmla="*/ 670914 h 870857"/>
                <a:gd name="connsiteX26" fmla="*/ 251079 w 462642"/>
                <a:gd name="connsiteY26" fmla="*/ 682181 h 870857"/>
                <a:gd name="connsiteX27" fmla="*/ 127390 w 462642"/>
                <a:gd name="connsiteY27" fmla="*/ 599830 h 870857"/>
                <a:gd name="connsiteX28" fmla="*/ 108857 w 462642"/>
                <a:gd name="connsiteY28" fmla="*/ 568969 h 870857"/>
                <a:gd name="connsiteX29" fmla="*/ 0 w 462642"/>
                <a:gd name="connsiteY29" fmla="*/ 637985 h 870857"/>
                <a:gd name="connsiteX30" fmla="*/ 16165 w 462642"/>
                <a:gd name="connsiteY30" fmla="*/ 666913 h 870857"/>
                <a:gd name="connsiteX31" fmla="*/ 66131 w 462642"/>
                <a:gd name="connsiteY31" fmla="*/ 732282 h 870857"/>
                <a:gd name="connsiteX32" fmla="*/ 133432 w 462642"/>
                <a:gd name="connsiteY32" fmla="*/ 781295 h 870857"/>
                <a:gd name="connsiteX33" fmla="*/ 182608 w 462642"/>
                <a:gd name="connsiteY33" fmla="*/ 800835 h 870857"/>
                <a:gd name="connsiteX34" fmla="*/ 182608 w 462642"/>
                <a:gd name="connsiteY34" fmla="*/ 884437 h 870857"/>
                <a:gd name="connsiteX35" fmla="*/ 311413 w 462642"/>
                <a:gd name="connsiteY35" fmla="*/ 884437 h 870857"/>
                <a:gd name="connsiteX36" fmla="*/ 311413 w 462642"/>
                <a:gd name="connsiteY36" fmla="*/ 802114 h 870857"/>
                <a:gd name="connsiteX37" fmla="*/ 425768 w 462642"/>
                <a:gd name="connsiteY37" fmla="*/ 743141 h 870857"/>
                <a:gd name="connsiteX38" fmla="*/ 487163 w 462642"/>
                <a:gd name="connsiteY38" fmla="*/ 597680 h 870857"/>
                <a:gd name="connsiteX39" fmla="*/ 432462 w 462642"/>
                <a:gd name="connsiteY39" fmla="*/ 449281 h 87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62642" h="870857">
                  <a:moveTo>
                    <a:pt x="432462" y="449281"/>
                  </a:moveTo>
                  <a:cubicBezTo>
                    <a:pt x="399751" y="418665"/>
                    <a:pt x="354031" y="392757"/>
                    <a:pt x="292771" y="370169"/>
                  </a:cubicBezTo>
                  <a:cubicBezTo>
                    <a:pt x="239105" y="350275"/>
                    <a:pt x="200433" y="332940"/>
                    <a:pt x="177845" y="318598"/>
                  </a:cubicBezTo>
                  <a:cubicBezTo>
                    <a:pt x="168892" y="312910"/>
                    <a:pt x="156918" y="301534"/>
                    <a:pt x="156918" y="268714"/>
                  </a:cubicBezTo>
                  <a:cubicBezTo>
                    <a:pt x="156918" y="254100"/>
                    <a:pt x="160319" y="242670"/>
                    <a:pt x="167177" y="233689"/>
                  </a:cubicBezTo>
                  <a:cubicBezTo>
                    <a:pt x="175233" y="223402"/>
                    <a:pt x="185193" y="215973"/>
                    <a:pt x="197739" y="210911"/>
                  </a:cubicBezTo>
                  <a:cubicBezTo>
                    <a:pt x="228437" y="198501"/>
                    <a:pt x="264849" y="200978"/>
                    <a:pt x="285750" y="208598"/>
                  </a:cubicBezTo>
                  <a:cubicBezTo>
                    <a:pt x="296772" y="212625"/>
                    <a:pt x="306515" y="218667"/>
                    <a:pt x="315468" y="226913"/>
                  </a:cubicBezTo>
                  <a:cubicBezTo>
                    <a:pt x="326136" y="236764"/>
                    <a:pt x="337294" y="249637"/>
                    <a:pt x="348724" y="265203"/>
                  </a:cubicBezTo>
                  <a:lnTo>
                    <a:pt x="369597" y="293724"/>
                  </a:lnTo>
                  <a:lnTo>
                    <a:pt x="471950" y="217497"/>
                  </a:lnTo>
                  <a:lnTo>
                    <a:pt x="453662" y="189847"/>
                  </a:lnTo>
                  <a:cubicBezTo>
                    <a:pt x="441334" y="171205"/>
                    <a:pt x="425904" y="153597"/>
                    <a:pt x="407915" y="137623"/>
                  </a:cubicBezTo>
                  <a:cubicBezTo>
                    <a:pt x="389763" y="121430"/>
                    <a:pt x="369842" y="108095"/>
                    <a:pt x="348778" y="97944"/>
                  </a:cubicBezTo>
                  <a:cubicBezTo>
                    <a:pt x="336722" y="92120"/>
                    <a:pt x="324231" y="87303"/>
                    <a:pt x="311386" y="83521"/>
                  </a:cubicBezTo>
                  <a:lnTo>
                    <a:pt x="311386" y="0"/>
                  </a:lnTo>
                  <a:lnTo>
                    <a:pt x="182581" y="0"/>
                  </a:lnTo>
                  <a:lnTo>
                    <a:pt x="182581" y="81343"/>
                  </a:lnTo>
                  <a:cubicBezTo>
                    <a:pt x="141759" y="90215"/>
                    <a:pt x="106843" y="108993"/>
                    <a:pt x="78459" y="137378"/>
                  </a:cubicBezTo>
                  <a:cubicBezTo>
                    <a:pt x="42073" y="173736"/>
                    <a:pt x="23649" y="220599"/>
                    <a:pt x="23649" y="276524"/>
                  </a:cubicBezTo>
                  <a:cubicBezTo>
                    <a:pt x="23649" y="336069"/>
                    <a:pt x="41883" y="381762"/>
                    <a:pt x="77806" y="412296"/>
                  </a:cubicBezTo>
                  <a:cubicBezTo>
                    <a:pt x="109102" y="438912"/>
                    <a:pt x="153761" y="462616"/>
                    <a:pt x="214149" y="484795"/>
                  </a:cubicBezTo>
                  <a:cubicBezTo>
                    <a:pt x="266972" y="504199"/>
                    <a:pt x="305725" y="522405"/>
                    <a:pt x="329375" y="538952"/>
                  </a:cubicBezTo>
                  <a:cubicBezTo>
                    <a:pt x="339852" y="546300"/>
                    <a:pt x="353759" y="560342"/>
                    <a:pt x="353759" y="597707"/>
                  </a:cubicBezTo>
                  <a:cubicBezTo>
                    <a:pt x="353759" y="614172"/>
                    <a:pt x="349459" y="628215"/>
                    <a:pt x="340696" y="640543"/>
                  </a:cubicBezTo>
                  <a:cubicBezTo>
                    <a:pt x="331089" y="653932"/>
                    <a:pt x="318870" y="663838"/>
                    <a:pt x="303249" y="670914"/>
                  </a:cubicBezTo>
                  <a:cubicBezTo>
                    <a:pt x="286539" y="678452"/>
                    <a:pt x="269449" y="682181"/>
                    <a:pt x="251079" y="682181"/>
                  </a:cubicBezTo>
                  <a:cubicBezTo>
                    <a:pt x="200950" y="682181"/>
                    <a:pt x="160455" y="655238"/>
                    <a:pt x="127390" y="599830"/>
                  </a:cubicBezTo>
                  <a:lnTo>
                    <a:pt x="108857" y="568969"/>
                  </a:lnTo>
                  <a:lnTo>
                    <a:pt x="0" y="637985"/>
                  </a:lnTo>
                  <a:lnTo>
                    <a:pt x="16165" y="666913"/>
                  </a:lnTo>
                  <a:cubicBezTo>
                    <a:pt x="29500" y="690780"/>
                    <a:pt x="46346" y="712797"/>
                    <a:pt x="66131" y="732282"/>
                  </a:cubicBezTo>
                  <a:cubicBezTo>
                    <a:pt x="86052" y="751876"/>
                    <a:pt x="108667" y="768368"/>
                    <a:pt x="133432" y="781295"/>
                  </a:cubicBezTo>
                  <a:cubicBezTo>
                    <a:pt x="149325" y="789568"/>
                    <a:pt x="165762" y="796100"/>
                    <a:pt x="182608" y="800835"/>
                  </a:cubicBezTo>
                  <a:lnTo>
                    <a:pt x="182608" y="884437"/>
                  </a:lnTo>
                  <a:lnTo>
                    <a:pt x="311413" y="884437"/>
                  </a:lnTo>
                  <a:lnTo>
                    <a:pt x="311413" y="802114"/>
                  </a:lnTo>
                  <a:cubicBezTo>
                    <a:pt x="355772" y="792072"/>
                    <a:pt x="394145" y="772341"/>
                    <a:pt x="425768" y="743141"/>
                  </a:cubicBezTo>
                  <a:cubicBezTo>
                    <a:pt x="466480" y="705585"/>
                    <a:pt x="487163" y="656654"/>
                    <a:pt x="487163" y="597680"/>
                  </a:cubicBezTo>
                  <a:cubicBezTo>
                    <a:pt x="487136" y="533046"/>
                    <a:pt x="468766" y="483135"/>
                    <a:pt x="432462" y="449281"/>
                  </a:cubicBezTo>
                  <a:close/>
                </a:path>
              </a:pathLst>
            </a:custGeom>
            <a:solidFill>
              <a:schemeClr val="accent3"/>
            </a:solidFill>
            <a:ln w="272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  <p:sp>
          <p:nvSpPr>
            <p:cNvPr id="226" name="Graphic 7">
              <a:extLst>
                <a:ext uri="{FF2B5EF4-FFF2-40B4-BE49-F238E27FC236}">
                  <a16:creationId xmlns:a16="http://schemas.microsoft.com/office/drawing/2014/main" id="{73B8BCBD-752A-4E3A-9090-4E093BDED086}"/>
                </a:ext>
              </a:extLst>
            </p:cNvPr>
            <p:cNvSpPr/>
            <p:nvPr/>
          </p:nvSpPr>
          <p:spPr>
            <a:xfrm>
              <a:off x="10253348" y="3616373"/>
              <a:ext cx="110164" cy="207368"/>
            </a:xfrm>
            <a:custGeom>
              <a:avLst/>
              <a:gdLst>
                <a:gd name="connsiteX0" fmla="*/ 432462 w 462642"/>
                <a:gd name="connsiteY0" fmla="*/ 449281 h 870857"/>
                <a:gd name="connsiteX1" fmla="*/ 292771 w 462642"/>
                <a:gd name="connsiteY1" fmla="*/ 370169 h 870857"/>
                <a:gd name="connsiteX2" fmla="*/ 177845 w 462642"/>
                <a:gd name="connsiteY2" fmla="*/ 318598 h 870857"/>
                <a:gd name="connsiteX3" fmla="*/ 156918 w 462642"/>
                <a:gd name="connsiteY3" fmla="*/ 268714 h 870857"/>
                <a:gd name="connsiteX4" fmla="*/ 167177 w 462642"/>
                <a:gd name="connsiteY4" fmla="*/ 233689 h 870857"/>
                <a:gd name="connsiteX5" fmla="*/ 197739 w 462642"/>
                <a:gd name="connsiteY5" fmla="*/ 210911 h 870857"/>
                <a:gd name="connsiteX6" fmla="*/ 285750 w 462642"/>
                <a:gd name="connsiteY6" fmla="*/ 208598 h 870857"/>
                <a:gd name="connsiteX7" fmla="*/ 315468 w 462642"/>
                <a:gd name="connsiteY7" fmla="*/ 226913 h 870857"/>
                <a:gd name="connsiteX8" fmla="*/ 348724 w 462642"/>
                <a:gd name="connsiteY8" fmla="*/ 265203 h 870857"/>
                <a:gd name="connsiteX9" fmla="*/ 369597 w 462642"/>
                <a:gd name="connsiteY9" fmla="*/ 293724 h 870857"/>
                <a:gd name="connsiteX10" fmla="*/ 471950 w 462642"/>
                <a:gd name="connsiteY10" fmla="*/ 217497 h 870857"/>
                <a:gd name="connsiteX11" fmla="*/ 453662 w 462642"/>
                <a:gd name="connsiteY11" fmla="*/ 189847 h 870857"/>
                <a:gd name="connsiteX12" fmla="*/ 407915 w 462642"/>
                <a:gd name="connsiteY12" fmla="*/ 137623 h 870857"/>
                <a:gd name="connsiteX13" fmla="*/ 348778 w 462642"/>
                <a:gd name="connsiteY13" fmla="*/ 97944 h 870857"/>
                <a:gd name="connsiteX14" fmla="*/ 311386 w 462642"/>
                <a:gd name="connsiteY14" fmla="*/ 83521 h 870857"/>
                <a:gd name="connsiteX15" fmla="*/ 311386 w 462642"/>
                <a:gd name="connsiteY15" fmla="*/ 0 h 870857"/>
                <a:gd name="connsiteX16" fmla="*/ 182581 w 462642"/>
                <a:gd name="connsiteY16" fmla="*/ 0 h 870857"/>
                <a:gd name="connsiteX17" fmla="*/ 182581 w 462642"/>
                <a:gd name="connsiteY17" fmla="*/ 81343 h 870857"/>
                <a:gd name="connsiteX18" fmla="*/ 78459 w 462642"/>
                <a:gd name="connsiteY18" fmla="*/ 137378 h 870857"/>
                <a:gd name="connsiteX19" fmla="*/ 23649 w 462642"/>
                <a:gd name="connsiteY19" fmla="*/ 276524 h 870857"/>
                <a:gd name="connsiteX20" fmla="*/ 77806 w 462642"/>
                <a:gd name="connsiteY20" fmla="*/ 412296 h 870857"/>
                <a:gd name="connsiteX21" fmla="*/ 214149 w 462642"/>
                <a:gd name="connsiteY21" fmla="*/ 484795 h 870857"/>
                <a:gd name="connsiteX22" fmla="*/ 329375 w 462642"/>
                <a:gd name="connsiteY22" fmla="*/ 538952 h 870857"/>
                <a:gd name="connsiteX23" fmla="*/ 353759 w 462642"/>
                <a:gd name="connsiteY23" fmla="*/ 597707 h 870857"/>
                <a:gd name="connsiteX24" fmla="*/ 340696 w 462642"/>
                <a:gd name="connsiteY24" fmla="*/ 640543 h 870857"/>
                <a:gd name="connsiteX25" fmla="*/ 303249 w 462642"/>
                <a:gd name="connsiteY25" fmla="*/ 670914 h 870857"/>
                <a:gd name="connsiteX26" fmla="*/ 251079 w 462642"/>
                <a:gd name="connsiteY26" fmla="*/ 682181 h 870857"/>
                <a:gd name="connsiteX27" fmla="*/ 127390 w 462642"/>
                <a:gd name="connsiteY27" fmla="*/ 599830 h 870857"/>
                <a:gd name="connsiteX28" fmla="*/ 108857 w 462642"/>
                <a:gd name="connsiteY28" fmla="*/ 568969 h 870857"/>
                <a:gd name="connsiteX29" fmla="*/ 0 w 462642"/>
                <a:gd name="connsiteY29" fmla="*/ 637985 h 870857"/>
                <a:gd name="connsiteX30" fmla="*/ 16165 w 462642"/>
                <a:gd name="connsiteY30" fmla="*/ 666913 h 870857"/>
                <a:gd name="connsiteX31" fmla="*/ 66131 w 462642"/>
                <a:gd name="connsiteY31" fmla="*/ 732282 h 870857"/>
                <a:gd name="connsiteX32" fmla="*/ 133432 w 462642"/>
                <a:gd name="connsiteY32" fmla="*/ 781295 h 870857"/>
                <a:gd name="connsiteX33" fmla="*/ 182608 w 462642"/>
                <a:gd name="connsiteY33" fmla="*/ 800835 h 870857"/>
                <a:gd name="connsiteX34" fmla="*/ 182608 w 462642"/>
                <a:gd name="connsiteY34" fmla="*/ 884437 h 870857"/>
                <a:gd name="connsiteX35" fmla="*/ 311413 w 462642"/>
                <a:gd name="connsiteY35" fmla="*/ 884437 h 870857"/>
                <a:gd name="connsiteX36" fmla="*/ 311413 w 462642"/>
                <a:gd name="connsiteY36" fmla="*/ 802114 h 870857"/>
                <a:gd name="connsiteX37" fmla="*/ 425768 w 462642"/>
                <a:gd name="connsiteY37" fmla="*/ 743141 h 870857"/>
                <a:gd name="connsiteX38" fmla="*/ 487163 w 462642"/>
                <a:gd name="connsiteY38" fmla="*/ 597680 h 870857"/>
                <a:gd name="connsiteX39" fmla="*/ 432462 w 462642"/>
                <a:gd name="connsiteY39" fmla="*/ 449281 h 87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62642" h="870857">
                  <a:moveTo>
                    <a:pt x="432462" y="449281"/>
                  </a:moveTo>
                  <a:cubicBezTo>
                    <a:pt x="399751" y="418665"/>
                    <a:pt x="354031" y="392757"/>
                    <a:pt x="292771" y="370169"/>
                  </a:cubicBezTo>
                  <a:cubicBezTo>
                    <a:pt x="239105" y="350275"/>
                    <a:pt x="200433" y="332940"/>
                    <a:pt x="177845" y="318598"/>
                  </a:cubicBezTo>
                  <a:cubicBezTo>
                    <a:pt x="168892" y="312910"/>
                    <a:pt x="156918" y="301534"/>
                    <a:pt x="156918" y="268714"/>
                  </a:cubicBezTo>
                  <a:cubicBezTo>
                    <a:pt x="156918" y="254100"/>
                    <a:pt x="160319" y="242670"/>
                    <a:pt x="167177" y="233689"/>
                  </a:cubicBezTo>
                  <a:cubicBezTo>
                    <a:pt x="175233" y="223402"/>
                    <a:pt x="185193" y="215973"/>
                    <a:pt x="197739" y="210911"/>
                  </a:cubicBezTo>
                  <a:cubicBezTo>
                    <a:pt x="228437" y="198501"/>
                    <a:pt x="264849" y="200978"/>
                    <a:pt x="285750" y="208598"/>
                  </a:cubicBezTo>
                  <a:cubicBezTo>
                    <a:pt x="296772" y="212625"/>
                    <a:pt x="306515" y="218667"/>
                    <a:pt x="315468" y="226913"/>
                  </a:cubicBezTo>
                  <a:cubicBezTo>
                    <a:pt x="326136" y="236764"/>
                    <a:pt x="337294" y="249637"/>
                    <a:pt x="348724" y="265203"/>
                  </a:cubicBezTo>
                  <a:lnTo>
                    <a:pt x="369597" y="293724"/>
                  </a:lnTo>
                  <a:lnTo>
                    <a:pt x="471950" y="217497"/>
                  </a:lnTo>
                  <a:lnTo>
                    <a:pt x="453662" y="189847"/>
                  </a:lnTo>
                  <a:cubicBezTo>
                    <a:pt x="441334" y="171205"/>
                    <a:pt x="425904" y="153597"/>
                    <a:pt x="407915" y="137623"/>
                  </a:cubicBezTo>
                  <a:cubicBezTo>
                    <a:pt x="389763" y="121430"/>
                    <a:pt x="369842" y="108095"/>
                    <a:pt x="348778" y="97944"/>
                  </a:cubicBezTo>
                  <a:cubicBezTo>
                    <a:pt x="336722" y="92120"/>
                    <a:pt x="324231" y="87303"/>
                    <a:pt x="311386" y="83521"/>
                  </a:cubicBezTo>
                  <a:lnTo>
                    <a:pt x="311386" y="0"/>
                  </a:lnTo>
                  <a:lnTo>
                    <a:pt x="182581" y="0"/>
                  </a:lnTo>
                  <a:lnTo>
                    <a:pt x="182581" y="81343"/>
                  </a:lnTo>
                  <a:cubicBezTo>
                    <a:pt x="141759" y="90215"/>
                    <a:pt x="106843" y="108993"/>
                    <a:pt x="78459" y="137378"/>
                  </a:cubicBezTo>
                  <a:cubicBezTo>
                    <a:pt x="42073" y="173736"/>
                    <a:pt x="23649" y="220599"/>
                    <a:pt x="23649" y="276524"/>
                  </a:cubicBezTo>
                  <a:cubicBezTo>
                    <a:pt x="23649" y="336069"/>
                    <a:pt x="41883" y="381762"/>
                    <a:pt x="77806" y="412296"/>
                  </a:cubicBezTo>
                  <a:cubicBezTo>
                    <a:pt x="109102" y="438912"/>
                    <a:pt x="153761" y="462616"/>
                    <a:pt x="214149" y="484795"/>
                  </a:cubicBezTo>
                  <a:cubicBezTo>
                    <a:pt x="266972" y="504199"/>
                    <a:pt x="305725" y="522405"/>
                    <a:pt x="329375" y="538952"/>
                  </a:cubicBezTo>
                  <a:cubicBezTo>
                    <a:pt x="339852" y="546300"/>
                    <a:pt x="353759" y="560342"/>
                    <a:pt x="353759" y="597707"/>
                  </a:cubicBezTo>
                  <a:cubicBezTo>
                    <a:pt x="353759" y="614172"/>
                    <a:pt x="349459" y="628215"/>
                    <a:pt x="340696" y="640543"/>
                  </a:cubicBezTo>
                  <a:cubicBezTo>
                    <a:pt x="331089" y="653932"/>
                    <a:pt x="318870" y="663838"/>
                    <a:pt x="303249" y="670914"/>
                  </a:cubicBezTo>
                  <a:cubicBezTo>
                    <a:pt x="286539" y="678452"/>
                    <a:pt x="269449" y="682181"/>
                    <a:pt x="251079" y="682181"/>
                  </a:cubicBezTo>
                  <a:cubicBezTo>
                    <a:pt x="200950" y="682181"/>
                    <a:pt x="160455" y="655238"/>
                    <a:pt x="127390" y="599830"/>
                  </a:cubicBezTo>
                  <a:lnTo>
                    <a:pt x="108857" y="568969"/>
                  </a:lnTo>
                  <a:lnTo>
                    <a:pt x="0" y="637985"/>
                  </a:lnTo>
                  <a:lnTo>
                    <a:pt x="16165" y="666913"/>
                  </a:lnTo>
                  <a:cubicBezTo>
                    <a:pt x="29500" y="690780"/>
                    <a:pt x="46346" y="712797"/>
                    <a:pt x="66131" y="732282"/>
                  </a:cubicBezTo>
                  <a:cubicBezTo>
                    <a:pt x="86052" y="751876"/>
                    <a:pt x="108667" y="768368"/>
                    <a:pt x="133432" y="781295"/>
                  </a:cubicBezTo>
                  <a:cubicBezTo>
                    <a:pt x="149325" y="789568"/>
                    <a:pt x="165762" y="796100"/>
                    <a:pt x="182608" y="800835"/>
                  </a:cubicBezTo>
                  <a:lnTo>
                    <a:pt x="182608" y="884437"/>
                  </a:lnTo>
                  <a:lnTo>
                    <a:pt x="311413" y="884437"/>
                  </a:lnTo>
                  <a:lnTo>
                    <a:pt x="311413" y="802114"/>
                  </a:lnTo>
                  <a:cubicBezTo>
                    <a:pt x="355772" y="792072"/>
                    <a:pt x="394145" y="772341"/>
                    <a:pt x="425768" y="743141"/>
                  </a:cubicBezTo>
                  <a:cubicBezTo>
                    <a:pt x="466480" y="705585"/>
                    <a:pt x="487163" y="656654"/>
                    <a:pt x="487163" y="597680"/>
                  </a:cubicBezTo>
                  <a:cubicBezTo>
                    <a:pt x="487136" y="533046"/>
                    <a:pt x="468766" y="483135"/>
                    <a:pt x="432462" y="449281"/>
                  </a:cubicBezTo>
                  <a:close/>
                </a:path>
              </a:pathLst>
            </a:custGeom>
            <a:solidFill>
              <a:schemeClr val="accent3"/>
            </a:solidFill>
            <a:ln w="272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  <p:sp>
          <p:nvSpPr>
            <p:cNvPr id="228" name="Graphic 7">
              <a:extLst>
                <a:ext uri="{FF2B5EF4-FFF2-40B4-BE49-F238E27FC236}">
                  <a16:creationId xmlns:a16="http://schemas.microsoft.com/office/drawing/2014/main" id="{98104B77-57E8-4C76-AD57-F4194841448C}"/>
                </a:ext>
              </a:extLst>
            </p:cNvPr>
            <p:cNvSpPr/>
            <p:nvPr/>
          </p:nvSpPr>
          <p:spPr>
            <a:xfrm>
              <a:off x="11193767" y="3616373"/>
              <a:ext cx="110164" cy="207368"/>
            </a:xfrm>
            <a:custGeom>
              <a:avLst/>
              <a:gdLst>
                <a:gd name="connsiteX0" fmla="*/ 432462 w 462642"/>
                <a:gd name="connsiteY0" fmla="*/ 449281 h 870857"/>
                <a:gd name="connsiteX1" fmla="*/ 292771 w 462642"/>
                <a:gd name="connsiteY1" fmla="*/ 370169 h 870857"/>
                <a:gd name="connsiteX2" fmla="*/ 177845 w 462642"/>
                <a:gd name="connsiteY2" fmla="*/ 318598 h 870857"/>
                <a:gd name="connsiteX3" fmla="*/ 156918 w 462642"/>
                <a:gd name="connsiteY3" fmla="*/ 268714 h 870857"/>
                <a:gd name="connsiteX4" fmla="*/ 167177 w 462642"/>
                <a:gd name="connsiteY4" fmla="*/ 233689 h 870857"/>
                <a:gd name="connsiteX5" fmla="*/ 197739 w 462642"/>
                <a:gd name="connsiteY5" fmla="*/ 210911 h 870857"/>
                <a:gd name="connsiteX6" fmla="*/ 285750 w 462642"/>
                <a:gd name="connsiteY6" fmla="*/ 208598 h 870857"/>
                <a:gd name="connsiteX7" fmla="*/ 315468 w 462642"/>
                <a:gd name="connsiteY7" fmla="*/ 226913 h 870857"/>
                <a:gd name="connsiteX8" fmla="*/ 348724 w 462642"/>
                <a:gd name="connsiteY8" fmla="*/ 265203 h 870857"/>
                <a:gd name="connsiteX9" fmla="*/ 369597 w 462642"/>
                <a:gd name="connsiteY9" fmla="*/ 293724 h 870857"/>
                <a:gd name="connsiteX10" fmla="*/ 471950 w 462642"/>
                <a:gd name="connsiteY10" fmla="*/ 217497 h 870857"/>
                <a:gd name="connsiteX11" fmla="*/ 453662 w 462642"/>
                <a:gd name="connsiteY11" fmla="*/ 189847 h 870857"/>
                <a:gd name="connsiteX12" fmla="*/ 407915 w 462642"/>
                <a:gd name="connsiteY12" fmla="*/ 137623 h 870857"/>
                <a:gd name="connsiteX13" fmla="*/ 348778 w 462642"/>
                <a:gd name="connsiteY13" fmla="*/ 97944 h 870857"/>
                <a:gd name="connsiteX14" fmla="*/ 311386 w 462642"/>
                <a:gd name="connsiteY14" fmla="*/ 83521 h 870857"/>
                <a:gd name="connsiteX15" fmla="*/ 311386 w 462642"/>
                <a:gd name="connsiteY15" fmla="*/ 0 h 870857"/>
                <a:gd name="connsiteX16" fmla="*/ 182581 w 462642"/>
                <a:gd name="connsiteY16" fmla="*/ 0 h 870857"/>
                <a:gd name="connsiteX17" fmla="*/ 182581 w 462642"/>
                <a:gd name="connsiteY17" fmla="*/ 81343 h 870857"/>
                <a:gd name="connsiteX18" fmla="*/ 78459 w 462642"/>
                <a:gd name="connsiteY18" fmla="*/ 137378 h 870857"/>
                <a:gd name="connsiteX19" fmla="*/ 23649 w 462642"/>
                <a:gd name="connsiteY19" fmla="*/ 276524 h 870857"/>
                <a:gd name="connsiteX20" fmla="*/ 77806 w 462642"/>
                <a:gd name="connsiteY20" fmla="*/ 412296 h 870857"/>
                <a:gd name="connsiteX21" fmla="*/ 214149 w 462642"/>
                <a:gd name="connsiteY21" fmla="*/ 484795 h 870857"/>
                <a:gd name="connsiteX22" fmla="*/ 329375 w 462642"/>
                <a:gd name="connsiteY22" fmla="*/ 538952 h 870857"/>
                <a:gd name="connsiteX23" fmla="*/ 353759 w 462642"/>
                <a:gd name="connsiteY23" fmla="*/ 597707 h 870857"/>
                <a:gd name="connsiteX24" fmla="*/ 340696 w 462642"/>
                <a:gd name="connsiteY24" fmla="*/ 640543 h 870857"/>
                <a:gd name="connsiteX25" fmla="*/ 303249 w 462642"/>
                <a:gd name="connsiteY25" fmla="*/ 670914 h 870857"/>
                <a:gd name="connsiteX26" fmla="*/ 251079 w 462642"/>
                <a:gd name="connsiteY26" fmla="*/ 682181 h 870857"/>
                <a:gd name="connsiteX27" fmla="*/ 127390 w 462642"/>
                <a:gd name="connsiteY27" fmla="*/ 599830 h 870857"/>
                <a:gd name="connsiteX28" fmla="*/ 108857 w 462642"/>
                <a:gd name="connsiteY28" fmla="*/ 568969 h 870857"/>
                <a:gd name="connsiteX29" fmla="*/ 0 w 462642"/>
                <a:gd name="connsiteY29" fmla="*/ 637985 h 870857"/>
                <a:gd name="connsiteX30" fmla="*/ 16165 w 462642"/>
                <a:gd name="connsiteY30" fmla="*/ 666913 h 870857"/>
                <a:gd name="connsiteX31" fmla="*/ 66131 w 462642"/>
                <a:gd name="connsiteY31" fmla="*/ 732282 h 870857"/>
                <a:gd name="connsiteX32" fmla="*/ 133432 w 462642"/>
                <a:gd name="connsiteY32" fmla="*/ 781295 h 870857"/>
                <a:gd name="connsiteX33" fmla="*/ 182608 w 462642"/>
                <a:gd name="connsiteY33" fmla="*/ 800835 h 870857"/>
                <a:gd name="connsiteX34" fmla="*/ 182608 w 462642"/>
                <a:gd name="connsiteY34" fmla="*/ 884437 h 870857"/>
                <a:gd name="connsiteX35" fmla="*/ 311413 w 462642"/>
                <a:gd name="connsiteY35" fmla="*/ 884437 h 870857"/>
                <a:gd name="connsiteX36" fmla="*/ 311413 w 462642"/>
                <a:gd name="connsiteY36" fmla="*/ 802114 h 870857"/>
                <a:gd name="connsiteX37" fmla="*/ 425768 w 462642"/>
                <a:gd name="connsiteY37" fmla="*/ 743141 h 870857"/>
                <a:gd name="connsiteX38" fmla="*/ 487163 w 462642"/>
                <a:gd name="connsiteY38" fmla="*/ 597680 h 870857"/>
                <a:gd name="connsiteX39" fmla="*/ 432462 w 462642"/>
                <a:gd name="connsiteY39" fmla="*/ 449281 h 87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62642" h="870857">
                  <a:moveTo>
                    <a:pt x="432462" y="449281"/>
                  </a:moveTo>
                  <a:cubicBezTo>
                    <a:pt x="399751" y="418665"/>
                    <a:pt x="354031" y="392757"/>
                    <a:pt x="292771" y="370169"/>
                  </a:cubicBezTo>
                  <a:cubicBezTo>
                    <a:pt x="239105" y="350275"/>
                    <a:pt x="200433" y="332940"/>
                    <a:pt x="177845" y="318598"/>
                  </a:cubicBezTo>
                  <a:cubicBezTo>
                    <a:pt x="168892" y="312910"/>
                    <a:pt x="156918" y="301534"/>
                    <a:pt x="156918" y="268714"/>
                  </a:cubicBezTo>
                  <a:cubicBezTo>
                    <a:pt x="156918" y="254100"/>
                    <a:pt x="160319" y="242670"/>
                    <a:pt x="167177" y="233689"/>
                  </a:cubicBezTo>
                  <a:cubicBezTo>
                    <a:pt x="175233" y="223402"/>
                    <a:pt x="185193" y="215973"/>
                    <a:pt x="197739" y="210911"/>
                  </a:cubicBezTo>
                  <a:cubicBezTo>
                    <a:pt x="228437" y="198501"/>
                    <a:pt x="264849" y="200978"/>
                    <a:pt x="285750" y="208598"/>
                  </a:cubicBezTo>
                  <a:cubicBezTo>
                    <a:pt x="296772" y="212625"/>
                    <a:pt x="306515" y="218667"/>
                    <a:pt x="315468" y="226913"/>
                  </a:cubicBezTo>
                  <a:cubicBezTo>
                    <a:pt x="326136" y="236764"/>
                    <a:pt x="337294" y="249637"/>
                    <a:pt x="348724" y="265203"/>
                  </a:cubicBezTo>
                  <a:lnTo>
                    <a:pt x="369597" y="293724"/>
                  </a:lnTo>
                  <a:lnTo>
                    <a:pt x="471950" y="217497"/>
                  </a:lnTo>
                  <a:lnTo>
                    <a:pt x="453662" y="189847"/>
                  </a:lnTo>
                  <a:cubicBezTo>
                    <a:pt x="441334" y="171205"/>
                    <a:pt x="425904" y="153597"/>
                    <a:pt x="407915" y="137623"/>
                  </a:cubicBezTo>
                  <a:cubicBezTo>
                    <a:pt x="389763" y="121430"/>
                    <a:pt x="369842" y="108095"/>
                    <a:pt x="348778" y="97944"/>
                  </a:cubicBezTo>
                  <a:cubicBezTo>
                    <a:pt x="336722" y="92120"/>
                    <a:pt x="324231" y="87303"/>
                    <a:pt x="311386" y="83521"/>
                  </a:cubicBezTo>
                  <a:lnTo>
                    <a:pt x="311386" y="0"/>
                  </a:lnTo>
                  <a:lnTo>
                    <a:pt x="182581" y="0"/>
                  </a:lnTo>
                  <a:lnTo>
                    <a:pt x="182581" y="81343"/>
                  </a:lnTo>
                  <a:cubicBezTo>
                    <a:pt x="141759" y="90215"/>
                    <a:pt x="106843" y="108993"/>
                    <a:pt x="78459" y="137378"/>
                  </a:cubicBezTo>
                  <a:cubicBezTo>
                    <a:pt x="42073" y="173736"/>
                    <a:pt x="23649" y="220599"/>
                    <a:pt x="23649" y="276524"/>
                  </a:cubicBezTo>
                  <a:cubicBezTo>
                    <a:pt x="23649" y="336069"/>
                    <a:pt x="41883" y="381762"/>
                    <a:pt x="77806" y="412296"/>
                  </a:cubicBezTo>
                  <a:cubicBezTo>
                    <a:pt x="109102" y="438912"/>
                    <a:pt x="153761" y="462616"/>
                    <a:pt x="214149" y="484795"/>
                  </a:cubicBezTo>
                  <a:cubicBezTo>
                    <a:pt x="266972" y="504199"/>
                    <a:pt x="305725" y="522405"/>
                    <a:pt x="329375" y="538952"/>
                  </a:cubicBezTo>
                  <a:cubicBezTo>
                    <a:pt x="339852" y="546300"/>
                    <a:pt x="353759" y="560342"/>
                    <a:pt x="353759" y="597707"/>
                  </a:cubicBezTo>
                  <a:cubicBezTo>
                    <a:pt x="353759" y="614172"/>
                    <a:pt x="349459" y="628215"/>
                    <a:pt x="340696" y="640543"/>
                  </a:cubicBezTo>
                  <a:cubicBezTo>
                    <a:pt x="331089" y="653932"/>
                    <a:pt x="318870" y="663838"/>
                    <a:pt x="303249" y="670914"/>
                  </a:cubicBezTo>
                  <a:cubicBezTo>
                    <a:pt x="286539" y="678452"/>
                    <a:pt x="269449" y="682181"/>
                    <a:pt x="251079" y="682181"/>
                  </a:cubicBezTo>
                  <a:cubicBezTo>
                    <a:pt x="200950" y="682181"/>
                    <a:pt x="160455" y="655238"/>
                    <a:pt x="127390" y="599830"/>
                  </a:cubicBezTo>
                  <a:lnTo>
                    <a:pt x="108857" y="568969"/>
                  </a:lnTo>
                  <a:lnTo>
                    <a:pt x="0" y="637985"/>
                  </a:lnTo>
                  <a:lnTo>
                    <a:pt x="16165" y="666913"/>
                  </a:lnTo>
                  <a:cubicBezTo>
                    <a:pt x="29500" y="690780"/>
                    <a:pt x="46346" y="712797"/>
                    <a:pt x="66131" y="732282"/>
                  </a:cubicBezTo>
                  <a:cubicBezTo>
                    <a:pt x="86052" y="751876"/>
                    <a:pt x="108667" y="768368"/>
                    <a:pt x="133432" y="781295"/>
                  </a:cubicBezTo>
                  <a:cubicBezTo>
                    <a:pt x="149325" y="789568"/>
                    <a:pt x="165762" y="796100"/>
                    <a:pt x="182608" y="800835"/>
                  </a:cubicBezTo>
                  <a:lnTo>
                    <a:pt x="182608" y="884437"/>
                  </a:lnTo>
                  <a:lnTo>
                    <a:pt x="311413" y="884437"/>
                  </a:lnTo>
                  <a:lnTo>
                    <a:pt x="311413" y="802114"/>
                  </a:lnTo>
                  <a:cubicBezTo>
                    <a:pt x="355772" y="792072"/>
                    <a:pt x="394145" y="772341"/>
                    <a:pt x="425768" y="743141"/>
                  </a:cubicBezTo>
                  <a:cubicBezTo>
                    <a:pt x="466480" y="705585"/>
                    <a:pt x="487163" y="656654"/>
                    <a:pt x="487163" y="597680"/>
                  </a:cubicBezTo>
                  <a:cubicBezTo>
                    <a:pt x="487136" y="533046"/>
                    <a:pt x="468766" y="483135"/>
                    <a:pt x="432462" y="449281"/>
                  </a:cubicBezTo>
                  <a:close/>
                </a:path>
              </a:pathLst>
            </a:custGeom>
            <a:solidFill>
              <a:schemeClr val="accent3"/>
            </a:solidFill>
            <a:ln w="272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E5419366-8C62-4121-B0CD-4B3E70C9A280}"/>
                </a:ext>
              </a:extLst>
            </p:cNvPr>
            <p:cNvSpPr/>
            <p:nvPr/>
          </p:nvSpPr>
          <p:spPr>
            <a:xfrm>
              <a:off x="5300434" y="5419013"/>
              <a:ext cx="3404217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730">
                  <a:solidFill>
                    <a:srgbClr val="000000"/>
                  </a:solidFill>
                </a:rPr>
                <a:t>When VM usage is </a:t>
              </a:r>
            </a:p>
            <a:p>
              <a:pPr lvl="0" algn="ctr"/>
              <a:r>
                <a:rPr lang="en-US" sz="1730">
                  <a:solidFill>
                    <a:srgbClr val="000000"/>
                  </a:solidFill>
                </a:rPr>
                <a:t>&gt;400 hours/month</a:t>
              </a:r>
              <a:r>
                <a:rPr lang="en-US" sz="1730">
                  <a:solidFill>
                    <a:srgbClr val="000000"/>
                  </a:solidFill>
                  <a:sym typeface="Wingdings" panose="05000000000000000000" pitchFamily="2" charset="2"/>
                </a:rPr>
                <a:t> 1-year RI</a:t>
              </a:r>
              <a:r>
                <a:rPr lang="en-US" sz="1730">
                  <a:solidFill>
                    <a:srgbClr val="000000"/>
                  </a:solidFill>
                </a:rPr>
                <a:t> &gt;240 hours/month </a:t>
              </a:r>
              <a:r>
                <a:rPr lang="en-US" sz="1730">
                  <a:solidFill>
                    <a:srgbClr val="000000"/>
                  </a:solidFill>
                  <a:sym typeface="Wingdings" panose="05000000000000000000" pitchFamily="2" charset="2"/>
                </a:rPr>
                <a:t> </a:t>
              </a:r>
              <a:r>
                <a:rPr lang="en-US" sz="1730">
                  <a:solidFill>
                    <a:srgbClr val="000000"/>
                  </a:solidFill>
                </a:rPr>
                <a:t>3-year RI</a:t>
              </a:r>
            </a:p>
          </p:txBody>
        </p: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AB726994-E828-4226-9052-16774D2F7563}"/>
                </a:ext>
              </a:extLst>
            </p:cNvPr>
            <p:cNvCxnSpPr>
              <a:cxnSpLocks/>
            </p:cNvCxnSpPr>
            <p:nvPr/>
          </p:nvCxnSpPr>
          <p:spPr>
            <a:xfrm>
              <a:off x="8732567" y="2564534"/>
              <a:ext cx="0" cy="2665004"/>
            </a:xfrm>
            <a:prstGeom prst="lin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grpSp>
          <p:nvGrpSpPr>
            <p:cNvPr id="177" name="Group 153">
              <a:extLst>
                <a:ext uri="{FF2B5EF4-FFF2-40B4-BE49-F238E27FC236}">
                  <a16:creationId xmlns:a16="http://schemas.microsoft.com/office/drawing/2014/main" id="{0531835B-1AC9-4369-8325-EBB15FAC6CD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33689" y="2939058"/>
              <a:ext cx="412150" cy="411859"/>
              <a:chOff x="2501" y="790"/>
              <a:chExt cx="2832" cy="2830"/>
            </a:xfrm>
          </p:grpSpPr>
          <p:sp>
            <p:nvSpPr>
              <p:cNvPr id="178" name="Oval 154">
                <a:extLst>
                  <a:ext uri="{FF2B5EF4-FFF2-40B4-BE49-F238E27FC236}">
                    <a16:creationId xmlns:a16="http://schemas.microsoft.com/office/drawing/2014/main" id="{89E8DFC4-970E-45FD-B5EC-1738206EA1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1" y="790"/>
                <a:ext cx="2832" cy="2830"/>
              </a:xfrm>
              <a:prstGeom prst="ellipse">
                <a:avLst/>
              </a:prstGeom>
              <a:solidFill>
                <a:srgbClr val="F250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179" name="Freeform 155">
                <a:extLst>
                  <a:ext uri="{FF2B5EF4-FFF2-40B4-BE49-F238E27FC236}">
                    <a16:creationId xmlns:a16="http://schemas.microsoft.com/office/drawing/2014/main" id="{F1A26E0D-CAB4-47F6-BAA0-5A45AF25EF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4" y="2569"/>
                <a:ext cx="2256" cy="1051"/>
              </a:xfrm>
              <a:custGeom>
                <a:avLst/>
                <a:gdLst>
                  <a:gd name="T0" fmla="*/ 493 w 956"/>
                  <a:gd name="T1" fmla="*/ 446 h 446"/>
                  <a:gd name="T2" fmla="*/ 956 w 956"/>
                  <a:gd name="T3" fmla="*/ 228 h 446"/>
                  <a:gd name="T4" fmla="*/ 759 w 956"/>
                  <a:gd name="T5" fmla="*/ 84 h 446"/>
                  <a:gd name="T6" fmla="*/ 582 w 956"/>
                  <a:gd name="T7" fmla="*/ 0 h 446"/>
                  <a:gd name="T8" fmla="*/ 291 w 956"/>
                  <a:gd name="T9" fmla="*/ 63 h 446"/>
                  <a:gd name="T10" fmla="*/ 0 w 956"/>
                  <a:gd name="T11" fmla="*/ 188 h 446"/>
                  <a:gd name="T12" fmla="*/ 493 w 956"/>
                  <a:gd name="T13" fmla="*/ 446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56" h="446">
                    <a:moveTo>
                      <a:pt x="493" y="446"/>
                    </a:moveTo>
                    <a:cubicBezTo>
                      <a:pt x="679" y="446"/>
                      <a:pt x="846" y="361"/>
                      <a:pt x="956" y="228"/>
                    </a:cubicBezTo>
                    <a:cubicBezTo>
                      <a:pt x="912" y="172"/>
                      <a:pt x="816" y="110"/>
                      <a:pt x="759" y="84"/>
                    </a:cubicBezTo>
                    <a:cubicBezTo>
                      <a:pt x="582" y="0"/>
                      <a:pt x="582" y="0"/>
                      <a:pt x="582" y="0"/>
                    </a:cubicBezTo>
                    <a:cubicBezTo>
                      <a:pt x="291" y="63"/>
                      <a:pt x="291" y="63"/>
                      <a:pt x="291" y="63"/>
                    </a:cubicBezTo>
                    <a:cubicBezTo>
                      <a:pt x="225" y="78"/>
                      <a:pt x="87" y="136"/>
                      <a:pt x="0" y="188"/>
                    </a:cubicBezTo>
                    <a:cubicBezTo>
                      <a:pt x="108" y="344"/>
                      <a:pt x="289" y="446"/>
                      <a:pt x="493" y="446"/>
                    </a:cubicBezTo>
                    <a:close/>
                  </a:path>
                </a:pathLst>
              </a:custGeom>
              <a:solidFill>
                <a:srgbClr val="9393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181" name="Freeform 156">
                <a:extLst>
                  <a:ext uri="{FF2B5EF4-FFF2-40B4-BE49-F238E27FC236}">
                    <a16:creationId xmlns:a16="http://schemas.microsoft.com/office/drawing/2014/main" id="{1C94B85F-AD0F-4806-94D2-1155E70FE1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6" y="2904"/>
                <a:ext cx="651" cy="617"/>
              </a:xfrm>
              <a:custGeom>
                <a:avLst/>
                <a:gdLst>
                  <a:gd name="T0" fmla="*/ 276 w 276"/>
                  <a:gd name="T1" fmla="*/ 150 h 262"/>
                  <a:gd name="T2" fmla="*/ 178 w 276"/>
                  <a:gd name="T3" fmla="*/ 158 h 262"/>
                  <a:gd name="T4" fmla="*/ 229 w 276"/>
                  <a:gd name="T5" fmla="*/ 0 h 262"/>
                  <a:gd name="T6" fmla="*/ 0 w 276"/>
                  <a:gd name="T7" fmla="*/ 115 h 262"/>
                  <a:gd name="T8" fmla="*/ 216 w 276"/>
                  <a:gd name="T9" fmla="*/ 262 h 262"/>
                  <a:gd name="T10" fmla="*/ 176 w 276"/>
                  <a:gd name="T11" fmla="*/ 216 h 262"/>
                  <a:gd name="T12" fmla="*/ 276 w 276"/>
                  <a:gd name="T13" fmla="*/ 15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6" h="262">
                    <a:moveTo>
                      <a:pt x="276" y="150"/>
                    </a:moveTo>
                    <a:cubicBezTo>
                      <a:pt x="178" y="158"/>
                      <a:pt x="178" y="158"/>
                      <a:pt x="178" y="158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140" y="18"/>
                      <a:pt x="57" y="67"/>
                      <a:pt x="0" y="115"/>
                    </a:cubicBezTo>
                    <a:cubicBezTo>
                      <a:pt x="60" y="179"/>
                      <a:pt x="134" y="229"/>
                      <a:pt x="216" y="262"/>
                    </a:cubicBezTo>
                    <a:cubicBezTo>
                      <a:pt x="191" y="234"/>
                      <a:pt x="176" y="216"/>
                      <a:pt x="176" y="216"/>
                    </a:cubicBezTo>
                    <a:lnTo>
                      <a:pt x="276" y="150"/>
                    </a:lnTo>
                    <a:close/>
                  </a:path>
                </a:pathLst>
              </a:custGeom>
              <a:solidFill>
                <a:srgbClr val="73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183" name="Freeform 157">
                <a:extLst>
                  <a:ext uri="{FF2B5EF4-FFF2-40B4-BE49-F238E27FC236}">
                    <a16:creationId xmlns:a16="http://schemas.microsoft.com/office/drawing/2014/main" id="{0C652BE6-5573-4685-A5F9-35292F5B51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5" y="2854"/>
                <a:ext cx="517" cy="639"/>
              </a:xfrm>
              <a:custGeom>
                <a:avLst/>
                <a:gdLst>
                  <a:gd name="T0" fmla="*/ 219 w 219"/>
                  <a:gd name="T1" fmla="*/ 144 h 271"/>
                  <a:gd name="T2" fmla="*/ 0 w 219"/>
                  <a:gd name="T3" fmla="*/ 0 h 271"/>
                  <a:gd name="T4" fmla="*/ 72 w 219"/>
                  <a:gd name="T5" fmla="*/ 134 h 271"/>
                  <a:gd name="T6" fmla="*/ 7 w 219"/>
                  <a:gd name="T7" fmla="*/ 137 h 271"/>
                  <a:gd name="T8" fmla="*/ 83 w 219"/>
                  <a:gd name="T9" fmla="*/ 191 h 271"/>
                  <a:gd name="T10" fmla="*/ 39 w 219"/>
                  <a:gd name="T11" fmla="*/ 271 h 271"/>
                  <a:gd name="T12" fmla="*/ 219 w 219"/>
                  <a:gd name="T13" fmla="*/ 144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9" h="271">
                    <a:moveTo>
                      <a:pt x="219" y="144"/>
                    </a:moveTo>
                    <a:cubicBezTo>
                      <a:pt x="174" y="82"/>
                      <a:pt x="87" y="19"/>
                      <a:pt x="0" y="0"/>
                    </a:cubicBezTo>
                    <a:cubicBezTo>
                      <a:pt x="72" y="134"/>
                      <a:pt x="72" y="134"/>
                      <a:pt x="72" y="134"/>
                    </a:cubicBezTo>
                    <a:cubicBezTo>
                      <a:pt x="7" y="137"/>
                      <a:pt x="7" y="137"/>
                      <a:pt x="7" y="137"/>
                    </a:cubicBezTo>
                    <a:cubicBezTo>
                      <a:pt x="83" y="191"/>
                      <a:pt x="83" y="191"/>
                      <a:pt x="83" y="191"/>
                    </a:cubicBezTo>
                    <a:cubicBezTo>
                      <a:pt x="83" y="191"/>
                      <a:pt x="66" y="224"/>
                      <a:pt x="39" y="271"/>
                    </a:cubicBezTo>
                    <a:cubicBezTo>
                      <a:pt x="107" y="240"/>
                      <a:pt x="167" y="196"/>
                      <a:pt x="219" y="144"/>
                    </a:cubicBezTo>
                    <a:close/>
                  </a:path>
                </a:pathLst>
              </a:custGeom>
              <a:solidFill>
                <a:srgbClr val="73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185" name="Freeform 158">
                <a:extLst>
                  <a:ext uri="{FF2B5EF4-FFF2-40B4-BE49-F238E27FC236}">
                    <a16:creationId xmlns:a16="http://schemas.microsoft.com/office/drawing/2014/main" id="{950A70D3-1E45-412B-9B3F-51EB15F231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9" y="2717"/>
                <a:ext cx="693" cy="455"/>
              </a:xfrm>
              <a:custGeom>
                <a:avLst/>
                <a:gdLst>
                  <a:gd name="T0" fmla="*/ 0 w 693"/>
                  <a:gd name="T1" fmla="*/ 85 h 455"/>
                  <a:gd name="T2" fmla="*/ 122 w 693"/>
                  <a:gd name="T3" fmla="*/ 278 h 455"/>
                  <a:gd name="T4" fmla="*/ 441 w 693"/>
                  <a:gd name="T5" fmla="*/ 455 h 455"/>
                  <a:gd name="T6" fmla="*/ 693 w 693"/>
                  <a:gd name="T7" fmla="*/ 243 h 455"/>
                  <a:gd name="T8" fmla="*/ 679 w 693"/>
                  <a:gd name="T9" fmla="*/ 0 h 455"/>
                  <a:gd name="T10" fmla="*/ 0 w 693"/>
                  <a:gd name="T11" fmla="*/ 8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93" h="455">
                    <a:moveTo>
                      <a:pt x="0" y="85"/>
                    </a:moveTo>
                    <a:lnTo>
                      <a:pt x="122" y="278"/>
                    </a:lnTo>
                    <a:lnTo>
                      <a:pt x="441" y="455"/>
                    </a:lnTo>
                    <a:lnTo>
                      <a:pt x="693" y="243"/>
                    </a:lnTo>
                    <a:lnTo>
                      <a:pt x="679" y="0"/>
                    </a:lnTo>
                    <a:lnTo>
                      <a:pt x="0" y="85"/>
                    </a:lnTo>
                    <a:close/>
                  </a:path>
                </a:pathLst>
              </a:custGeom>
              <a:solidFill>
                <a:srgbClr val="AB84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187" name="Freeform 159">
                <a:extLst>
                  <a:ext uri="{FF2B5EF4-FFF2-40B4-BE49-F238E27FC236}">
                    <a16:creationId xmlns:a16="http://schemas.microsoft.com/office/drawing/2014/main" id="{D1D15971-59A8-4117-A383-7C0CAD87CC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6" y="2708"/>
                <a:ext cx="758" cy="912"/>
              </a:xfrm>
              <a:custGeom>
                <a:avLst/>
                <a:gdLst>
                  <a:gd name="T0" fmla="*/ 320 w 321"/>
                  <a:gd name="T1" fmla="*/ 125 h 387"/>
                  <a:gd name="T2" fmla="*/ 321 w 321"/>
                  <a:gd name="T3" fmla="*/ 112 h 387"/>
                  <a:gd name="T4" fmla="*/ 321 w 321"/>
                  <a:gd name="T5" fmla="*/ 20 h 387"/>
                  <a:gd name="T6" fmla="*/ 7 w 321"/>
                  <a:gd name="T7" fmla="*/ 0 h 387"/>
                  <a:gd name="T8" fmla="*/ 4 w 321"/>
                  <a:gd name="T9" fmla="*/ 24 h 387"/>
                  <a:gd name="T10" fmla="*/ 19 w 321"/>
                  <a:gd name="T11" fmla="*/ 129 h 387"/>
                  <a:gd name="T12" fmla="*/ 126 w 321"/>
                  <a:gd name="T13" fmla="*/ 387 h 387"/>
                  <a:gd name="T14" fmla="*/ 136 w 321"/>
                  <a:gd name="T15" fmla="*/ 387 h 387"/>
                  <a:gd name="T16" fmla="*/ 274 w 321"/>
                  <a:gd name="T17" fmla="*/ 371 h 387"/>
                  <a:gd name="T18" fmla="*/ 296 w 321"/>
                  <a:gd name="T19" fmla="*/ 317 h 387"/>
                  <a:gd name="T20" fmla="*/ 320 w 321"/>
                  <a:gd name="T21" fmla="*/ 125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1" h="387">
                    <a:moveTo>
                      <a:pt x="320" y="125"/>
                    </a:moveTo>
                    <a:cubicBezTo>
                      <a:pt x="321" y="117"/>
                      <a:pt x="321" y="112"/>
                      <a:pt x="321" y="112"/>
                    </a:cubicBezTo>
                    <a:cubicBezTo>
                      <a:pt x="321" y="20"/>
                      <a:pt x="321" y="20"/>
                      <a:pt x="321" y="2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0" y="60"/>
                      <a:pt x="5" y="96"/>
                      <a:pt x="19" y="129"/>
                    </a:cubicBezTo>
                    <a:cubicBezTo>
                      <a:pt x="126" y="387"/>
                      <a:pt x="126" y="387"/>
                      <a:pt x="126" y="387"/>
                    </a:cubicBezTo>
                    <a:cubicBezTo>
                      <a:pt x="130" y="387"/>
                      <a:pt x="133" y="387"/>
                      <a:pt x="136" y="387"/>
                    </a:cubicBezTo>
                    <a:cubicBezTo>
                      <a:pt x="183" y="387"/>
                      <a:pt x="229" y="381"/>
                      <a:pt x="274" y="371"/>
                    </a:cubicBezTo>
                    <a:cubicBezTo>
                      <a:pt x="296" y="317"/>
                      <a:pt x="296" y="317"/>
                      <a:pt x="296" y="317"/>
                    </a:cubicBezTo>
                    <a:cubicBezTo>
                      <a:pt x="308" y="262"/>
                      <a:pt x="319" y="192"/>
                      <a:pt x="320" y="12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189" name="Freeform 160">
                <a:extLst>
                  <a:ext uri="{FF2B5EF4-FFF2-40B4-BE49-F238E27FC236}">
                    <a16:creationId xmlns:a16="http://schemas.microsoft.com/office/drawing/2014/main" id="{1396AEF0-9BC9-4439-9E12-5CA7AFDFBF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4" y="2786"/>
                <a:ext cx="739" cy="481"/>
              </a:xfrm>
              <a:custGeom>
                <a:avLst/>
                <a:gdLst>
                  <a:gd name="T0" fmla="*/ 310 w 313"/>
                  <a:gd name="T1" fmla="*/ 0 h 204"/>
                  <a:gd name="T2" fmla="*/ 0 w 313"/>
                  <a:gd name="T3" fmla="*/ 6 h 204"/>
                  <a:gd name="T4" fmla="*/ 104 w 313"/>
                  <a:gd name="T5" fmla="*/ 119 h 204"/>
                  <a:gd name="T6" fmla="*/ 55 w 313"/>
                  <a:gd name="T7" fmla="*/ 204 h 204"/>
                  <a:gd name="T8" fmla="*/ 147 w 313"/>
                  <a:gd name="T9" fmla="*/ 142 h 204"/>
                  <a:gd name="T10" fmla="*/ 171 w 313"/>
                  <a:gd name="T11" fmla="*/ 149 h 204"/>
                  <a:gd name="T12" fmla="*/ 254 w 313"/>
                  <a:gd name="T13" fmla="*/ 155 h 204"/>
                  <a:gd name="T14" fmla="*/ 301 w 313"/>
                  <a:gd name="T15" fmla="*/ 189 h 204"/>
                  <a:gd name="T16" fmla="*/ 285 w 313"/>
                  <a:gd name="T17" fmla="*/ 145 h 204"/>
                  <a:gd name="T18" fmla="*/ 307 w 313"/>
                  <a:gd name="T19" fmla="*/ 128 h 204"/>
                  <a:gd name="T20" fmla="*/ 308 w 313"/>
                  <a:gd name="T21" fmla="*/ 122 h 204"/>
                  <a:gd name="T22" fmla="*/ 310 w 313"/>
                  <a:gd name="T23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13" h="204">
                    <a:moveTo>
                      <a:pt x="31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39" y="75"/>
                      <a:pt x="104" y="119"/>
                    </a:cubicBezTo>
                    <a:cubicBezTo>
                      <a:pt x="55" y="204"/>
                      <a:pt x="55" y="204"/>
                      <a:pt x="55" y="204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55" y="145"/>
                      <a:pt x="163" y="147"/>
                      <a:pt x="171" y="149"/>
                    </a:cubicBezTo>
                    <a:cubicBezTo>
                      <a:pt x="207" y="158"/>
                      <a:pt x="234" y="158"/>
                      <a:pt x="254" y="155"/>
                    </a:cubicBezTo>
                    <a:cubicBezTo>
                      <a:pt x="301" y="189"/>
                      <a:pt x="301" y="189"/>
                      <a:pt x="301" y="189"/>
                    </a:cubicBezTo>
                    <a:cubicBezTo>
                      <a:pt x="285" y="145"/>
                      <a:pt x="285" y="145"/>
                      <a:pt x="285" y="145"/>
                    </a:cubicBezTo>
                    <a:cubicBezTo>
                      <a:pt x="301" y="137"/>
                      <a:pt x="307" y="128"/>
                      <a:pt x="307" y="128"/>
                    </a:cubicBezTo>
                    <a:cubicBezTo>
                      <a:pt x="308" y="122"/>
                      <a:pt x="308" y="122"/>
                      <a:pt x="308" y="122"/>
                    </a:cubicBezTo>
                    <a:cubicBezTo>
                      <a:pt x="312" y="82"/>
                      <a:pt x="313" y="41"/>
                      <a:pt x="310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00" name="Freeform 161">
                <a:extLst>
                  <a:ext uri="{FF2B5EF4-FFF2-40B4-BE49-F238E27FC236}">
                    <a16:creationId xmlns:a16="http://schemas.microsoft.com/office/drawing/2014/main" id="{73267DB6-B11D-4109-A423-A4579D3591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5" y="3062"/>
                <a:ext cx="387" cy="558"/>
              </a:xfrm>
              <a:custGeom>
                <a:avLst/>
                <a:gdLst>
                  <a:gd name="T0" fmla="*/ 130 w 164"/>
                  <a:gd name="T1" fmla="*/ 26 h 237"/>
                  <a:gd name="T2" fmla="*/ 62 w 164"/>
                  <a:gd name="T3" fmla="*/ 0 h 237"/>
                  <a:gd name="T4" fmla="*/ 30 w 164"/>
                  <a:gd name="T5" fmla="*/ 32 h 237"/>
                  <a:gd name="T6" fmla="*/ 0 w 164"/>
                  <a:gd name="T7" fmla="*/ 237 h 237"/>
                  <a:gd name="T8" fmla="*/ 5 w 164"/>
                  <a:gd name="T9" fmla="*/ 237 h 237"/>
                  <a:gd name="T10" fmla="*/ 152 w 164"/>
                  <a:gd name="T11" fmla="*/ 219 h 237"/>
                  <a:gd name="T12" fmla="*/ 164 w 164"/>
                  <a:gd name="T13" fmla="*/ 173 h 237"/>
                  <a:gd name="T14" fmla="*/ 130 w 164"/>
                  <a:gd name="T15" fmla="*/ 26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4" h="237">
                    <a:moveTo>
                      <a:pt x="130" y="26"/>
                    </a:moveTo>
                    <a:cubicBezTo>
                      <a:pt x="62" y="0"/>
                      <a:pt x="62" y="0"/>
                      <a:pt x="62" y="0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0" y="237"/>
                      <a:pt x="0" y="237"/>
                      <a:pt x="0" y="237"/>
                    </a:cubicBezTo>
                    <a:cubicBezTo>
                      <a:pt x="2" y="237"/>
                      <a:pt x="3" y="237"/>
                      <a:pt x="5" y="237"/>
                    </a:cubicBezTo>
                    <a:cubicBezTo>
                      <a:pt x="56" y="237"/>
                      <a:pt x="105" y="231"/>
                      <a:pt x="152" y="219"/>
                    </a:cubicBezTo>
                    <a:cubicBezTo>
                      <a:pt x="157" y="204"/>
                      <a:pt x="161" y="189"/>
                      <a:pt x="164" y="173"/>
                    </a:cubicBezTo>
                    <a:lnTo>
                      <a:pt x="130" y="26"/>
                    </a:lnTo>
                    <a:close/>
                  </a:path>
                </a:pathLst>
              </a:custGeom>
              <a:solidFill>
                <a:srgbClr val="006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17" name="Freeform 162">
                <a:extLst>
                  <a:ext uri="{FF2B5EF4-FFF2-40B4-BE49-F238E27FC236}">
                    <a16:creationId xmlns:a16="http://schemas.microsoft.com/office/drawing/2014/main" id="{13126736-459B-4B0B-B47B-9855558C98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9" y="2873"/>
                <a:ext cx="243" cy="264"/>
              </a:xfrm>
              <a:custGeom>
                <a:avLst/>
                <a:gdLst>
                  <a:gd name="T0" fmla="*/ 0 w 243"/>
                  <a:gd name="T1" fmla="*/ 9 h 264"/>
                  <a:gd name="T2" fmla="*/ 7 w 243"/>
                  <a:gd name="T3" fmla="*/ 264 h 264"/>
                  <a:gd name="T4" fmla="*/ 243 w 243"/>
                  <a:gd name="T5" fmla="*/ 250 h 264"/>
                  <a:gd name="T6" fmla="*/ 224 w 243"/>
                  <a:gd name="T7" fmla="*/ 0 h 264"/>
                  <a:gd name="T8" fmla="*/ 0 w 243"/>
                  <a:gd name="T9" fmla="*/ 9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3" h="264">
                    <a:moveTo>
                      <a:pt x="0" y="9"/>
                    </a:moveTo>
                    <a:lnTo>
                      <a:pt x="7" y="264"/>
                    </a:lnTo>
                    <a:lnTo>
                      <a:pt x="243" y="250"/>
                    </a:lnTo>
                    <a:lnTo>
                      <a:pt x="224" y="0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48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19" name="Freeform 163">
                <a:extLst>
                  <a:ext uri="{FF2B5EF4-FFF2-40B4-BE49-F238E27FC236}">
                    <a16:creationId xmlns:a16="http://schemas.microsoft.com/office/drawing/2014/main" id="{957ABAD7-C8E5-4EB7-9CF7-FE379A3591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7" y="1180"/>
                <a:ext cx="1484" cy="1660"/>
              </a:xfrm>
              <a:custGeom>
                <a:avLst/>
                <a:gdLst>
                  <a:gd name="T0" fmla="*/ 346 w 629"/>
                  <a:gd name="T1" fmla="*/ 0 h 704"/>
                  <a:gd name="T2" fmla="*/ 346 w 629"/>
                  <a:gd name="T3" fmla="*/ 0 h 704"/>
                  <a:gd name="T4" fmla="*/ 63 w 629"/>
                  <a:gd name="T5" fmla="*/ 260 h 704"/>
                  <a:gd name="T6" fmla="*/ 49 w 629"/>
                  <a:gd name="T7" fmla="*/ 258 h 704"/>
                  <a:gd name="T8" fmla="*/ 0 w 629"/>
                  <a:gd name="T9" fmla="*/ 307 h 704"/>
                  <a:gd name="T10" fmla="*/ 0 w 629"/>
                  <a:gd name="T11" fmla="*/ 363 h 704"/>
                  <a:gd name="T12" fmla="*/ 70 w 629"/>
                  <a:gd name="T13" fmla="*/ 434 h 704"/>
                  <a:gd name="T14" fmla="*/ 78 w 629"/>
                  <a:gd name="T15" fmla="*/ 434 h 704"/>
                  <a:gd name="T16" fmla="*/ 346 w 629"/>
                  <a:gd name="T17" fmla="*/ 704 h 704"/>
                  <a:gd name="T18" fmla="*/ 346 w 629"/>
                  <a:gd name="T19" fmla="*/ 704 h 704"/>
                  <a:gd name="T20" fmla="*/ 629 w 629"/>
                  <a:gd name="T21" fmla="*/ 420 h 704"/>
                  <a:gd name="T22" fmla="*/ 629 w 629"/>
                  <a:gd name="T23" fmla="*/ 284 h 704"/>
                  <a:gd name="T24" fmla="*/ 346 w 629"/>
                  <a:gd name="T25" fmla="*/ 0 h 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29" h="704">
                    <a:moveTo>
                      <a:pt x="346" y="0"/>
                    </a:moveTo>
                    <a:cubicBezTo>
                      <a:pt x="346" y="0"/>
                      <a:pt x="346" y="0"/>
                      <a:pt x="346" y="0"/>
                    </a:cubicBezTo>
                    <a:cubicBezTo>
                      <a:pt x="197" y="0"/>
                      <a:pt x="75" y="115"/>
                      <a:pt x="63" y="260"/>
                    </a:cubicBezTo>
                    <a:cubicBezTo>
                      <a:pt x="59" y="259"/>
                      <a:pt x="54" y="258"/>
                      <a:pt x="49" y="258"/>
                    </a:cubicBezTo>
                    <a:cubicBezTo>
                      <a:pt x="22" y="258"/>
                      <a:pt x="0" y="280"/>
                      <a:pt x="0" y="307"/>
                    </a:cubicBezTo>
                    <a:cubicBezTo>
                      <a:pt x="0" y="363"/>
                      <a:pt x="0" y="363"/>
                      <a:pt x="0" y="363"/>
                    </a:cubicBezTo>
                    <a:cubicBezTo>
                      <a:pt x="0" y="402"/>
                      <a:pt x="31" y="434"/>
                      <a:pt x="70" y="434"/>
                    </a:cubicBezTo>
                    <a:cubicBezTo>
                      <a:pt x="78" y="434"/>
                      <a:pt x="78" y="434"/>
                      <a:pt x="78" y="434"/>
                    </a:cubicBezTo>
                    <a:cubicBezTo>
                      <a:pt x="85" y="584"/>
                      <a:pt x="194" y="704"/>
                      <a:pt x="346" y="704"/>
                    </a:cubicBezTo>
                    <a:cubicBezTo>
                      <a:pt x="346" y="704"/>
                      <a:pt x="346" y="704"/>
                      <a:pt x="346" y="704"/>
                    </a:cubicBezTo>
                    <a:cubicBezTo>
                      <a:pt x="502" y="704"/>
                      <a:pt x="629" y="577"/>
                      <a:pt x="629" y="420"/>
                    </a:cubicBezTo>
                    <a:cubicBezTo>
                      <a:pt x="629" y="284"/>
                      <a:pt x="629" y="284"/>
                      <a:pt x="629" y="284"/>
                    </a:cubicBezTo>
                    <a:cubicBezTo>
                      <a:pt x="629" y="127"/>
                      <a:pt x="502" y="0"/>
                      <a:pt x="346" y="0"/>
                    </a:cubicBezTo>
                    <a:close/>
                  </a:path>
                </a:pathLst>
              </a:custGeom>
              <a:solidFill>
                <a:srgbClr val="CE9C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21" name="Freeform 164">
                <a:extLst>
                  <a:ext uri="{FF2B5EF4-FFF2-40B4-BE49-F238E27FC236}">
                    <a16:creationId xmlns:a16="http://schemas.microsoft.com/office/drawing/2014/main" id="{769DCB1E-103D-4FEC-A1C9-2F7CDD56AB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9" y="1852"/>
                <a:ext cx="672" cy="988"/>
              </a:xfrm>
              <a:custGeom>
                <a:avLst/>
                <a:gdLst>
                  <a:gd name="T0" fmla="*/ 2 w 285"/>
                  <a:gd name="T1" fmla="*/ 419 h 419"/>
                  <a:gd name="T2" fmla="*/ 285 w 285"/>
                  <a:gd name="T3" fmla="*/ 135 h 419"/>
                  <a:gd name="T4" fmla="*/ 285 w 285"/>
                  <a:gd name="T5" fmla="*/ 3 h 419"/>
                  <a:gd name="T6" fmla="*/ 246 w 285"/>
                  <a:gd name="T7" fmla="*/ 1 h 419"/>
                  <a:gd name="T8" fmla="*/ 130 w 285"/>
                  <a:gd name="T9" fmla="*/ 1 h 419"/>
                  <a:gd name="T10" fmla="*/ 135 w 285"/>
                  <a:gd name="T11" fmla="*/ 67 h 419"/>
                  <a:gd name="T12" fmla="*/ 164 w 285"/>
                  <a:gd name="T13" fmla="*/ 127 h 419"/>
                  <a:gd name="T14" fmla="*/ 147 w 285"/>
                  <a:gd name="T15" fmla="*/ 162 h 419"/>
                  <a:gd name="T16" fmla="*/ 106 w 285"/>
                  <a:gd name="T17" fmla="*/ 173 h 419"/>
                  <a:gd name="T18" fmla="*/ 88 w 285"/>
                  <a:gd name="T19" fmla="*/ 197 h 419"/>
                  <a:gd name="T20" fmla="*/ 98 w 285"/>
                  <a:gd name="T21" fmla="*/ 287 h 419"/>
                  <a:gd name="T22" fmla="*/ 30 w 285"/>
                  <a:gd name="T23" fmla="*/ 406 h 419"/>
                  <a:gd name="T24" fmla="*/ 0 w 285"/>
                  <a:gd name="T25" fmla="*/ 419 h 419"/>
                  <a:gd name="T26" fmla="*/ 2 w 285"/>
                  <a:gd name="T27" fmla="*/ 419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5" h="419">
                    <a:moveTo>
                      <a:pt x="2" y="419"/>
                    </a:moveTo>
                    <a:cubicBezTo>
                      <a:pt x="158" y="419"/>
                      <a:pt x="285" y="292"/>
                      <a:pt x="285" y="135"/>
                    </a:cubicBezTo>
                    <a:cubicBezTo>
                      <a:pt x="285" y="3"/>
                      <a:pt x="285" y="3"/>
                      <a:pt x="285" y="3"/>
                    </a:cubicBezTo>
                    <a:cubicBezTo>
                      <a:pt x="285" y="0"/>
                      <a:pt x="260" y="1"/>
                      <a:pt x="246" y="1"/>
                    </a:cubicBezTo>
                    <a:cubicBezTo>
                      <a:pt x="130" y="1"/>
                      <a:pt x="130" y="1"/>
                      <a:pt x="130" y="1"/>
                    </a:cubicBezTo>
                    <a:cubicBezTo>
                      <a:pt x="130" y="1"/>
                      <a:pt x="115" y="27"/>
                      <a:pt x="135" y="67"/>
                    </a:cubicBezTo>
                    <a:cubicBezTo>
                      <a:pt x="164" y="127"/>
                      <a:pt x="164" y="127"/>
                      <a:pt x="164" y="127"/>
                    </a:cubicBezTo>
                    <a:cubicBezTo>
                      <a:pt x="171" y="141"/>
                      <a:pt x="163" y="158"/>
                      <a:pt x="147" y="162"/>
                    </a:cubicBezTo>
                    <a:cubicBezTo>
                      <a:pt x="106" y="173"/>
                      <a:pt x="106" y="173"/>
                      <a:pt x="106" y="173"/>
                    </a:cubicBezTo>
                    <a:cubicBezTo>
                      <a:pt x="95" y="176"/>
                      <a:pt x="88" y="186"/>
                      <a:pt x="88" y="197"/>
                    </a:cubicBezTo>
                    <a:cubicBezTo>
                      <a:pt x="98" y="287"/>
                      <a:pt x="98" y="287"/>
                      <a:pt x="98" y="287"/>
                    </a:cubicBezTo>
                    <a:cubicBezTo>
                      <a:pt x="105" y="338"/>
                      <a:pt x="77" y="386"/>
                      <a:pt x="30" y="406"/>
                    </a:cubicBezTo>
                    <a:cubicBezTo>
                      <a:pt x="0" y="419"/>
                      <a:pt x="0" y="419"/>
                      <a:pt x="0" y="419"/>
                    </a:cubicBezTo>
                    <a:cubicBezTo>
                      <a:pt x="1" y="419"/>
                      <a:pt x="1" y="419"/>
                      <a:pt x="2" y="419"/>
                    </a:cubicBezTo>
                    <a:close/>
                  </a:path>
                </a:pathLst>
              </a:custGeom>
              <a:solidFill>
                <a:srgbClr val="BA8C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23" name="Oval 165">
                <a:extLst>
                  <a:ext uri="{FF2B5EF4-FFF2-40B4-BE49-F238E27FC236}">
                    <a16:creationId xmlns:a16="http://schemas.microsoft.com/office/drawing/2014/main" id="{318DB69A-507C-4229-9E4C-16D152F344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52" y="1932"/>
                <a:ext cx="104" cy="10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25" name="Oval 166">
                <a:extLst>
                  <a:ext uri="{FF2B5EF4-FFF2-40B4-BE49-F238E27FC236}">
                    <a16:creationId xmlns:a16="http://schemas.microsoft.com/office/drawing/2014/main" id="{DFD4E193-6C65-4EBA-9CA7-D90166CFCF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5" y="1934"/>
                <a:ext cx="94" cy="97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27" name="Freeform 167">
                <a:extLst>
                  <a:ext uri="{FF2B5EF4-FFF2-40B4-BE49-F238E27FC236}">
                    <a16:creationId xmlns:a16="http://schemas.microsoft.com/office/drawing/2014/main" id="{0D07A717-5575-4E06-A540-BA4CA03EFB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3" y="1180"/>
                <a:ext cx="1368" cy="1724"/>
              </a:xfrm>
              <a:custGeom>
                <a:avLst/>
                <a:gdLst>
                  <a:gd name="T0" fmla="*/ 537 w 580"/>
                  <a:gd name="T1" fmla="*/ 486 h 731"/>
                  <a:gd name="T2" fmla="*/ 417 w 580"/>
                  <a:gd name="T3" fmla="*/ 477 h 731"/>
                  <a:gd name="T4" fmla="*/ 383 w 580"/>
                  <a:gd name="T5" fmla="*/ 490 h 731"/>
                  <a:gd name="T6" fmla="*/ 357 w 580"/>
                  <a:gd name="T7" fmla="*/ 479 h 731"/>
                  <a:gd name="T8" fmla="*/ 237 w 580"/>
                  <a:gd name="T9" fmla="*/ 479 h 731"/>
                  <a:gd name="T10" fmla="*/ 182 w 580"/>
                  <a:gd name="T11" fmla="*/ 508 h 731"/>
                  <a:gd name="T12" fmla="*/ 94 w 580"/>
                  <a:gd name="T13" fmla="*/ 419 h 731"/>
                  <a:gd name="T14" fmla="*/ 101 w 580"/>
                  <a:gd name="T15" fmla="*/ 292 h 731"/>
                  <a:gd name="T16" fmla="*/ 128 w 580"/>
                  <a:gd name="T17" fmla="*/ 252 h 731"/>
                  <a:gd name="T18" fmla="*/ 139 w 580"/>
                  <a:gd name="T19" fmla="*/ 247 h 731"/>
                  <a:gd name="T20" fmla="*/ 166 w 580"/>
                  <a:gd name="T21" fmla="*/ 205 h 731"/>
                  <a:gd name="T22" fmla="*/ 166 w 580"/>
                  <a:gd name="T23" fmla="*/ 180 h 731"/>
                  <a:gd name="T24" fmla="*/ 224 w 580"/>
                  <a:gd name="T25" fmla="*/ 128 h 731"/>
                  <a:gd name="T26" fmla="*/ 303 w 580"/>
                  <a:gd name="T27" fmla="*/ 137 h 731"/>
                  <a:gd name="T28" fmla="*/ 416 w 580"/>
                  <a:gd name="T29" fmla="*/ 182 h 731"/>
                  <a:gd name="T30" fmla="*/ 475 w 580"/>
                  <a:gd name="T31" fmla="*/ 226 h 731"/>
                  <a:gd name="T32" fmla="*/ 469 w 580"/>
                  <a:gd name="T33" fmla="*/ 143 h 731"/>
                  <a:gd name="T34" fmla="*/ 540 w 580"/>
                  <a:gd name="T35" fmla="*/ 193 h 731"/>
                  <a:gd name="T36" fmla="*/ 513 w 580"/>
                  <a:gd name="T37" fmla="*/ 105 h 731"/>
                  <a:gd name="T38" fmla="*/ 556 w 580"/>
                  <a:gd name="T39" fmla="*/ 116 h 731"/>
                  <a:gd name="T40" fmla="*/ 290 w 580"/>
                  <a:gd name="T41" fmla="*/ 0 h 731"/>
                  <a:gd name="T42" fmla="*/ 13 w 580"/>
                  <a:gd name="T43" fmla="*/ 223 h 731"/>
                  <a:gd name="T44" fmla="*/ 0 w 580"/>
                  <a:gd name="T45" fmla="*/ 258 h 731"/>
                  <a:gd name="T46" fmla="*/ 50 w 580"/>
                  <a:gd name="T47" fmla="*/ 307 h 731"/>
                  <a:gd name="T48" fmla="*/ 50 w 580"/>
                  <a:gd name="T49" fmla="*/ 434 h 731"/>
                  <a:gd name="T50" fmla="*/ 21 w 580"/>
                  <a:gd name="T51" fmla="*/ 434 h 731"/>
                  <a:gd name="T52" fmla="*/ 14 w 580"/>
                  <a:gd name="T53" fmla="*/ 433 h 731"/>
                  <a:gd name="T54" fmla="*/ 57 w 580"/>
                  <a:gd name="T55" fmla="*/ 572 h 731"/>
                  <a:gd name="T56" fmla="*/ 57 w 580"/>
                  <a:gd name="T57" fmla="*/ 572 h 731"/>
                  <a:gd name="T58" fmla="*/ 305 w 580"/>
                  <a:gd name="T59" fmla="*/ 731 h 731"/>
                  <a:gd name="T60" fmla="*/ 377 w 580"/>
                  <a:gd name="T61" fmla="*/ 731 h 731"/>
                  <a:gd name="T62" fmla="*/ 580 w 580"/>
                  <a:gd name="T63" fmla="*/ 528 h 731"/>
                  <a:gd name="T64" fmla="*/ 580 w 580"/>
                  <a:gd name="T65" fmla="*/ 506 h 731"/>
                  <a:gd name="T66" fmla="*/ 557 w 580"/>
                  <a:gd name="T67" fmla="*/ 493 h 731"/>
                  <a:gd name="T68" fmla="*/ 537 w 580"/>
                  <a:gd name="T69" fmla="*/ 486 h 7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80" h="731">
                    <a:moveTo>
                      <a:pt x="537" y="486"/>
                    </a:moveTo>
                    <a:cubicBezTo>
                      <a:pt x="500" y="466"/>
                      <a:pt x="456" y="462"/>
                      <a:pt x="417" y="477"/>
                    </a:cubicBezTo>
                    <a:cubicBezTo>
                      <a:pt x="383" y="490"/>
                      <a:pt x="383" y="490"/>
                      <a:pt x="383" y="490"/>
                    </a:cubicBezTo>
                    <a:cubicBezTo>
                      <a:pt x="357" y="479"/>
                      <a:pt x="357" y="479"/>
                      <a:pt x="357" y="479"/>
                    </a:cubicBezTo>
                    <a:cubicBezTo>
                      <a:pt x="319" y="461"/>
                      <a:pt x="275" y="461"/>
                      <a:pt x="237" y="479"/>
                    </a:cubicBezTo>
                    <a:cubicBezTo>
                      <a:pt x="182" y="508"/>
                      <a:pt x="182" y="508"/>
                      <a:pt x="182" y="508"/>
                    </a:cubicBezTo>
                    <a:cubicBezTo>
                      <a:pt x="182" y="508"/>
                      <a:pt x="94" y="505"/>
                      <a:pt x="94" y="419"/>
                    </a:cubicBezTo>
                    <a:cubicBezTo>
                      <a:pt x="101" y="292"/>
                      <a:pt x="101" y="292"/>
                      <a:pt x="101" y="292"/>
                    </a:cubicBezTo>
                    <a:cubicBezTo>
                      <a:pt x="102" y="275"/>
                      <a:pt x="113" y="260"/>
                      <a:pt x="128" y="252"/>
                    </a:cubicBezTo>
                    <a:cubicBezTo>
                      <a:pt x="139" y="247"/>
                      <a:pt x="139" y="247"/>
                      <a:pt x="139" y="247"/>
                    </a:cubicBezTo>
                    <a:cubicBezTo>
                      <a:pt x="155" y="240"/>
                      <a:pt x="166" y="223"/>
                      <a:pt x="166" y="205"/>
                    </a:cubicBezTo>
                    <a:cubicBezTo>
                      <a:pt x="166" y="180"/>
                      <a:pt x="166" y="180"/>
                      <a:pt x="166" y="180"/>
                    </a:cubicBezTo>
                    <a:cubicBezTo>
                      <a:pt x="166" y="149"/>
                      <a:pt x="193" y="125"/>
                      <a:pt x="224" y="128"/>
                    </a:cubicBezTo>
                    <a:cubicBezTo>
                      <a:pt x="303" y="137"/>
                      <a:pt x="303" y="137"/>
                      <a:pt x="303" y="137"/>
                    </a:cubicBezTo>
                    <a:cubicBezTo>
                      <a:pt x="344" y="141"/>
                      <a:pt x="383" y="157"/>
                      <a:pt x="416" y="182"/>
                    </a:cubicBezTo>
                    <a:cubicBezTo>
                      <a:pt x="475" y="226"/>
                      <a:pt x="475" y="226"/>
                      <a:pt x="475" y="226"/>
                    </a:cubicBezTo>
                    <a:cubicBezTo>
                      <a:pt x="469" y="143"/>
                      <a:pt x="469" y="143"/>
                      <a:pt x="469" y="143"/>
                    </a:cubicBezTo>
                    <a:cubicBezTo>
                      <a:pt x="540" y="193"/>
                      <a:pt x="540" y="193"/>
                      <a:pt x="540" y="193"/>
                    </a:cubicBezTo>
                    <a:cubicBezTo>
                      <a:pt x="513" y="105"/>
                      <a:pt x="513" y="105"/>
                      <a:pt x="513" y="105"/>
                    </a:cubicBezTo>
                    <a:cubicBezTo>
                      <a:pt x="556" y="116"/>
                      <a:pt x="556" y="116"/>
                      <a:pt x="556" y="116"/>
                    </a:cubicBezTo>
                    <a:cubicBezTo>
                      <a:pt x="556" y="116"/>
                      <a:pt x="508" y="0"/>
                      <a:pt x="290" y="0"/>
                    </a:cubicBezTo>
                    <a:cubicBezTo>
                      <a:pt x="72" y="0"/>
                      <a:pt x="13" y="148"/>
                      <a:pt x="13" y="223"/>
                    </a:cubicBezTo>
                    <a:cubicBezTo>
                      <a:pt x="13" y="233"/>
                      <a:pt x="0" y="245"/>
                      <a:pt x="0" y="258"/>
                    </a:cubicBezTo>
                    <a:cubicBezTo>
                      <a:pt x="27" y="258"/>
                      <a:pt x="50" y="280"/>
                      <a:pt x="50" y="307"/>
                    </a:cubicBezTo>
                    <a:cubicBezTo>
                      <a:pt x="50" y="434"/>
                      <a:pt x="50" y="434"/>
                      <a:pt x="50" y="434"/>
                    </a:cubicBezTo>
                    <a:cubicBezTo>
                      <a:pt x="21" y="434"/>
                      <a:pt x="21" y="434"/>
                      <a:pt x="21" y="434"/>
                    </a:cubicBezTo>
                    <a:cubicBezTo>
                      <a:pt x="19" y="434"/>
                      <a:pt x="16" y="433"/>
                      <a:pt x="14" y="433"/>
                    </a:cubicBezTo>
                    <a:cubicBezTo>
                      <a:pt x="22" y="483"/>
                      <a:pt x="35" y="532"/>
                      <a:pt x="57" y="572"/>
                    </a:cubicBezTo>
                    <a:cubicBezTo>
                      <a:pt x="57" y="572"/>
                      <a:pt x="57" y="572"/>
                      <a:pt x="57" y="572"/>
                    </a:cubicBezTo>
                    <a:cubicBezTo>
                      <a:pt x="102" y="669"/>
                      <a:pt x="198" y="731"/>
                      <a:pt x="305" y="731"/>
                    </a:cubicBezTo>
                    <a:cubicBezTo>
                      <a:pt x="377" y="731"/>
                      <a:pt x="377" y="731"/>
                      <a:pt x="377" y="731"/>
                    </a:cubicBezTo>
                    <a:cubicBezTo>
                      <a:pt x="489" y="731"/>
                      <a:pt x="580" y="640"/>
                      <a:pt x="580" y="528"/>
                    </a:cubicBezTo>
                    <a:cubicBezTo>
                      <a:pt x="580" y="506"/>
                      <a:pt x="580" y="506"/>
                      <a:pt x="580" y="506"/>
                    </a:cubicBezTo>
                    <a:cubicBezTo>
                      <a:pt x="557" y="493"/>
                      <a:pt x="557" y="493"/>
                      <a:pt x="557" y="493"/>
                    </a:cubicBezTo>
                    <a:lnTo>
                      <a:pt x="537" y="48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29" name="Freeform 168">
                <a:extLst>
                  <a:ext uri="{FF2B5EF4-FFF2-40B4-BE49-F238E27FC236}">
                    <a16:creationId xmlns:a16="http://schemas.microsoft.com/office/drawing/2014/main" id="{94958CA7-8712-42B8-B712-D8C09B227D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9" y="2380"/>
                <a:ext cx="479" cy="132"/>
              </a:xfrm>
              <a:custGeom>
                <a:avLst/>
                <a:gdLst>
                  <a:gd name="T0" fmla="*/ 0 w 203"/>
                  <a:gd name="T1" fmla="*/ 0 h 56"/>
                  <a:gd name="T2" fmla="*/ 203 w 203"/>
                  <a:gd name="T3" fmla="*/ 0 h 56"/>
                  <a:gd name="T4" fmla="*/ 115 w 203"/>
                  <a:gd name="T5" fmla="*/ 56 h 56"/>
                  <a:gd name="T6" fmla="*/ 0 w 203"/>
                  <a:gd name="T7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3" h="56">
                    <a:moveTo>
                      <a:pt x="0" y="0"/>
                    </a:moveTo>
                    <a:cubicBezTo>
                      <a:pt x="203" y="0"/>
                      <a:pt x="203" y="0"/>
                      <a:pt x="203" y="0"/>
                    </a:cubicBezTo>
                    <a:cubicBezTo>
                      <a:pt x="203" y="0"/>
                      <a:pt x="180" y="56"/>
                      <a:pt x="115" y="56"/>
                    </a:cubicBezTo>
                    <a:cubicBezTo>
                      <a:pt x="49" y="56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33" name="Freeform 169">
                <a:extLst>
                  <a:ext uri="{FF2B5EF4-FFF2-40B4-BE49-F238E27FC236}">
                    <a16:creationId xmlns:a16="http://schemas.microsoft.com/office/drawing/2014/main" id="{85333875-2E2C-4BD7-A3A5-8D4DE8FF8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7" y="1899"/>
                <a:ext cx="149" cy="252"/>
              </a:xfrm>
              <a:custGeom>
                <a:avLst/>
                <a:gdLst>
                  <a:gd name="T0" fmla="*/ 149 w 149"/>
                  <a:gd name="T1" fmla="*/ 252 h 252"/>
                  <a:gd name="T2" fmla="*/ 24 w 149"/>
                  <a:gd name="T3" fmla="*/ 0 h 252"/>
                  <a:gd name="T4" fmla="*/ 0 w 149"/>
                  <a:gd name="T5" fmla="*/ 212 h 252"/>
                  <a:gd name="T6" fmla="*/ 149 w 149"/>
                  <a:gd name="T7" fmla="*/ 252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9" h="252">
                    <a:moveTo>
                      <a:pt x="149" y="252"/>
                    </a:moveTo>
                    <a:lnTo>
                      <a:pt x="24" y="0"/>
                    </a:lnTo>
                    <a:lnTo>
                      <a:pt x="0" y="212"/>
                    </a:lnTo>
                    <a:lnTo>
                      <a:pt x="149" y="252"/>
                    </a:lnTo>
                    <a:close/>
                  </a:path>
                </a:pathLst>
              </a:custGeom>
              <a:solidFill>
                <a:srgbClr val="CE9C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34" name="Freeform 170">
                <a:extLst>
                  <a:ext uri="{FF2B5EF4-FFF2-40B4-BE49-F238E27FC236}">
                    <a16:creationId xmlns:a16="http://schemas.microsoft.com/office/drawing/2014/main" id="{CC74F69D-36DA-4150-87F6-B485F9BEE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25" y="1769"/>
                <a:ext cx="1255" cy="366"/>
              </a:xfrm>
              <a:custGeom>
                <a:avLst/>
                <a:gdLst>
                  <a:gd name="T0" fmla="*/ 495 w 532"/>
                  <a:gd name="T1" fmla="*/ 26 h 155"/>
                  <a:gd name="T2" fmla="*/ 395 w 532"/>
                  <a:gd name="T3" fmla="*/ 26 h 155"/>
                  <a:gd name="T4" fmla="*/ 279 w 532"/>
                  <a:gd name="T5" fmla="*/ 19 h 155"/>
                  <a:gd name="T6" fmla="*/ 265 w 532"/>
                  <a:gd name="T7" fmla="*/ 26 h 155"/>
                  <a:gd name="T8" fmla="*/ 168 w 532"/>
                  <a:gd name="T9" fmla="*/ 26 h 155"/>
                  <a:gd name="T10" fmla="*/ 154 w 532"/>
                  <a:gd name="T11" fmla="*/ 26 h 155"/>
                  <a:gd name="T12" fmla="*/ 0 w 532"/>
                  <a:gd name="T13" fmla="*/ 26 h 155"/>
                  <a:gd name="T14" fmla="*/ 1 w 532"/>
                  <a:gd name="T15" fmla="*/ 28 h 155"/>
                  <a:gd name="T16" fmla="*/ 9 w 532"/>
                  <a:gd name="T17" fmla="*/ 47 h 155"/>
                  <a:gd name="T18" fmla="*/ 9 w 532"/>
                  <a:gd name="T19" fmla="*/ 47 h 155"/>
                  <a:gd name="T20" fmla="*/ 122 w 532"/>
                  <a:gd name="T21" fmla="*/ 47 h 155"/>
                  <a:gd name="T22" fmla="*/ 117 w 532"/>
                  <a:gd name="T23" fmla="*/ 63 h 155"/>
                  <a:gd name="T24" fmla="*/ 117 w 532"/>
                  <a:gd name="T25" fmla="*/ 106 h 155"/>
                  <a:gd name="T26" fmla="*/ 166 w 532"/>
                  <a:gd name="T27" fmla="*/ 155 h 155"/>
                  <a:gd name="T28" fmla="*/ 245 w 532"/>
                  <a:gd name="T29" fmla="*/ 155 h 155"/>
                  <a:gd name="T30" fmla="*/ 293 w 532"/>
                  <a:gd name="T31" fmla="*/ 106 h 155"/>
                  <a:gd name="T32" fmla="*/ 293 w 532"/>
                  <a:gd name="T33" fmla="*/ 35 h 155"/>
                  <a:gd name="T34" fmla="*/ 372 w 532"/>
                  <a:gd name="T35" fmla="*/ 37 h 155"/>
                  <a:gd name="T36" fmla="*/ 372 w 532"/>
                  <a:gd name="T37" fmla="*/ 39 h 155"/>
                  <a:gd name="T38" fmla="*/ 385 w 532"/>
                  <a:gd name="T39" fmla="*/ 91 h 155"/>
                  <a:gd name="T40" fmla="*/ 393 w 532"/>
                  <a:gd name="T41" fmla="*/ 108 h 155"/>
                  <a:gd name="T42" fmla="*/ 393 w 532"/>
                  <a:gd name="T43" fmla="*/ 106 h 155"/>
                  <a:gd name="T44" fmla="*/ 393 w 532"/>
                  <a:gd name="T45" fmla="*/ 47 h 155"/>
                  <a:gd name="T46" fmla="*/ 495 w 532"/>
                  <a:gd name="T47" fmla="*/ 47 h 155"/>
                  <a:gd name="T48" fmla="*/ 512 w 532"/>
                  <a:gd name="T49" fmla="*/ 63 h 155"/>
                  <a:gd name="T50" fmla="*/ 512 w 532"/>
                  <a:gd name="T51" fmla="*/ 106 h 155"/>
                  <a:gd name="T52" fmla="*/ 484 w 532"/>
                  <a:gd name="T53" fmla="*/ 135 h 155"/>
                  <a:gd name="T54" fmla="*/ 421 w 532"/>
                  <a:gd name="T55" fmla="*/ 135 h 155"/>
                  <a:gd name="T56" fmla="*/ 403 w 532"/>
                  <a:gd name="T57" fmla="*/ 128 h 155"/>
                  <a:gd name="T58" fmla="*/ 416 w 532"/>
                  <a:gd name="T59" fmla="*/ 154 h 155"/>
                  <a:gd name="T60" fmla="*/ 417 w 532"/>
                  <a:gd name="T61" fmla="*/ 155 h 155"/>
                  <a:gd name="T62" fmla="*/ 484 w 532"/>
                  <a:gd name="T63" fmla="*/ 155 h 155"/>
                  <a:gd name="T64" fmla="*/ 532 w 532"/>
                  <a:gd name="T65" fmla="*/ 106 h 155"/>
                  <a:gd name="T66" fmla="*/ 532 w 532"/>
                  <a:gd name="T67" fmla="*/ 63 h 155"/>
                  <a:gd name="T68" fmla="*/ 495 w 532"/>
                  <a:gd name="T69" fmla="*/ 26 h 155"/>
                  <a:gd name="T70" fmla="*/ 273 w 532"/>
                  <a:gd name="T71" fmla="*/ 106 h 155"/>
                  <a:gd name="T72" fmla="*/ 245 w 532"/>
                  <a:gd name="T73" fmla="*/ 135 h 155"/>
                  <a:gd name="T74" fmla="*/ 166 w 532"/>
                  <a:gd name="T75" fmla="*/ 135 h 155"/>
                  <a:gd name="T76" fmla="*/ 138 w 532"/>
                  <a:gd name="T77" fmla="*/ 106 h 155"/>
                  <a:gd name="T78" fmla="*/ 138 w 532"/>
                  <a:gd name="T79" fmla="*/ 63 h 155"/>
                  <a:gd name="T80" fmla="*/ 154 w 532"/>
                  <a:gd name="T81" fmla="*/ 47 h 155"/>
                  <a:gd name="T82" fmla="*/ 168 w 532"/>
                  <a:gd name="T83" fmla="*/ 47 h 155"/>
                  <a:gd name="T84" fmla="*/ 273 w 532"/>
                  <a:gd name="T85" fmla="*/ 47 h 155"/>
                  <a:gd name="T86" fmla="*/ 273 w 532"/>
                  <a:gd name="T87" fmla="*/ 106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32" h="155">
                    <a:moveTo>
                      <a:pt x="495" y="26"/>
                    </a:moveTo>
                    <a:cubicBezTo>
                      <a:pt x="395" y="26"/>
                      <a:pt x="395" y="26"/>
                      <a:pt x="395" y="26"/>
                    </a:cubicBezTo>
                    <a:cubicBezTo>
                      <a:pt x="361" y="3"/>
                      <a:pt x="317" y="0"/>
                      <a:pt x="279" y="19"/>
                    </a:cubicBezTo>
                    <a:cubicBezTo>
                      <a:pt x="265" y="26"/>
                      <a:pt x="265" y="26"/>
                      <a:pt x="265" y="26"/>
                    </a:cubicBezTo>
                    <a:cubicBezTo>
                      <a:pt x="168" y="26"/>
                      <a:pt x="168" y="26"/>
                      <a:pt x="168" y="26"/>
                    </a:cubicBezTo>
                    <a:cubicBezTo>
                      <a:pt x="154" y="26"/>
                      <a:pt x="154" y="26"/>
                      <a:pt x="154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5" y="33"/>
                      <a:pt x="8" y="40"/>
                      <a:pt x="9" y="47"/>
                    </a:cubicBezTo>
                    <a:cubicBezTo>
                      <a:pt x="9" y="47"/>
                      <a:pt x="9" y="47"/>
                      <a:pt x="9" y="47"/>
                    </a:cubicBezTo>
                    <a:cubicBezTo>
                      <a:pt x="122" y="47"/>
                      <a:pt x="122" y="47"/>
                      <a:pt x="122" y="47"/>
                    </a:cubicBezTo>
                    <a:cubicBezTo>
                      <a:pt x="119" y="52"/>
                      <a:pt x="117" y="57"/>
                      <a:pt x="117" y="63"/>
                    </a:cubicBezTo>
                    <a:cubicBezTo>
                      <a:pt x="117" y="106"/>
                      <a:pt x="117" y="106"/>
                      <a:pt x="117" y="106"/>
                    </a:cubicBezTo>
                    <a:cubicBezTo>
                      <a:pt x="117" y="133"/>
                      <a:pt x="139" y="155"/>
                      <a:pt x="166" y="155"/>
                    </a:cubicBezTo>
                    <a:cubicBezTo>
                      <a:pt x="245" y="155"/>
                      <a:pt x="245" y="155"/>
                      <a:pt x="245" y="155"/>
                    </a:cubicBezTo>
                    <a:cubicBezTo>
                      <a:pt x="271" y="155"/>
                      <a:pt x="293" y="133"/>
                      <a:pt x="293" y="106"/>
                    </a:cubicBezTo>
                    <a:cubicBezTo>
                      <a:pt x="293" y="35"/>
                      <a:pt x="293" y="35"/>
                      <a:pt x="293" y="35"/>
                    </a:cubicBezTo>
                    <a:cubicBezTo>
                      <a:pt x="319" y="24"/>
                      <a:pt x="348" y="25"/>
                      <a:pt x="372" y="37"/>
                    </a:cubicBezTo>
                    <a:cubicBezTo>
                      <a:pt x="372" y="39"/>
                      <a:pt x="372" y="39"/>
                      <a:pt x="372" y="39"/>
                    </a:cubicBezTo>
                    <a:cubicBezTo>
                      <a:pt x="372" y="57"/>
                      <a:pt x="377" y="75"/>
                      <a:pt x="385" y="91"/>
                    </a:cubicBezTo>
                    <a:cubicBezTo>
                      <a:pt x="393" y="108"/>
                      <a:pt x="393" y="108"/>
                      <a:pt x="393" y="108"/>
                    </a:cubicBezTo>
                    <a:cubicBezTo>
                      <a:pt x="393" y="107"/>
                      <a:pt x="393" y="107"/>
                      <a:pt x="393" y="106"/>
                    </a:cubicBezTo>
                    <a:cubicBezTo>
                      <a:pt x="393" y="47"/>
                      <a:pt x="393" y="47"/>
                      <a:pt x="393" y="47"/>
                    </a:cubicBezTo>
                    <a:cubicBezTo>
                      <a:pt x="495" y="47"/>
                      <a:pt x="495" y="47"/>
                      <a:pt x="495" y="47"/>
                    </a:cubicBezTo>
                    <a:cubicBezTo>
                      <a:pt x="505" y="47"/>
                      <a:pt x="512" y="54"/>
                      <a:pt x="512" y="63"/>
                    </a:cubicBezTo>
                    <a:cubicBezTo>
                      <a:pt x="512" y="106"/>
                      <a:pt x="512" y="106"/>
                      <a:pt x="512" y="106"/>
                    </a:cubicBezTo>
                    <a:cubicBezTo>
                      <a:pt x="512" y="122"/>
                      <a:pt x="499" y="135"/>
                      <a:pt x="484" y="135"/>
                    </a:cubicBezTo>
                    <a:cubicBezTo>
                      <a:pt x="421" y="135"/>
                      <a:pt x="421" y="135"/>
                      <a:pt x="421" y="135"/>
                    </a:cubicBezTo>
                    <a:cubicBezTo>
                      <a:pt x="414" y="135"/>
                      <a:pt x="408" y="132"/>
                      <a:pt x="403" y="128"/>
                    </a:cubicBezTo>
                    <a:cubicBezTo>
                      <a:pt x="416" y="154"/>
                      <a:pt x="416" y="154"/>
                      <a:pt x="416" y="154"/>
                    </a:cubicBezTo>
                    <a:cubicBezTo>
                      <a:pt x="416" y="155"/>
                      <a:pt x="417" y="155"/>
                      <a:pt x="417" y="155"/>
                    </a:cubicBezTo>
                    <a:cubicBezTo>
                      <a:pt x="484" y="155"/>
                      <a:pt x="484" y="155"/>
                      <a:pt x="484" y="155"/>
                    </a:cubicBezTo>
                    <a:cubicBezTo>
                      <a:pt x="511" y="155"/>
                      <a:pt x="532" y="133"/>
                      <a:pt x="532" y="106"/>
                    </a:cubicBezTo>
                    <a:cubicBezTo>
                      <a:pt x="532" y="63"/>
                      <a:pt x="532" y="63"/>
                      <a:pt x="532" y="63"/>
                    </a:cubicBezTo>
                    <a:cubicBezTo>
                      <a:pt x="532" y="43"/>
                      <a:pt x="516" y="26"/>
                      <a:pt x="495" y="26"/>
                    </a:cubicBezTo>
                    <a:close/>
                    <a:moveTo>
                      <a:pt x="273" y="106"/>
                    </a:moveTo>
                    <a:cubicBezTo>
                      <a:pt x="273" y="122"/>
                      <a:pt x="260" y="135"/>
                      <a:pt x="245" y="135"/>
                    </a:cubicBezTo>
                    <a:cubicBezTo>
                      <a:pt x="166" y="135"/>
                      <a:pt x="166" y="135"/>
                      <a:pt x="166" y="135"/>
                    </a:cubicBezTo>
                    <a:cubicBezTo>
                      <a:pt x="150" y="135"/>
                      <a:pt x="138" y="122"/>
                      <a:pt x="138" y="106"/>
                    </a:cubicBezTo>
                    <a:cubicBezTo>
                      <a:pt x="138" y="63"/>
                      <a:pt x="138" y="63"/>
                      <a:pt x="138" y="63"/>
                    </a:cubicBezTo>
                    <a:cubicBezTo>
                      <a:pt x="138" y="54"/>
                      <a:pt x="145" y="47"/>
                      <a:pt x="154" y="47"/>
                    </a:cubicBezTo>
                    <a:cubicBezTo>
                      <a:pt x="168" y="47"/>
                      <a:pt x="168" y="47"/>
                      <a:pt x="168" y="47"/>
                    </a:cubicBezTo>
                    <a:cubicBezTo>
                      <a:pt x="273" y="47"/>
                      <a:pt x="273" y="47"/>
                      <a:pt x="273" y="47"/>
                    </a:cubicBezTo>
                    <a:lnTo>
                      <a:pt x="273" y="106"/>
                    </a:lnTo>
                    <a:close/>
                  </a:path>
                </a:pathLst>
              </a:custGeom>
              <a:solidFill>
                <a:srgbClr val="73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35" name="Freeform 171">
                <a:extLst>
                  <a:ext uri="{FF2B5EF4-FFF2-40B4-BE49-F238E27FC236}">
                    <a16:creationId xmlns:a16="http://schemas.microsoft.com/office/drawing/2014/main" id="{980A0AFB-7047-4DB3-8CFB-65E5A09BB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3" y="1830"/>
                <a:ext cx="173" cy="48"/>
              </a:xfrm>
              <a:custGeom>
                <a:avLst/>
                <a:gdLst>
                  <a:gd name="T0" fmla="*/ 63 w 73"/>
                  <a:gd name="T1" fmla="*/ 0 h 20"/>
                  <a:gd name="T2" fmla="*/ 0 w 73"/>
                  <a:gd name="T3" fmla="*/ 0 h 20"/>
                  <a:gd name="T4" fmla="*/ 0 w 73"/>
                  <a:gd name="T5" fmla="*/ 20 h 20"/>
                  <a:gd name="T6" fmla="*/ 63 w 73"/>
                  <a:gd name="T7" fmla="*/ 20 h 20"/>
                  <a:gd name="T8" fmla="*/ 73 w 73"/>
                  <a:gd name="T9" fmla="*/ 10 h 20"/>
                  <a:gd name="T10" fmla="*/ 73 w 73"/>
                  <a:gd name="T11" fmla="*/ 10 h 20"/>
                  <a:gd name="T12" fmla="*/ 63 w 73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20">
                    <a:moveTo>
                      <a:pt x="6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63" y="20"/>
                      <a:pt x="63" y="20"/>
                      <a:pt x="63" y="20"/>
                    </a:cubicBezTo>
                    <a:cubicBezTo>
                      <a:pt x="69" y="20"/>
                      <a:pt x="73" y="16"/>
                      <a:pt x="73" y="10"/>
                    </a:cubicBezTo>
                    <a:cubicBezTo>
                      <a:pt x="73" y="10"/>
                      <a:pt x="73" y="10"/>
                      <a:pt x="73" y="10"/>
                    </a:cubicBezTo>
                    <a:cubicBezTo>
                      <a:pt x="73" y="5"/>
                      <a:pt x="69" y="0"/>
                      <a:pt x="63" y="0"/>
                    </a:cubicBezTo>
                    <a:close/>
                  </a:path>
                </a:pathLst>
              </a:custGeom>
              <a:solidFill>
                <a:srgbClr val="73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36" name="Freeform 172">
                <a:extLst>
                  <a:ext uri="{FF2B5EF4-FFF2-40B4-BE49-F238E27FC236}">
                    <a16:creationId xmlns:a16="http://schemas.microsoft.com/office/drawing/2014/main" id="{7D8EE7D1-81E8-4F36-8FF3-801218903A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3" y="1137"/>
                <a:ext cx="1383" cy="698"/>
              </a:xfrm>
              <a:custGeom>
                <a:avLst/>
                <a:gdLst>
                  <a:gd name="T0" fmla="*/ 290 w 586"/>
                  <a:gd name="T1" fmla="*/ 0 h 296"/>
                  <a:gd name="T2" fmla="*/ 0 w 586"/>
                  <a:gd name="T3" fmla="*/ 241 h 296"/>
                  <a:gd name="T4" fmla="*/ 0 w 586"/>
                  <a:gd name="T5" fmla="*/ 276 h 296"/>
                  <a:gd name="T6" fmla="*/ 40 w 586"/>
                  <a:gd name="T7" fmla="*/ 296 h 296"/>
                  <a:gd name="T8" fmla="*/ 40 w 586"/>
                  <a:gd name="T9" fmla="*/ 222 h 296"/>
                  <a:gd name="T10" fmla="*/ 284 w 586"/>
                  <a:gd name="T11" fmla="*/ 46 h 296"/>
                  <a:gd name="T12" fmla="*/ 537 w 586"/>
                  <a:gd name="T13" fmla="*/ 209 h 296"/>
                  <a:gd name="T14" fmla="*/ 540 w 586"/>
                  <a:gd name="T15" fmla="*/ 211 h 296"/>
                  <a:gd name="T16" fmla="*/ 528 w 586"/>
                  <a:gd name="T17" fmla="*/ 137 h 296"/>
                  <a:gd name="T18" fmla="*/ 586 w 586"/>
                  <a:gd name="T19" fmla="*/ 154 h 296"/>
                  <a:gd name="T20" fmla="*/ 290 w 586"/>
                  <a:gd name="T21" fmla="*/ 0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6" h="296">
                    <a:moveTo>
                      <a:pt x="290" y="0"/>
                    </a:moveTo>
                    <a:cubicBezTo>
                      <a:pt x="72" y="0"/>
                      <a:pt x="0" y="166"/>
                      <a:pt x="0" y="241"/>
                    </a:cubicBezTo>
                    <a:cubicBezTo>
                      <a:pt x="0" y="251"/>
                      <a:pt x="0" y="263"/>
                      <a:pt x="0" y="276"/>
                    </a:cubicBezTo>
                    <a:cubicBezTo>
                      <a:pt x="17" y="276"/>
                      <a:pt x="31" y="284"/>
                      <a:pt x="40" y="296"/>
                    </a:cubicBezTo>
                    <a:cubicBezTo>
                      <a:pt x="40" y="275"/>
                      <a:pt x="40" y="246"/>
                      <a:pt x="40" y="222"/>
                    </a:cubicBezTo>
                    <a:cubicBezTo>
                      <a:pt x="40" y="177"/>
                      <a:pt x="112" y="46"/>
                      <a:pt x="284" y="46"/>
                    </a:cubicBezTo>
                    <a:cubicBezTo>
                      <a:pt x="433" y="46"/>
                      <a:pt x="517" y="175"/>
                      <a:pt x="537" y="209"/>
                    </a:cubicBezTo>
                    <a:cubicBezTo>
                      <a:pt x="540" y="211"/>
                      <a:pt x="540" y="211"/>
                      <a:pt x="540" y="211"/>
                    </a:cubicBezTo>
                    <a:cubicBezTo>
                      <a:pt x="528" y="137"/>
                      <a:pt x="528" y="137"/>
                      <a:pt x="528" y="137"/>
                    </a:cubicBezTo>
                    <a:cubicBezTo>
                      <a:pt x="586" y="154"/>
                      <a:pt x="586" y="154"/>
                      <a:pt x="586" y="154"/>
                    </a:cubicBezTo>
                    <a:cubicBezTo>
                      <a:pt x="586" y="154"/>
                      <a:pt x="508" y="0"/>
                      <a:pt x="290" y="0"/>
                    </a:cubicBezTo>
                    <a:close/>
                  </a:path>
                </a:pathLst>
              </a:cu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37" name="Freeform 173">
                <a:extLst>
                  <a:ext uri="{FF2B5EF4-FFF2-40B4-BE49-F238E27FC236}">
                    <a16:creationId xmlns:a16="http://schemas.microsoft.com/office/drawing/2014/main" id="{0F750D7C-62A7-4C75-BC2D-1C74992601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0" y="2180"/>
                <a:ext cx="1151" cy="287"/>
              </a:xfrm>
              <a:custGeom>
                <a:avLst/>
                <a:gdLst>
                  <a:gd name="T0" fmla="*/ 445 w 488"/>
                  <a:gd name="T1" fmla="*/ 51 h 122"/>
                  <a:gd name="T2" fmla="*/ 325 w 488"/>
                  <a:gd name="T3" fmla="*/ 44 h 122"/>
                  <a:gd name="T4" fmla="*/ 291 w 488"/>
                  <a:gd name="T5" fmla="*/ 58 h 122"/>
                  <a:gd name="T6" fmla="*/ 265 w 488"/>
                  <a:gd name="T7" fmla="*/ 46 h 122"/>
                  <a:gd name="T8" fmla="*/ 145 w 488"/>
                  <a:gd name="T9" fmla="*/ 48 h 122"/>
                  <a:gd name="T10" fmla="*/ 90 w 488"/>
                  <a:gd name="T11" fmla="*/ 75 h 122"/>
                  <a:gd name="T12" fmla="*/ 3 w 488"/>
                  <a:gd name="T13" fmla="*/ 0 h 122"/>
                  <a:gd name="T14" fmla="*/ 1 w 488"/>
                  <a:gd name="T15" fmla="*/ 41 h 122"/>
                  <a:gd name="T16" fmla="*/ 79 w 488"/>
                  <a:gd name="T17" fmla="*/ 122 h 122"/>
                  <a:gd name="T18" fmla="*/ 79 w 488"/>
                  <a:gd name="T19" fmla="*/ 122 h 122"/>
                  <a:gd name="T20" fmla="*/ 164 w 488"/>
                  <a:gd name="T21" fmla="*/ 86 h 122"/>
                  <a:gd name="T22" fmla="*/ 165 w 488"/>
                  <a:gd name="T23" fmla="*/ 85 h 122"/>
                  <a:gd name="T24" fmla="*/ 398 w 488"/>
                  <a:gd name="T25" fmla="*/ 85 h 122"/>
                  <a:gd name="T26" fmla="*/ 424 w 488"/>
                  <a:gd name="T27" fmla="*/ 93 h 122"/>
                  <a:gd name="T28" fmla="*/ 424 w 488"/>
                  <a:gd name="T29" fmla="*/ 93 h 122"/>
                  <a:gd name="T30" fmla="*/ 481 w 488"/>
                  <a:gd name="T31" fmla="*/ 88 h 122"/>
                  <a:gd name="T32" fmla="*/ 488 w 488"/>
                  <a:gd name="T33" fmla="*/ 82 h 122"/>
                  <a:gd name="T34" fmla="*/ 488 w 488"/>
                  <a:gd name="T35" fmla="*/ 15 h 122"/>
                  <a:gd name="T36" fmla="*/ 458 w 488"/>
                  <a:gd name="T37" fmla="*/ 58 h 122"/>
                  <a:gd name="T38" fmla="*/ 445 w 488"/>
                  <a:gd name="T39" fmla="*/ 51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88" h="122">
                    <a:moveTo>
                      <a:pt x="445" y="51"/>
                    </a:moveTo>
                    <a:cubicBezTo>
                      <a:pt x="408" y="31"/>
                      <a:pt x="364" y="29"/>
                      <a:pt x="325" y="44"/>
                    </a:cubicBezTo>
                    <a:cubicBezTo>
                      <a:pt x="291" y="58"/>
                      <a:pt x="291" y="58"/>
                      <a:pt x="291" y="58"/>
                    </a:cubicBezTo>
                    <a:cubicBezTo>
                      <a:pt x="265" y="46"/>
                      <a:pt x="265" y="46"/>
                      <a:pt x="265" y="46"/>
                    </a:cubicBezTo>
                    <a:cubicBezTo>
                      <a:pt x="227" y="29"/>
                      <a:pt x="183" y="30"/>
                      <a:pt x="145" y="48"/>
                    </a:cubicBezTo>
                    <a:cubicBezTo>
                      <a:pt x="90" y="75"/>
                      <a:pt x="90" y="75"/>
                      <a:pt x="90" y="75"/>
                    </a:cubicBezTo>
                    <a:cubicBezTo>
                      <a:pt x="90" y="75"/>
                      <a:pt x="6" y="81"/>
                      <a:pt x="3" y="0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0" y="86"/>
                      <a:pt x="35" y="122"/>
                      <a:pt x="79" y="122"/>
                    </a:cubicBezTo>
                    <a:cubicBezTo>
                      <a:pt x="79" y="122"/>
                      <a:pt x="79" y="122"/>
                      <a:pt x="79" y="122"/>
                    </a:cubicBezTo>
                    <a:cubicBezTo>
                      <a:pt x="111" y="122"/>
                      <a:pt x="142" y="109"/>
                      <a:pt x="164" y="86"/>
                    </a:cubicBezTo>
                    <a:cubicBezTo>
                      <a:pt x="165" y="85"/>
                      <a:pt x="165" y="85"/>
                      <a:pt x="165" y="85"/>
                    </a:cubicBezTo>
                    <a:cubicBezTo>
                      <a:pt x="398" y="85"/>
                      <a:pt x="398" y="85"/>
                      <a:pt x="398" y="85"/>
                    </a:cubicBezTo>
                    <a:cubicBezTo>
                      <a:pt x="407" y="85"/>
                      <a:pt x="416" y="88"/>
                      <a:pt x="424" y="93"/>
                    </a:cubicBezTo>
                    <a:cubicBezTo>
                      <a:pt x="424" y="93"/>
                      <a:pt x="424" y="93"/>
                      <a:pt x="424" y="93"/>
                    </a:cubicBezTo>
                    <a:cubicBezTo>
                      <a:pt x="442" y="104"/>
                      <a:pt x="465" y="102"/>
                      <a:pt x="481" y="88"/>
                    </a:cubicBezTo>
                    <a:cubicBezTo>
                      <a:pt x="488" y="82"/>
                      <a:pt x="488" y="82"/>
                      <a:pt x="488" y="82"/>
                    </a:cubicBezTo>
                    <a:cubicBezTo>
                      <a:pt x="488" y="15"/>
                      <a:pt x="488" y="15"/>
                      <a:pt x="488" y="15"/>
                    </a:cubicBezTo>
                    <a:cubicBezTo>
                      <a:pt x="458" y="58"/>
                      <a:pt x="458" y="58"/>
                      <a:pt x="458" y="58"/>
                    </a:cubicBezTo>
                    <a:lnTo>
                      <a:pt x="445" y="51"/>
                    </a:lnTo>
                    <a:close/>
                  </a:path>
                </a:pathLst>
              </a:cu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38" name="Freeform 174">
                <a:extLst>
                  <a:ext uri="{FF2B5EF4-FFF2-40B4-BE49-F238E27FC236}">
                    <a16:creationId xmlns:a16="http://schemas.microsoft.com/office/drawing/2014/main" id="{C659CDD1-22E6-49F0-BC78-E42C963DEE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7" y="2550"/>
                <a:ext cx="241" cy="111"/>
              </a:xfrm>
              <a:custGeom>
                <a:avLst/>
                <a:gdLst>
                  <a:gd name="T0" fmla="*/ 0 w 102"/>
                  <a:gd name="T1" fmla="*/ 47 h 47"/>
                  <a:gd name="T2" fmla="*/ 102 w 102"/>
                  <a:gd name="T3" fmla="*/ 47 h 47"/>
                  <a:gd name="T4" fmla="*/ 50 w 102"/>
                  <a:gd name="T5" fmla="*/ 0 h 47"/>
                  <a:gd name="T6" fmla="*/ 0 w 102"/>
                  <a:gd name="T7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2" h="47">
                    <a:moveTo>
                      <a:pt x="0" y="47"/>
                    </a:moveTo>
                    <a:cubicBezTo>
                      <a:pt x="102" y="47"/>
                      <a:pt x="102" y="47"/>
                      <a:pt x="102" y="47"/>
                    </a:cubicBezTo>
                    <a:cubicBezTo>
                      <a:pt x="102" y="47"/>
                      <a:pt x="100" y="0"/>
                      <a:pt x="50" y="0"/>
                    </a:cubicBezTo>
                    <a:cubicBezTo>
                      <a:pt x="0" y="0"/>
                      <a:pt x="0" y="47"/>
                      <a:pt x="0" y="47"/>
                    </a:cubicBezTo>
                    <a:close/>
                  </a:path>
                </a:pathLst>
              </a:cu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</p:grpSp>
        <p:grpSp>
          <p:nvGrpSpPr>
            <p:cNvPr id="240" name="Group 595">
              <a:extLst>
                <a:ext uri="{FF2B5EF4-FFF2-40B4-BE49-F238E27FC236}">
                  <a16:creationId xmlns:a16="http://schemas.microsoft.com/office/drawing/2014/main" id="{D62646DF-74E3-482E-A11E-8E91E8C1FB4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875351" y="2938767"/>
              <a:ext cx="412442" cy="412150"/>
              <a:chOff x="2499" y="790"/>
              <a:chExt cx="2832" cy="2830"/>
            </a:xfrm>
          </p:grpSpPr>
          <p:sp>
            <p:nvSpPr>
              <p:cNvPr id="241" name="Oval 596">
                <a:extLst>
                  <a:ext uri="{FF2B5EF4-FFF2-40B4-BE49-F238E27FC236}">
                    <a16:creationId xmlns:a16="http://schemas.microsoft.com/office/drawing/2014/main" id="{1DE255C3-362A-4605-8D28-784D460772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99" y="790"/>
                <a:ext cx="2832" cy="2830"/>
              </a:xfrm>
              <a:prstGeom prst="ellipse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42" name="Freeform 597">
                <a:extLst>
                  <a:ext uri="{FF2B5EF4-FFF2-40B4-BE49-F238E27FC236}">
                    <a16:creationId xmlns:a16="http://schemas.microsoft.com/office/drawing/2014/main" id="{49D4E90F-493F-4B0F-A73C-4D08F86AA2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0" y="2748"/>
                <a:ext cx="838" cy="658"/>
              </a:xfrm>
              <a:custGeom>
                <a:avLst/>
                <a:gdLst>
                  <a:gd name="T0" fmla="*/ 751 w 838"/>
                  <a:gd name="T1" fmla="*/ 42 h 658"/>
                  <a:gd name="T2" fmla="*/ 838 w 838"/>
                  <a:gd name="T3" fmla="*/ 658 h 658"/>
                  <a:gd name="T4" fmla="*/ 0 w 838"/>
                  <a:gd name="T5" fmla="*/ 658 h 658"/>
                  <a:gd name="T6" fmla="*/ 123 w 838"/>
                  <a:gd name="T7" fmla="*/ 42 h 658"/>
                  <a:gd name="T8" fmla="*/ 401 w 838"/>
                  <a:gd name="T9" fmla="*/ 0 h 658"/>
                  <a:gd name="T10" fmla="*/ 751 w 838"/>
                  <a:gd name="T11" fmla="*/ 42 h 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38" h="658">
                    <a:moveTo>
                      <a:pt x="751" y="42"/>
                    </a:moveTo>
                    <a:lnTo>
                      <a:pt x="838" y="658"/>
                    </a:lnTo>
                    <a:lnTo>
                      <a:pt x="0" y="658"/>
                    </a:lnTo>
                    <a:lnTo>
                      <a:pt x="123" y="42"/>
                    </a:lnTo>
                    <a:lnTo>
                      <a:pt x="401" y="0"/>
                    </a:lnTo>
                    <a:lnTo>
                      <a:pt x="751" y="42"/>
                    </a:lnTo>
                    <a:close/>
                  </a:path>
                </a:pathLst>
              </a:custGeom>
              <a:solidFill>
                <a:srgbClr val="CE9C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43" name="Freeform 598">
                <a:extLst>
                  <a:ext uri="{FF2B5EF4-FFF2-40B4-BE49-F238E27FC236}">
                    <a16:creationId xmlns:a16="http://schemas.microsoft.com/office/drawing/2014/main" id="{B63B6B21-9AF8-41CE-82ED-2CEBA33FE1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2062"/>
                <a:ext cx="241" cy="358"/>
              </a:xfrm>
              <a:custGeom>
                <a:avLst/>
                <a:gdLst>
                  <a:gd name="T0" fmla="*/ 102 w 102"/>
                  <a:gd name="T1" fmla="*/ 149 h 152"/>
                  <a:gd name="T2" fmla="*/ 78 w 102"/>
                  <a:gd name="T3" fmla="*/ 150 h 152"/>
                  <a:gd name="T4" fmla="*/ 3 w 102"/>
                  <a:gd name="T5" fmla="*/ 81 h 152"/>
                  <a:gd name="T6" fmla="*/ 1 w 102"/>
                  <a:gd name="T7" fmla="*/ 51 h 152"/>
                  <a:gd name="T8" fmla="*/ 47 w 102"/>
                  <a:gd name="T9" fmla="*/ 1 h 152"/>
                  <a:gd name="T10" fmla="*/ 47 w 102"/>
                  <a:gd name="T11" fmla="*/ 1 h 152"/>
                  <a:gd name="T12" fmla="*/ 97 w 102"/>
                  <a:gd name="T13" fmla="*/ 46 h 152"/>
                  <a:gd name="T14" fmla="*/ 102 w 102"/>
                  <a:gd name="T15" fmla="*/ 149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2" h="152">
                    <a:moveTo>
                      <a:pt x="102" y="149"/>
                    </a:moveTo>
                    <a:cubicBezTo>
                      <a:pt x="78" y="150"/>
                      <a:pt x="78" y="150"/>
                      <a:pt x="78" y="150"/>
                    </a:cubicBezTo>
                    <a:cubicBezTo>
                      <a:pt x="38" y="152"/>
                      <a:pt x="5" y="121"/>
                      <a:pt x="3" y="81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0" y="24"/>
                      <a:pt x="20" y="2"/>
                      <a:pt x="47" y="1"/>
                    </a:cubicBezTo>
                    <a:cubicBezTo>
                      <a:pt x="47" y="1"/>
                      <a:pt x="47" y="1"/>
                      <a:pt x="47" y="1"/>
                    </a:cubicBezTo>
                    <a:cubicBezTo>
                      <a:pt x="73" y="0"/>
                      <a:pt x="95" y="20"/>
                      <a:pt x="97" y="46"/>
                    </a:cubicBezTo>
                    <a:lnTo>
                      <a:pt x="102" y="149"/>
                    </a:lnTo>
                    <a:close/>
                  </a:path>
                </a:pathLst>
              </a:custGeom>
              <a:solidFill>
                <a:srgbClr val="D8B0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44" name="Freeform 599">
                <a:extLst>
                  <a:ext uri="{FF2B5EF4-FFF2-40B4-BE49-F238E27FC236}">
                    <a16:creationId xmlns:a16="http://schemas.microsoft.com/office/drawing/2014/main" id="{AE94D948-5E9C-4EF8-8386-DEEF47B863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8" y="1993"/>
                <a:ext cx="236" cy="363"/>
              </a:xfrm>
              <a:custGeom>
                <a:avLst/>
                <a:gdLst>
                  <a:gd name="T0" fmla="*/ 6 w 100"/>
                  <a:gd name="T1" fmla="*/ 154 h 154"/>
                  <a:gd name="T2" fmla="*/ 29 w 100"/>
                  <a:gd name="T3" fmla="*/ 153 h 154"/>
                  <a:gd name="T4" fmla="*/ 98 w 100"/>
                  <a:gd name="T5" fmla="*/ 77 h 154"/>
                  <a:gd name="T6" fmla="*/ 96 w 100"/>
                  <a:gd name="T7" fmla="*/ 47 h 154"/>
                  <a:gd name="T8" fmla="*/ 46 w 100"/>
                  <a:gd name="T9" fmla="*/ 1 h 154"/>
                  <a:gd name="T10" fmla="*/ 46 w 100"/>
                  <a:gd name="T11" fmla="*/ 1 h 154"/>
                  <a:gd name="T12" fmla="*/ 1 w 100"/>
                  <a:gd name="T13" fmla="*/ 51 h 154"/>
                  <a:gd name="T14" fmla="*/ 6 w 100"/>
                  <a:gd name="T15" fmla="*/ 154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0" h="154">
                    <a:moveTo>
                      <a:pt x="6" y="154"/>
                    </a:moveTo>
                    <a:cubicBezTo>
                      <a:pt x="29" y="153"/>
                      <a:pt x="29" y="153"/>
                      <a:pt x="29" y="153"/>
                    </a:cubicBezTo>
                    <a:cubicBezTo>
                      <a:pt x="69" y="151"/>
                      <a:pt x="100" y="117"/>
                      <a:pt x="98" y="77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5" y="20"/>
                      <a:pt x="73" y="0"/>
                      <a:pt x="46" y="1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20" y="3"/>
                      <a:pt x="0" y="25"/>
                      <a:pt x="1" y="51"/>
                    </a:cubicBezTo>
                    <a:lnTo>
                      <a:pt x="6" y="154"/>
                    </a:lnTo>
                    <a:close/>
                  </a:path>
                </a:pathLst>
              </a:custGeom>
              <a:solidFill>
                <a:srgbClr val="CE9C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45" name="Freeform 600">
                <a:extLst>
                  <a:ext uri="{FF2B5EF4-FFF2-40B4-BE49-F238E27FC236}">
                    <a16:creationId xmlns:a16="http://schemas.microsoft.com/office/drawing/2014/main" id="{09791E41-ABDA-4BFB-AE5F-4F5FF921E2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6" y="1257"/>
                <a:ext cx="1326" cy="1632"/>
              </a:xfrm>
              <a:custGeom>
                <a:avLst/>
                <a:gdLst>
                  <a:gd name="T0" fmla="*/ 297 w 562"/>
                  <a:gd name="T1" fmla="*/ 685 h 692"/>
                  <a:gd name="T2" fmla="*/ 297 w 562"/>
                  <a:gd name="T3" fmla="*/ 685 h 692"/>
                  <a:gd name="T4" fmla="*/ 14 w 562"/>
                  <a:gd name="T5" fmla="*/ 427 h 692"/>
                  <a:gd name="T6" fmla="*/ 7 w 562"/>
                  <a:gd name="T7" fmla="*/ 290 h 692"/>
                  <a:gd name="T8" fmla="*/ 265 w 562"/>
                  <a:gd name="T9" fmla="*/ 7 h 692"/>
                  <a:gd name="T10" fmla="*/ 265 w 562"/>
                  <a:gd name="T11" fmla="*/ 7 h 692"/>
                  <a:gd name="T12" fmla="*/ 548 w 562"/>
                  <a:gd name="T13" fmla="*/ 264 h 692"/>
                  <a:gd name="T14" fmla="*/ 555 w 562"/>
                  <a:gd name="T15" fmla="*/ 402 h 692"/>
                  <a:gd name="T16" fmla="*/ 297 w 562"/>
                  <a:gd name="T17" fmla="*/ 685 h 6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2" h="692">
                    <a:moveTo>
                      <a:pt x="297" y="685"/>
                    </a:moveTo>
                    <a:cubicBezTo>
                      <a:pt x="297" y="685"/>
                      <a:pt x="297" y="685"/>
                      <a:pt x="297" y="685"/>
                    </a:cubicBezTo>
                    <a:cubicBezTo>
                      <a:pt x="148" y="692"/>
                      <a:pt x="21" y="577"/>
                      <a:pt x="14" y="427"/>
                    </a:cubicBezTo>
                    <a:cubicBezTo>
                      <a:pt x="7" y="290"/>
                      <a:pt x="7" y="290"/>
                      <a:pt x="7" y="290"/>
                    </a:cubicBezTo>
                    <a:cubicBezTo>
                      <a:pt x="0" y="141"/>
                      <a:pt x="115" y="14"/>
                      <a:pt x="265" y="7"/>
                    </a:cubicBezTo>
                    <a:cubicBezTo>
                      <a:pt x="265" y="7"/>
                      <a:pt x="265" y="7"/>
                      <a:pt x="265" y="7"/>
                    </a:cubicBezTo>
                    <a:cubicBezTo>
                      <a:pt x="414" y="0"/>
                      <a:pt x="541" y="115"/>
                      <a:pt x="548" y="264"/>
                    </a:cubicBezTo>
                    <a:cubicBezTo>
                      <a:pt x="555" y="402"/>
                      <a:pt x="555" y="402"/>
                      <a:pt x="555" y="402"/>
                    </a:cubicBezTo>
                    <a:cubicBezTo>
                      <a:pt x="562" y="551"/>
                      <a:pt x="446" y="678"/>
                      <a:pt x="297" y="685"/>
                    </a:cubicBezTo>
                    <a:close/>
                  </a:path>
                </a:pathLst>
              </a:custGeom>
              <a:solidFill>
                <a:srgbClr val="BB91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46" name="Freeform 601">
                <a:extLst>
                  <a:ext uri="{FF2B5EF4-FFF2-40B4-BE49-F238E27FC236}">
                    <a16:creationId xmlns:a16="http://schemas.microsoft.com/office/drawing/2014/main" id="{54581665-ABB9-403A-B751-743E012A1B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6" y="1257"/>
                <a:ext cx="1326" cy="1630"/>
              </a:xfrm>
              <a:custGeom>
                <a:avLst/>
                <a:gdLst>
                  <a:gd name="T0" fmla="*/ 265 w 562"/>
                  <a:gd name="T1" fmla="*/ 7 h 691"/>
                  <a:gd name="T2" fmla="*/ 7 w 562"/>
                  <a:gd name="T3" fmla="*/ 290 h 691"/>
                  <a:gd name="T4" fmla="*/ 8 w 562"/>
                  <a:gd name="T5" fmla="*/ 316 h 691"/>
                  <a:gd name="T6" fmla="*/ 17 w 562"/>
                  <a:gd name="T7" fmla="*/ 455 h 691"/>
                  <a:gd name="T8" fmla="*/ 297 w 562"/>
                  <a:gd name="T9" fmla="*/ 685 h 691"/>
                  <a:gd name="T10" fmla="*/ 555 w 562"/>
                  <a:gd name="T11" fmla="*/ 402 h 691"/>
                  <a:gd name="T12" fmla="*/ 548 w 562"/>
                  <a:gd name="T13" fmla="*/ 264 h 691"/>
                  <a:gd name="T14" fmla="*/ 265 w 562"/>
                  <a:gd name="T15" fmla="*/ 7 h 6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62" h="691">
                    <a:moveTo>
                      <a:pt x="265" y="7"/>
                    </a:moveTo>
                    <a:cubicBezTo>
                      <a:pt x="115" y="14"/>
                      <a:pt x="0" y="141"/>
                      <a:pt x="7" y="290"/>
                    </a:cubicBezTo>
                    <a:cubicBezTo>
                      <a:pt x="8" y="316"/>
                      <a:pt x="8" y="316"/>
                      <a:pt x="8" y="316"/>
                    </a:cubicBezTo>
                    <a:cubicBezTo>
                      <a:pt x="17" y="455"/>
                      <a:pt x="17" y="455"/>
                      <a:pt x="17" y="455"/>
                    </a:cubicBezTo>
                    <a:cubicBezTo>
                      <a:pt x="37" y="591"/>
                      <a:pt x="157" y="691"/>
                      <a:pt x="297" y="685"/>
                    </a:cubicBezTo>
                    <a:cubicBezTo>
                      <a:pt x="446" y="678"/>
                      <a:pt x="562" y="551"/>
                      <a:pt x="555" y="402"/>
                    </a:cubicBezTo>
                    <a:cubicBezTo>
                      <a:pt x="548" y="264"/>
                      <a:pt x="548" y="264"/>
                      <a:pt x="548" y="264"/>
                    </a:cubicBezTo>
                    <a:cubicBezTo>
                      <a:pt x="541" y="115"/>
                      <a:pt x="414" y="0"/>
                      <a:pt x="265" y="7"/>
                    </a:cubicBezTo>
                    <a:close/>
                  </a:path>
                </a:pathLst>
              </a:custGeom>
              <a:solidFill>
                <a:srgbClr val="D8B0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47" name="Freeform 602">
                <a:extLst>
                  <a:ext uri="{FF2B5EF4-FFF2-40B4-BE49-F238E27FC236}">
                    <a16:creationId xmlns:a16="http://schemas.microsoft.com/office/drawing/2014/main" id="{CFAF52C6-DDA7-47EC-8B0F-69F7B313EA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7" y="1967"/>
                <a:ext cx="646" cy="932"/>
              </a:xfrm>
              <a:custGeom>
                <a:avLst/>
                <a:gdLst>
                  <a:gd name="T0" fmla="*/ 259 w 274"/>
                  <a:gd name="T1" fmla="*/ 55 h 395"/>
                  <a:gd name="T2" fmla="*/ 259 w 274"/>
                  <a:gd name="T3" fmla="*/ 55 h 395"/>
                  <a:gd name="T4" fmla="*/ 205 w 274"/>
                  <a:gd name="T5" fmla="*/ 11 h 395"/>
                  <a:gd name="T6" fmla="*/ 140 w 274"/>
                  <a:gd name="T7" fmla="*/ 0 h 395"/>
                  <a:gd name="T8" fmla="*/ 61 w 274"/>
                  <a:gd name="T9" fmla="*/ 80 h 395"/>
                  <a:gd name="T10" fmla="*/ 79 w 274"/>
                  <a:gd name="T11" fmla="*/ 151 h 395"/>
                  <a:gd name="T12" fmla="*/ 49 w 274"/>
                  <a:gd name="T13" fmla="*/ 191 h 395"/>
                  <a:gd name="T14" fmla="*/ 43 w 274"/>
                  <a:gd name="T15" fmla="*/ 191 h 395"/>
                  <a:gd name="T16" fmla="*/ 18 w 274"/>
                  <a:gd name="T17" fmla="*/ 219 h 395"/>
                  <a:gd name="T18" fmla="*/ 20 w 274"/>
                  <a:gd name="T19" fmla="*/ 279 h 395"/>
                  <a:gd name="T20" fmla="*/ 27 w 274"/>
                  <a:gd name="T21" fmla="*/ 279 h 395"/>
                  <a:gd name="T22" fmla="*/ 63 w 274"/>
                  <a:gd name="T23" fmla="*/ 312 h 395"/>
                  <a:gd name="T24" fmla="*/ 22 w 274"/>
                  <a:gd name="T25" fmla="*/ 314 h 395"/>
                  <a:gd name="T26" fmla="*/ 23 w 274"/>
                  <a:gd name="T27" fmla="*/ 325 h 395"/>
                  <a:gd name="T28" fmla="*/ 0 w 274"/>
                  <a:gd name="T29" fmla="*/ 395 h 395"/>
                  <a:gd name="T30" fmla="*/ 123 w 274"/>
                  <a:gd name="T31" fmla="*/ 369 h 395"/>
                  <a:gd name="T32" fmla="*/ 149 w 274"/>
                  <a:gd name="T33" fmla="*/ 342 h 395"/>
                  <a:gd name="T34" fmla="*/ 274 w 274"/>
                  <a:gd name="T35" fmla="*/ 129 h 395"/>
                  <a:gd name="T36" fmla="*/ 259 w 274"/>
                  <a:gd name="T37" fmla="*/ 55 h 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4" h="395">
                    <a:moveTo>
                      <a:pt x="259" y="55"/>
                    </a:moveTo>
                    <a:cubicBezTo>
                      <a:pt x="259" y="55"/>
                      <a:pt x="259" y="55"/>
                      <a:pt x="259" y="55"/>
                    </a:cubicBezTo>
                    <a:cubicBezTo>
                      <a:pt x="243" y="12"/>
                      <a:pt x="205" y="11"/>
                      <a:pt x="205" y="11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02" y="2"/>
                      <a:pt x="51" y="43"/>
                      <a:pt x="61" y="80"/>
                    </a:cubicBezTo>
                    <a:cubicBezTo>
                      <a:pt x="79" y="151"/>
                      <a:pt x="79" y="151"/>
                      <a:pt x="79" y="151"/>
                    </a:cubicBezTo>
                    <a:cubicBezTo>
                      <a:pt x="84" y="171"/>
                      <a:pt x="70" y="190"/>
                      <a:pt x="49" y="191"/>
                    </a:cubicBezTo>
                    <a:cubicBezTo>
                      <a:pt x="43" y="191"/>
                      <a:pt x="43" y="191"/>
                      <a:pt x="43" y="191"/>
                    </a:cubicBezTo>
                    <a:cubicBezTo>
                      <a:pt x="28" y="192"/>
                      <a:pt x="17" y="204"/>
                      <a:pt x="18" y="219"/>
                    </a:cubicBezTo>
                    <a:cubicBezTo>
                      <a:pt x="20" y="279"/>
                      <a:pt x="20" y="279"/>
                      <a:pt x="20" y="279"/>
                    </a:cubicBezTo>
                    <a:cubicBezTo>
                      <a:pt x="27" y="279"/>
                      <a:pt x="27" y="279"/>
                      <a:pt x="27" y="279"/>
                    </a:cubicBezTo>
                    <a:cubicBezTo>
                      <a:pt x="46" y="278"/>
                      <a:pt x="62" y="293"/>
                      <a:pt x="63" y="312"/>
                    </a:cubicBezTo>
                    <a:cubicBezTo>
                      <a:pt x="22" y="314"/>
                      <a:pt x="22" y="314"/>
                      <a:pt x="22" y="314"/>
                    </a:cubicBezTo>
                    <a:cubicBezTo>
                      <a:pt x="23" y="325"/>
                      <a:pt x="23" y="325"/>
                      <a:pt x="23" y="325"/>
                    </a:cubicBezTo>
                    <a:cubicBezTo>
                      <a:pt x="24" y="347"/>
                      <a:pt x="16" y="380"/>
                      <a:pt x="0" y="395"/>
                    </a:cubicBezTo>
                    <a:cubicBezTo>
                      <a:pt x="123" y="369"/>
                      <a:pt x="123" y="369"/>
                      <a:pt x="123" y="369"/>
                    </a:cubicBezTo>
                    <a:cubicBezTo>
                      <a:pt x="149" y="342"/>
                      <a:pt x="149" y="342"/>
                      <a:pt x="149" y="342"/>
                    </a:cubicBezTo>
                    <a:cubicBezTo>
                      <a:pt x="221" y="297"/>
                      <a:pt x="269" y="218"/>
                      <a:pt x="274" y="129"/>
                    </a:cubicBezTo>
                    <a:lnTo>
                      <a:pt x="259" y="55"/>
                    </a:lnTo>
                    <a:close/>
                  </a:path>
                </a:pathLst>
              </a:custGeom>
              <a:solidFill>
                <a:srgbClr val="CE9C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48" name="Freeform 603">
                <a:extLst>
                  <a:ext uri="{FF2B5EF4-FFF2-40B4-BE49-F238E27FC236}">
                    <a16:creationId xmlns:a16="http://schemas.microsoft.com/office/drawing/2014/main" id="{A2392A49-110C-4552-9FED-63B8E12987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5" y="2418"/>
                <a:ext cx="139" cy="120"/>
              </a:xfrm>
              <a:custGeom>
                <a:avLst/>
                <a:gdLst>
                  <a:gd name="T0" fmla="*/ 59 w 59"/>
                  <a:gd name="T1" fmla="*/ 6 h 51"/>
                  <a:gd name="T2" fmla="*/ 17 w 59"/>
                  <a:gd name="T3" fmla="*/ 51 h 51"/>
                  <a:gd name="T4" fmla="*/ 59 w 59"/>
                  <a:gd name="T5" fmla="*/ 6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9" h="51">
                    <a:moveTo>
                      <a:pt x="59" y="6"/>
                    </a:moveTo>
                    <a:cubicBezTo>
                      <a:pt x="17" y="51"/>
                      <a:pt x="17" y="51"/>
                      <a:pt x="17" y="51"/>
                    </a:cubicBezTo>
                    <a:cubicBezTo>
                      <a:pt x="17" y="51"/>
                      <a:pt x="0" y="0"/>
                      <a:pt x="59" y="6"/>
                    </a:cubicBezTo>
                    <a:close/>
                  </a:path>
                </a:pathLst>
              </a:custGeom>
              <a:solidFill>
                <a:srgbClr val="CE9C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49" name="Freeform 604">
                <a:extLst>
                  <a:ext uri="{FF2B5EF4-FFF2-40B4-BE49-F238E27FC236}">
                    <a16:creationId xmlns:a16="http://schemas.microsoft.com/office/drawing/2014/main" id="{E78850CD-BF81-40F6-8158-4664F5B6C8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6" y="2833"/>
                <a:ext cx="1930" cy="787"/>
              </a:xfrm>
              <a:custGeom>
                <a:avLst/>
                <a:gdLst>
                  <a:gd name="T0" fmla="*/ 402 w 818"/>
                  <a:gd name="T1" fmla="*/ 334 h 334"/>
                  <a:gd name="T2" fmla="*/ 818 w 818"/>
                  <a:gd name="T3" fmla="*/ 167 h 334"/>
                  <a:gd name="T4" fmla="*/ 589 w 818"/>
                  <a:gd name="T5" fmla="*/ 100 h 334"/>
                  <a:gd name="T6" fmla="*/ 567 w 818"/>
                  <a:gd name="T7" fmla="*/ 0 h 334"/>
                  <a:gd name="T8" fmla="*/ 501 w 818"/>
                  <a:gd name="T9" fmla="*/ 27 h 334"/>
                  <a:gd name="T10" fmla="*/ 418 w 818"/>
                  <a:gd name="T11" fmla="*/ 176 h 334"/>
                  <a:gd name="T12" fmla="*/ 349 w 818"/>
                  <a:gd name="T13" fmla="*/ 38 h 334"/>
                  <a:gd name="T14" fmla="*/ 282 w 818"/>
                  <a:gd name="T15" fmla="*/ 2 h 334"/>
                  <a:gd name="T16" fmla="*/ 247 w 818"/>
                  <a:gd name="T17" fmla="*/ 105 h 334"/>
                  <a:gd name="T18" fmla="*/ 3 w 818"/>
                  <a:gd name="T19" fmla="*/ 179 h 334"/>
                  <a:gd name="T20" fmla="*/ 0 w 818"/>
                  <a:gd name="T21" fmla="*/ 179 h 334"/>
                  <a:gd name="T22" fmla="*/ 402 w 818"/>
                  <a:gd name="T23" fmla="*/ 334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18" h="334">
                    <a:moveTo>
                      <a:pt x="402" y="334"/>
                    </a:moveTo>
                    <a:cubicBezTo>
                      <a:pt x="563" y="334"/>
                      <a:pt x="710" y="270"/>
                      <a:pt x="818" y="167"/>
                    </a:cubicBezTo>
                    <a:cubicBezTo>
                      <a:pt x="589" y="100"/>
                      <a:pt x="589" y="100"/>
                      <a:pt x="589" y="100"/>
                    </a:cubicBezTo>
                    <a:cubicBezTo>
                      <a:pt x="567" y="0"/>
                      <a:pt x="567" y="0"/>
                      <a:pt x="567" y="0"/>
                    </a:cubicBezTo>
                    <a:cubicBezTo>
                      <a:pt x="501" y="27"/>
                      <a:pt x="501" y="27"/>
                      <a:pt x="501" y="27"/>
                    </a:cubicBezTo>
                    <a:cubicBezTo>
                      <a:pt x="418" y="176"/>
                      <a:pt x="418" y="176"/>
                      <a:pt x="418" y="176"/>
                    </a:cubicBezTo>
                    <a:cubicBezTo>
                      <a:pt x="349" y="38"/>
                      <a:pt x="349" y="38"/>
                      <a:pt x="349" y="38"/>
                    </a:cubicBezTo>
                    <a:cubicBezTo>
                      <a:pt x="282" y="2"/>
                      <a:pt x="282" y="2"/>
                      <a:pt x="282" y="2"/>
                    </a:cubicBezTo>
                    <a:cubicBezTo>
                      <a:pt x="247" y="105"/>
                      <a:pt x="247" y="105"/>
                      <a:pt x="247" y="105"/>
                    </a:cubicBezTo>
                    <a:cubicBezTo>
                      <a:pt x="3" y="179"/>
                      <a:pt x="3" y="179"/>
                      <a:pt x="3" y="179"/>
                    </a:cubicBezTo>
                    <a:cubicBezTo>
                      <a:pt x="2" y="179"/>
                      <a:pt x="1" y="179"/>
                      <a:pt x="0" y="179"/>
                    </a:cubicBezTo>
                    <a:cubicBezTo>
                      <a:pt x="106" y="275"/>
                      <a:pt x="247" y="334"/>
                      <a:pt x="402" y="334"/>
                    </a:cubicBez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50" name="Freeform 605">
                <a:extLst>
                  <a:ext uri="{FF2B5EF4-FFF2-40B4-BE49-F238E27FC236}">
                    <a16:creationId xmlns:a16="http://schemas.microsoft.com/office/drawing/2014/main" id="{6DB83818-7BB2-465F-9E7E-1E2166E2B3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3" y="1121"/>
                <a:ext cx="1357" cy="1254"/>
              </a:xfrm>
              <a:custGeom>
                <a:avLst/>
                <a:gdLst>
                  <a:gd name="T0" fmla="*/ 399 w 575"/>
                  <a:gd name="T1" fmla="*/ 54 h 532"/>
                  <a:gd name="T2" fmla="*/ 121 w 575"/>
                  <a:gd name="T3" fmla="*/ 17 h 532"/>
                  <a:gd name="T4" fmla="*/ 140 w 575"/>
                  <a:gd name="T5" fmla="*/ 55 h 532"/>
                  <a:gd name="T6" fmla="*/ 41 w 575"/>
                  <a:gd name="T7" fmla="*/ 59 h 532"/>
                  <a:gd name="T8" fmla="*/ 86 w 575"/>
                  <a:gd name="T9" fmla="*/ 86 h 532"/>
                  <a:gd name="T10" fmla="*/ 5 w 575"/>
                  <a:gd name="T11" fmla="*/ 225 h 532"/>
                  <a:gd name="T12" fmla="*/ 10 w 575"/>
                  <a:gd name="T13" fmla="*/ 316 h 532"/>
                  <a:gd name="T14" fmla="*/ 26 w 575"/>
                  <a:gd name="T15" fmla="*/ 374 h 532"/>
                  <a:gd name="T16" fmla="*/ 32 w 575"/>
                  <a:gd name="T17" fmla="*/ 498 h 532"/>
                  <a:gd name="T18" fmla="*/ 69 w 575"/>
                  <a:gd name="T19" fmla="*/ 531 h 532"/>
                  <a:gd name="T20" fmla="*/ 76 w 575"/>
                  <a:gd name="T21" fmla="*/ 531 h 532"/>
                  <a:gd name="T22" fmla="*/ 67 w 575"/>
                  <a:gd name="T23" fmla="*/ 337 h 532"/>
                  <a:gd name="T24" fmla="*/ 149 w 575"/>
                  <a:gd name="T25" fmla="*/ 214 h 532"/>
                  <a:gd name="T26" fmla="*/ 161 w 575"/>
                  <a:gd name="T27" fmla="*/ 210 h 532"/>
                  <a:gd name="T28" fmla="*/ 418 w 575"/>
                  <a:gd name="T29" fmla="*/ 198 h 532"/>
                  <a:gd name="T30" fmla="*/ 430 w 575"/>
                  <a:gd name="T31" fmla="*/ 201 h 532"/>
                  <a:gd name="T32" fmla="*/ 523 w 575"/>
                  <a:gd name="T33" fmla="*/ 315 h 532"/>
                  <a:gd name="T34" fmla="*/ 532 w 575"/>
                  <a:gd name="T35" fmla="*/ 507 h 532"/>
                  <a:gd name="T36" fmla="*/ 541 w 575"/>
                  <a:gd name="T37" fmla="*/ 506 h 532"/>
                  <a:gd name="T38" fmla="*/ 574 w 575"/>
                  <a:gd name="T39" fmla="*/ 469 h 532"/>
                  <a:gd name="T40" fmla="*/ 562 w 575"/>
                  <a:gd name="T41" fmla="*/ 212 h 532"/>
                  <a:gd name="T42" fmla="*/ 399 w 575"/>
                  <a:gd name="T43" fmla="*/ 54 h 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75" h="532">
                    <a:moveTo>
                      <a:pt x="399" y="54"/>
                    </a:moveTo>
                    <a:cubicBezTo>
                      <a:pt x="399" y="54"/>
                      <a:pt x="257" y="0"/>
                      <a:pt x="121" y="17"/>
                    </a:cubicBezTo>
                    <a:cubicBezTo>
                      <a:pt x="140" y="55"/>
                      <a:pt x="140" y="55"/>
                      <a:pt x="140" y="55"/>
                    </a:cubicBezTo>
                    <a:cubicBezTo>
                      <a:pt x="41" y="59"/>
                      <a:pt x="41" y="59"/>
                      <a:pt x="41" y="59"/>
                    </a:cubicBezTo>
                    <a:cubicBezTo>
                      <a:pt x="86" y="86"/>
                      <a:pt x="86" y="86"/>
                      <a:pt x="86" y="86"/>
                    </a:cubicBezTo>
                    <a:cubicBezTo>
                      <a:pt x="42" y="120"/>
                      <a:pt x="13" y="170"/>
                      <a:pt x="5" y="225"/>
                    </a:cubicBezTo>
                    <a:cubicBezTo>
                      <a:pt x="0" y="256"/>
                      <a:pt x="2" y="287"/>
                      <a:pt x="10" y="316"/>
                    </a:cubicBezTo>
                    <a:cubicBezTo>
                      <a:pt x="26" y="374"/>
                      <a:pt x="26" y="374"/>
                      <a:pt x="26" y="374"/>
                    </a:cubicBezTo>
                    <a:cubicBezTo>
                      <a:pt x="32" y="498"/>
                      <a:pt x="32" y="498"/>
                      <a:pt x="32" y="498"/>
                    </a:cubicBezTo>
                    <a:cubicBezTo>
                      <a:pt x="33" y="517"/>
                      <a:pt x="50" y="532"/>
                      <a:pt x="69" y="531"/>
                    </a:cubicBezTo>
                    <a:cubicBezTo>
                      <a:pt x="76" y="531"/>
                      <a:pt x="76" y="531"/>
                      <a:pt x="76" y="531"/>
                    </a:cubicBezTo>
                    <a:cubicBezTo>
                      <a:pt x="67" y="337"/>
                      <a:pt x="67" y="337"/>
                      <a:pt x="67" y="337"/>
                    </a:cubicBezTo>
                    <a:cubicBezTo>
                      <a:pt x="64" y="282"/>
                      <a:pt x="97" y="233"/>
                      <a:pt x="149" y="214"/>
                    </a:cubicBezTo>
                    <a:cubicBezTo>
                      <a:pt x="161" y="210"/>
                      <a:pt x="161" y="210"/>
                      <a:pt x="161" y="210"/>
                    </a:cubicBezTo>
                    <a:cubicBezTo>
                      <a:pt x="243" y="180"/>
                      <a:pt x="333" y="176"/>
                      <a:pt x="418" y="198"/>
                    </a:cubicBezTo>
                    <a:cubicBezTo>
                      <a:pt x="430" y="201"/>
                      <a:pt x="430" y="201"/>
                      <a:pt x="430" y="201"/>
                    </a:cubicBezTo>
                    <a:cubicBezTo>
                      <a:pt x="483" y="214"/>
                      <a:pt x="521" y="260"/>
                      <a:pt x="523" y="315"/>
                    </a:cubicBezTo>
                    <a:cubicBezTo>
                      <a:pt x="532" y="507"/>
                      <a:pt x="532" y="507"/>
                      <a:pt x="532" y="507"/>
                    </a:cubicBezTo>
                    <a:cubicBezTo>
                      <a:pt x="541" y="506"/>
                      <a:pt x="541" y="506"/>
                      <a:pt x="541" y="506"/>
                    </a:cubicBezTo>
                    <a:cubicBezTo>
                      <a:pt x="560" y="505"/>
                      <a:pt x="575" y="489"/>
                      <a:pt x="574" y="469"/>
                    </a:cubicBezTo>
                    <a:cubicBezTo>
                      <a:pt x="562" y="212"/>
                      <a:pt x="562" y="212"/>
                      <a:pt x="562" y="212"/>
                    </a:cubicBezTo>
                    <a:cubicBezTo>
                      <a:pt x="552" y="9"/>
                      <a:pt x="399" y="54"/>
                      <a:pt x="399" y="54"/>
                    </a:cubicBezTo>
                    <a:close/>
                  </a:path>
                </a:pathLst>
              </a:custGeom>
              <a:solidFill>
                <a:srgbClr val="9393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51" name="Freeform 606">
                <a:extLst>
                  <a:ext uri="{FF2B5EF4-FFF2-40B4-BE49-F238E27FC236}">
                    <a16:creationId xmlns:a16="http://schemas.microsoft.com/office/drawing/2014/main" id="{1E5010AB-C334-46F3-BF51-1BED2F9B6E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7" y="2922"/>
                <a:ext cx="234" cy="279"/>
              </a:xfrm>
              <a:custGeom>
                <a:avLst/>
                <a:gdLst>
                  <a:gd name="T0" fmla="*/ 234 w 234"/>
                  <a:gd name="T1" fmla="*/ 224 h 279"/>
                  <a:gd name="T2" fmla="*/ 123 w 234"/>
                  <a:gd name="T3" fmla="*/ 0 h 279"/>
                  <a:gd name="T4" fmla="*/ 0 w 234"/>
                  <a:gd name="T5" fmla="*/ 279 h 279"/>
                  <a:gd name="T6" fmla="*/ 158 w 234"/>
                  <a:gd name="T7" fmla="*/ 175 h 279"/>
                  <a:gd name="T8" fmla="*/ 234 w 234"/>
                  <a:gd name="T9" fmla="*/ 22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4" h="279">
                    <a:moveTo>
                      <a:pt x="234" y="224"/>
                    </a:moveTo>
                    <a:lnTo>
                      <a:pt x="123" y="0"/>
                    </a:lnTo>
                    <a:lnTo>
                      <a:pt x="0" y="279"/>
                    </a:lnTo>
                    <a:lnTo>
                      <a:pt x="158" y="175"/>
                    </a:lnTo>
                    <a:lnTo>
                      <a:pt x="234" y="224"/>
                    </a:lnTo>
                    <a:close/>
                  </a:path>
                </a:pathLst>
              </a:cu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52" name="Freeform 607">
                <a:extLst>
                  <a:ext uri="{FF2B5EF4-FFF2-40B4-BE49-F238E27FC236}">
                    <a16:creationId xmlns:a16="http://schemas.microsoft.com/office/drawing/2014/main" id="{B0588A52-ADB3-4F5F-BBA4-82A25FD84C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9" y="2896"/>
                <a:ext cx="267" cy="305"/>
              </a:xfrm>
              <a:custGeom>
                <a:avLst/>
                <a:gdLst>
                  <a:gd name="T0" fmla="*/ 139 w 267"/>
                  <a:gd name="T1" fmla="*/ 0 h 305"/>
                  <a:gd name="T2" fmla="*/ 267 w 267"/>
                  <a:gd name="T3" fmla="*/ 305 h 305"/>
                  <a:gd name="T4" fmla="*/ 132 w 267"/>
                  <a:gd name="T5" fmla="*/ 187 h 305"/>
                  <a:gd name="T6" fmla="*/ 0 w 267"/>
                  <a:gd name="T7" fmla="*/ 250 h 305"/>
                  <a:gd name="T8" fmla="*/ 139 w 267"/>
                  <a:gd name="T9" fmla="*/ 0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7" h="305">
                    <a:moveTo>
                      <a:pt x="139" y="0"/>
                    </a:moveTo>
                    <a:lnTo>
                      <a:pt x="267" y="305"/>
                    </a:lnTo>
                    <a:lnTo>
                      <a:pt x="132" y="187"/>
                    </a:lnTo>
                    <a:lnTo>
                      <a:pt x="0" y="250"/>
                    </a:lnTo>
                    <a:lnTo>
                      <a:pt x="139" y="0"/>
                    </a:lnTo>
                    <a:close/>
                  </a:path>
                </a:pathLst>
              </a:cu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53" name="Oval 608">
                <a:extLst>
                  <a:ext uri="{FF2B5EF4-FFF2-40B4-BE49-F238E27FC236}">
                    <a16:creationId xmlns:a16="http://schemas.microsoft.com/office/drawing/2014/main" id="{663877BC-3182-448A-BC62-4A18FE6189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2" y="3359"/>
                <a:ext cx="90" cy="92"/>
              </a:xfrm>
              <a:prstGeom prst="ellipse">
                <a:avLst/>
              </a:pr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54" name="Freeform 609">
                <a:extLst>
                  <a:ext uri="{FF2B5EF4-FFF2-40B4-BE49-F238E27FC236}">
                    <a16:creationId xmlns:a16="http://schemas.microsoft.com/office/drawing/2014/main" id="{FA65766D-D0DC-4F6F-B419-E8FBC53D30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6" y="1920"/>
                <a:ext cx="340" cy="151"/>
              </a:xfrm>
              <a:custGeom>
                <a:avLst/>
                <a:gdLst>
                  <a:gd name="T0" fmla="*/ 10 w 144"/>
                  <a:gd name="T1" fmla="*/ 64 h 64"/>
                  <a:gd name="T2" fmla="*/ 3 w 144"/>
                  <a:gd name="T3" fmla="*/ 61 h 64"/>
                  <a:gd name="T4" fmla="*/ 4 w 144"/>
                  <a:gd name="T5" fmla="*/ 47 h 64"/>
                  <a:gd name="T6" fmla="*/ 138 w 144"/>
                  <a:gd name="T7" fmla="*/ 40 h 64"/>
                  <a:gd name="T8" fmla="*/ 142 w 144"/>
                  <a:gd name="T9" fmla="*/ 53 h 64"/>
                  <a:gd name="T10" fmla="*/ 128 w 144"/>
                  <a:gd name="T11" fmla="*/ 57 h 64"/>
                  <a:gd name="T12" fmla="*/ 16 w 144"/>
                  <a:gd name="T13" fmla="*/ 62 h 64"/>
                  <a:gd name="T14" fmla="*/ 10 w 144"/>
                  <a:gd name="T1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4" h="64">
                    <a:moveTo>
                      <a:pt x="10" y="64"/>
                    </a:moveTo>
                    <a:cubicBezTo>
                      <a:pt x="8" y="64"/>
                      <a:pt x="5" y="63"/>
                      <a:pt x="3" y="61"/>
                    </a:cubicBezTo>
                    <a:cubicBezTo>
                      <a:pt x="0" y="56"/>
                      <a:pt x="0" y="50"/>
                      <a:pt x="4" y="47"/>
                    </a:cubicBezTo>
                    <a:cubicBezTo>
                      <a:pt x="7" y="45"/>
                      <a:pt x="62" y="0"/>
                      <a:pt x="138" y="40"/>
                    </a:cubicBezTo>
                    <a:cubicBezTo>
                      <a:pt x="142" y="43"/>
                      <a:pt x="144" y="48"/>
                      <a:pt x="142" y="53"/>
                    </a:cubicBezTo>
                    <a:cubicBezTo>
                      <a:pt x="139" y="58"/>
                      <a:pt x="133" y="60"/>
                      <a:pt x="128" y="57"/>
                    </a:cubicBezTo>
                    <a:cubicBezTo>
                      <a:pt x="65" y="23"/>
                      <a:pt x="18" y="60"/>
                      <a:pt x="16" y="62"/>
                    </a:cubicBezTo>
                    <a:cubicBezTo>
                      <a:pt x="15" y="63"/>
                      <a:pt x="13" y="64"/>
                      <a:pt x="10" y="64"/>
                    </a:cubicBezTo>
                    <a:close/>
                  </a:path>
                </a:pathLst>
              </a:custGeom>
              <a:solidFill>
                <a:srgbClr val="9393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55" name="Freeform 610">
                <a:extLst>
                  <a:ext uri="{FF2B5EF4-FFF2-40B4-BE49-F238E27FC236}">
                    <a16:creationId xmlns:a16="http://schemas.microsoft.com/office/drawing/2014/main" id="{7BE8E6A4-DA21-447D-82E9-AD38B600F8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8" y="1889"/>
                <a:ext cx="342" cy="151"/>
              </a:xfrm>
              <a:custGeom>
                <a:avLst/>
                <a:gdLst>
                  <a:gd name="T0" fmla="*/ 11 w 145"/>
                  <a:gd name="T1" fmla="*/ 64 h 64"/>
                  <a:gd name="T2" fmla="*/ 4 w 145"/>
                  <a:gd name="T3" fmla="*/ 60 h 64"/>
                  <a:gd name="T4" fmla="*/ 5 w 145"/>
                  <a:gd name="T5" fmla="*/ 47 h 64"/>
                  <a:gd name="T6" fmla="*/ 138 w 145"/>
                  <a:gd name="T7" fmla="*/ 40 h 64"/>
                  <a:gd name="T8" fmla="*/ 142 w 145"/>
                  <a:gd name="T9" fmla="*/ 53 h 64"/>
                  <a:gd name="T10" fmla="*/ 129 w 145"/>
                  <a:gd name="T11" fmla="*/ 57 h 64"/>
                  <a:gd name="T12" fmla="*/ 17 w 145"/>
                  <a:gd name="T13" fmla="*/ 62 h 64"/>
                  <a:gd name="T14" fmla="*/ 11 w 145"/>
                  <a:gd name="T1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5" h="64">
                    <a:moveTo>
                      <a:pt x="11" y="64"/>
                    </a:moveTo>
                    <a:cubicBezTo>
                      <a:pt x="9" y="64"/>
                      <a:pt x="6" y="63"/>
                      <a:pt x="4" y="60"/>
                    </a:cubicBezTo>
                    <a:cubicBezTo>
                      <a:pt x="0" y="56"/>
                      <a:pt x="1" y="50"/>
                      <a:pt x="5" y="47"/>
                    </a:cubicBezTo>
                    <a:cubicBezTo>
                      <a:pt x="7" y="45"/>
                      <a:pt x="63" y="0"/>
                      <a:pt x="138" y="40"/>
                    </a:cubicBezTo>
                    <a:cubicBezTo>
                      <a:pt x="143" y="42"/>
                      <a:pt x="145" y="48"/>
                      <a:pt x="142" y="53"/>
                    </a:cubicBezTo>
                    <a:cubicBezTo>
                      <a:pt x="140" y="58"/>
                      <a:pt x="134" y="60"/>
                      <a:pt x="129" y="57"/>
                    </a:cubicBezTo>
                    <a:cubicBezTo>
                      <a:pt x="66" y="23"/>
                      <a:pt x="19" y="60"/>
                      <a:pt x="17" y="62"/>
                    </a:cubicBezTo>
                    <a:cubicBezTo>
                      <a:pt x="16" y="63"/>
                      <a:pt x="13" y="64"/>
                      <a:pt x="11" y="64"/>
                    </a:cubicBezTo>
                    <a:close/>
                  </a:path>
                </a:pathLst>
              </a:custGeom>
              <a:solidFill>
                <a:srgbClr val="9393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56" name="Freeform 611">
                <a:extLst>
                  <a:ext uri="{FF2B5EF4-FFF2-40B4-BE49-F238E27FC236}">
                    <a16:creationId xmlns:a16="http://schemas.microsoft.com/office/drawing/2014/main" id="{73F2F07B-3E0E-4A8B-9CB5-962D0775E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9" y="2083"/>
                <a:ext cx="121" cy="80"/>
              </a:xfrm>
              <a:custGeom>
                <a:avLst/>
                <a:gdLst>
                  <a:gd name="T0" fmla="*/ 50 w 51"/>
                  <a:gd name="T1" fmla="*/ 32 h 34"/>
                  <a:gd name="T2" fmla="*/ 51 w 51"/>
                  <a:gd name="T3" fmla="*/ 25 h 34"/>
                  <a:gd name="T4" fmla="*/ 25 w 51"/>
                  <a:gd name="T5" fmla="*/ 1 h 34"/>
                  <a:gd name="T6" fmla="*/ 1 w 51"/>
                  <a:gd name="T7" fmla="*/ 27 h 34"/>
                  <a:gd name="T8" fmla="*/ 2 w 51"/>
                  <a:gd name="T9" fmla="*/ 34 h 34"/>
                  <a:gd name="T10" fmla="*/ 50 w 51"/>
                  <a:gd name="T11" fmla="*/ 3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1" h="34">
                    <a:moveTo>
                      <a:pt x="50" y="32"/>
                    </a:moveTo>
                    <a:cubicBezTo>
                      <a:pt x="51" y="29"/>
                      <a:pt x="51" y="27"/>
                      <a:pt x="51" y="25"/>
                    </a:cubicBezTo>
                    <a:cubicBezTo>
                      <a:pt x="50" y="11"/>
                      <a:pt x="38" y="0"/>
                      <a:pt x="25" y="1"/>
                    </a:cubicBezTo>
                    <a:cubicBezTo>
                      <a:pt x="11" y="2"/>
                      <a:pt x="0" y="14"/>
                      <a:pt x="1" y="27"/>
                    </a:cubicBezTo>
                    <a:cubicBezTo>
                      <a:pt x="1" y="30"/>
                      <a:pt x="1" y="32"/>
                      <a:pt x="2" y="34"/>
                    </a:cubicBezTo>
                    <a:lnTo>
                      <a:pt x="50" y="32"/>
                    </a:lnTo>
                    <a:close/>
                  </a:path>
                </a:pathLst>
              </a:cu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57" name="Freeform 612">
                <a:extLst>
                  <a:ext uri="{FF2B5EF4-FFF2-40B4-BE49-F238E27FC236}">
                    <a16:creationId xmlns:a16="http://schemas.microsoft.com/office/drawing/2014/main" id="{71A659F5-215D-4F82-BBD1-F39D72D0D7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1" y="2054"/>
                <a:ext cx="121" cy="78"/>
              </a:xfrm>
              <a:custGeom>
                <a:avLst/>
                <a:gdLst>
                  <a:gd name="T0" fmla="*/ 51 w 51"/>
                  <a:gd name="T1" fmla="*/ 31 h 33"/>
                  <a:gd name="T2" fmla="*/ 51 w 51"/>
                  <a:gd name="T3" fmla="*/ 24 h 33"/>
                  <a:gd name="T4" fmla="*/ 25 w 51"/>
                  <a:gd name="T5" fmla="*/ 0 h 33"/>
                  <a:gd name="T6" fmla="*/ 1 w 51"/>
                  <a:gd name="T7" fmla="*/ 27 h 33"/>
                  <a:gd name="T8" fmla="*/ 2 w 51"/>
                  <a:gd name="T9" fmla="*/ 33 h 33"/>
                  <a:gd name="T10" fmla="*/ 51 w 51"/>
                  <a:gd name="T11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1" h="33">
                    <a:moveTo>
                      <a:pt x="51" y="31"/>
                    </a:moveTo>
                    <a:cubicBezTo>
                      <a:pt x="51" y="29"/>
                      <a:pt x="51" y="26"/>
                      <a:pt x="51" y="24"/>
                    </a:cubicBezTo>
                    <a:cubicBezTo>
                      <a:pt x="51" y="10"/>
                      <a:pt x="39" y="0"/>
                      <a:pt x="25" y="0"/>
                    </a:cubicBezTo>
                    <a:cubicBezTo>
                      <a:pt x="11" y="1"/>
                      <a:pt x="0" y="13"/>
                      <a:pt x="1" y="27"/>
                    </a:cubicBezTo>
                    <a:cubicBezTo>
                      <a:pt x="1" y="29"/>
                      <a:pt x="1" y="31"/>
                      <a:pt x="2" y="33"/>
                    </a:cubicBezTo>
                    <a:lnTo>
                      <a:pt x="51" y="31"/>
                    </a:lnTo>
                    <a:close/>
                  </a:path>
                </a:pathLst>
              </a:cu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58" name="Freeform 613">
                <a:extLst>
                  <a:ext uri="{FF2B5EF4-FFF2-40B4-BE49-F238E27FC236}">
                    <a16:creationId xmlns:a16="http://schemas.microsoft.com/office/drawing/2014/main" id="{5424B816-585C-45E8-9E6C-20BD2AF7C7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7" y="2486"/>
                <a:ext cx="434" cy="116"/>
              </a:xfrm>
              <a:custGeom>
                <a:avLst/>
                <a:gdLst>
                  <a:gd name="T0" fmla="*/ 90 w 184"/>
                  <a:gd name="T1" fmla="*/ 37 h 49"/>
                  <a:gd name="T2" fmla="*/ 4 w 184"/>
                  <a:gd name="T3" fmla="*/ 20 h 49"/>
                  <a:gd name="T4" fmla="*/ 1 w 184"/>
                  <a:gd name="T5" fmla="*/ 12 h 49"/>
                  <a:gd name="T6" fmla="*/ 9 w 184"/>
                  <a:gd name="T7" fmla="*/ 9 h 49"/>
                  <a:gd name="T8" fmla="*/ 175 w 184"/>
                  <a:gd name="T9" fmla="*/ 2 h 49"/>
                  <a:gd name="T10" fmla="*/ 183 w 184"/>
                  <a:gd name="T11" fmla="*/ 3 h 49"/>
                  <a:gd name="T12" fmla="*/ 181 w 184"/>
                  <a:gd name="T13" fmla="*/ 11 h 49"/>
                  <a:gd name="T14" fmla="*/ 90 w 184"/>
                  <a:gd name="T15" fmla="*/ 3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4" h="49">
                    <a:moveTo>
                      <a:pt x="90" y="37"/>
                    </a:moveTo>
                    <a:cubicBezTo>
                      <a:pt x="43" y="37"/>
                      <a:pt x="7" y="21"/>
                      <a:pt x="4" y="20"/>
                    </a:cubicBezTo>
                    <a:cubicBezTo>
                      <a:pt x="1" y="19"/>
                      <a:pt x="0" y="15"/>
                      <a:pt x="1" y="12"/>
                    </a:cubicBezTo>
                    <a:cubicBezTo>
                      <a:pt x="3" y="9"/>
                      <a:pt x="6" y="8"/>
                      <a:pt x="9" y="9"/>
                    </a:cubicBezTo>
                    <a:cubicBezTo>
                      <a:pt x="10" y="10"/>
                      <a:pt x="101" y="49"/>
                      <a:pt x="175" y="2"/>
                    </a:cubicBezTo>
                    <a:cubicBezTo>
                      <a:pt x="177" y="0"/>
                      <a:pt x="181" y="1"/>
                      <a:pt x="183" y="3"/>
                    </a:cubicBezTo>
                    <a:cubicBezTo>
                      <a:pt x="184" y="6"/>
                      <a:pt x="184" y="10"/>
                      <a:pt x="181" y="11"/>
                    </a:cubicBezTo>
                    <a:cubicBezTo>
                      <a:pt x="151" y="31"/>
                      <a:pt x="118" y="37"/>
                      <a:pt x="90" y="37"/>
                    </a:cubicBezTo>
                    <a:close/>
                  </a:path>
                </a:pathLst>
              </a:custGeom>
              <a:solidFill>
                <a:srgbClr val="8E56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59" name="Freeform 614">
                <a:extLst>
                  <a:ext uri="{FF2B5EF4-FFF2-40B4-BE49-F238E27FC236}">
                    <a16:creationId xmlns:a16="http://schemas.microsoft.com/office/drawing/2014/main" id="{1384FFC6-11EB-4D50-B386-AE25C5FC3A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0" y="1264"/>
                <a:ext cx="1210" cy="1052"/>
              </a:xfrm>
              <a:custGeom>
                <a:avLst/>
                <a:gdLst>
                  <a:gd name="T0" fmla="*/ 87 w 513"/>
                  <a:gd name="T1" fmla="*/ 153 h 446"/>
                  <a:gd name="T2" fmla="*/ 99 w 513"/>
                  <a:gd name="T3" fmla="*/ 149 h 446"/>
                  <a:gd name="T4" fmla="*/ 356 w 513"/>
                  <a:gd name="T5" fmla="*/ 137 h 446"/>
                  <a:gd name="T6" fmla="*/ 368 w 513"/>
                  <a:gd name="T7" fmla="*/ 140 h 446"/>
                  <a:gd name="T8" fmla="*/ 461 w 513"/>
                  <a:gd name="T9" fmla="*/ 254 h 446"/>
                  <a:gd name="T10" fmla="*/ 470 w 513"/>
                  <a:gd name="T11" fmla="*/ 446 h 446"/>
                  <a:gd name="T12" fmla="*/ 479 w 513"/>
                  <a:gd name="T13" fmla="*/ 445 h 446"/>
                  <a:gd name="T14" fmla="*/ 512 w 513"/>
                  <a:gd name="T15" fmla="*/ 408 h 446"/>
                  <a:gd name="T16" fmla="*/ 502 w 513"/>
                  <a:gd name="T17" fmla="*/ 196 h 446"/>
                  <a:gd name="T18" fmla="*/ 330 w 513"/>
                  <a:gd name="T19" fmla="*/ 43 h 446"/>
                  <a:gd name="T20" fmla="*/ 134 w 513"/>
                  <a:gd name="T21" fmla="*/ 0 h 446"/>
                  <a:gd name="T22" fmla="*/ 172 w 513"/>
                  <a:gd name="T23" fmla="*/ 40 h 446"/>
                  <a:gd name="T24" fmla="*/ 24 w 513"/>
                  <a:gd name="T25" fmla="*/ 25 h 446"/>
                  <a:gd name="T26" fmla="*/ 24 w 513"/>
                  <a:gd name="T27" fmla="*/ 25 h 446"/>
                  <a:gd name="T28" fmla="*/ 24 w 513"/>
                  <a:gd name="T29" fmla="*/ 25 h 446"/>
                  <a:gd name="T30" fmla="*/ 24 w 513"/>
                  <a:gd name="T31" fmla="*/ 25 h 446"/>
                  <a:gd name="T32" fmla="*/ 83 w 513"/>
                  <a:gd name="T33" fmla="*/ 72 h 446"/>
                  <a:gd name="T34" fmla="*/ 7 w 513"/>
                  <a:gd name="T35" fmla="*/ 247 h 446"/>
                  <a:gd name="T36" fmla="*/ 7 w 513"/>
                  <a:gd name="T37" fmla="*/ 248 h 446"/>
                  <a:gd name="T38" fmla="*/ 87 w 513"/>
                  <a:gd name="T39" fmla="*/ 153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13" h="446">
                    <a:moveTo>
                      <a:pt x="87" y="153"/>
                    </a:moveTo>
                    <a:cubicBezTo>
                      <a:pt x="99" y="149"/>
                      <a:pt x="99" y="149"/>
                      <a:pt x="99" y="149"/>
                    </a:cubicBezTo>
                    <a:cubicBezTo>
                      <a:pt x="181" y="119"/>
                      <a:pt x="271" y="115"/>
                      <a:pt x="356" y="137"/>
                    </a:cubicBezTo>
                    <a:cubicBezTo>
                      <a:pt x="368" y="140"/>
                      <a:pt x="368" y="140"/>
                      <a:pt x="368" y="140"/>
                    </a:cubicBezTo>
                    <a:cubicBezTo>
                      <a:pt x="421" y="153"/>
                      <a:pt x="459" y="199"/>
                      <a:pt x="461" y="254"/>
                    </a:cubicBezTo>
                    <a:cubicBezTo>
                      <a:pt x="470" y="446"/>
                      <a:pt x="470" y="446"/>
                      <a:pt x="470" y="446"/>
                    </a:cubicBezTo>
                    <a:cubicBezTo>
                      <a:pt x="479" y="445"/>
                      <a:pt x="479" y="445"/>
                      <a:pt x="479" y="445"/>
                    </a:cubicBezTo>
                    <a:cubicBezTo>
                      <a:pt x="498" y="444"/>
                      <a:pt x="513" y="428"/>
                      <a:pt x="512" y="408"/>
                    </a:cubicBezTo>
                    <a:cubicBezTo>
                      <a:pt x="502" y="196"/>
                      <a:pt x="502" y="196"/>
                      <a:pt x="502" y="196"/>
                    </a:cubicBezTo>
                    <a:cubicBezTo>
                      <a:pt x="497" y="83"/>
                      <a:pt x="407" y="29"/>
                      <a:pt x="330" y="43"/>
                    </a:cubicBezTo>
                    <a:cubicBezTo>
                      <a:pt x="287" y="19"/>
                      <a:pt x="134" y="0"/>
                      <a:pt x="134" y="0"/>
                    </a:cubicBezTo>
                    <a:cubicBezTo>
                      <a:pt x="172" y="40"/>
                      <a:pt x="172" y="40"/>
                      <a:pt x="172" y="40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83" y="72"/>
                      <a:pt x="83" y="72"/>
                      <a:pt x="83" y="72"/>
                    </a:cubicBezTo>
                    <a:cubicBezTo>
                      <a:pt x="83" y="72"/>
                      <a:pt x="0" y="110"/>
                      <a:pt x="7" y="247"/>
                    </a:cubicBezTo>
                    <a:cubicBezTo>
                      <a:pt x="7" y="248"/>
                      <a:pt x="7" y="248"/>
                      <a:pt x="7" y="248"/>
                    </a:cubicBezTo>
                    <a:cubicBezTo>
                      <a:pt x="14" y="205"/>
                      <a:pt x="44" y="168"/>
                      <a:pt x="87" y="153"/>
                    </a:cubicBezTo>
                    <a:close/>
                  </a:path>
                </a:pathLst>
              </a:custGeom>
              <a:solidFill>
                <a:srgbClr val="73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</p:grpSp>
        <p:grpSp>
          <p:nvGrpSpPr>
            <p:cNvPr id="260" name="Group 925">
              <a:extLst>
                <a:ext uri="{FF2B5EF4-FFF2-40B4-BE49-F238E27FC236}">
                  <a16:creationId xmlns:a16="http://schemas.microsoft.com/office/drawing/2014/main" id="{AF2D664B-D183-491F-BDDE-1D7CA308CD5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816234" y="2938767"/>
              <a:ext cx="411515" cy="412150"/>
              <a:chOff x="2619" y="903"/>
              <a:chExt cx="2592" cy="2596"/>
            </a:xfrm>
          </p:grpSpPr>
          <p:sp>
            <p:nvSpPr>
              <p:cNvPr id="261" name="Oval 926">
                <a:extLst>
                  <a:ext uri="{FF2B5EF4-FFF2-40B4-BE49-F238E27FC236}">
                    <a16:creationId xmlns:a16="http://schemas.microsoft.com/office/drawing/2014/main" id="{0FC0EB97-2423-4D7C-B13A-ED0CA6576C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19" y="903"/>
                <a:ext cx="2592" cy="2596"/>
              </a:xfrm>
              <a:prstGeom prst="ellipse">
                <a:avLst/>
              </a:prstGeom>
              <a:solidFill>
                <a:srgbClr val="F250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62" name="Freeform 927">
                <a:extLst>
                  <a:ext uri="{FF2B5EF4-FFF2-40B4-BE49-F238E27FC236}">
                    <a16:creationId xmlns:a16="http://schemas.microsoft.com/office/drawing/2014/main" id="{27A29B85-F41F-401A-80FA-D54802DCB1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4" y="2666"/>
                <a:ext cx="748" cy="609"/>
              </a:xfrm>
              <a:custGeom>
                <a:avLst/>
                <a:gdLst>
                  <a:gd name="T0" fmla="*/ 647 w 748"/>
                  <a:gd name="T1" fmla="*/ 0 h 609"/>
                  <a:gd name="T2" fmla="*/ 748 w 748"/>
                  <a:gd name="T3" fmla="*/ 609 h 609"/>
                  <a:gd name="T4" fmla="*/ 0 w 748"/>
                  <a:gd name="T5" fmla="*/ 609 h 609"/>
                  <a:gd name="T6" fmla="*/ 120 w 748"/>
                  <a:gd name="T7" fmla="*/ 0 h 609"/>
                  <a:gd name="T8" fmla="*/ 359 w 748"/>
                  <a:gd name="T9" fmla="*/ 19 h 609"/>
                  <a:gd name="T10" fmla="*/ 647 w 748"/>
                  <a:gd name="T11" fmla="*/ 0 h 609"/>
                  <a:gd name="T12" fmla="*/ 647 w 748"/>
                  <a:gd name="T13" fmla="*/ 0 h 609"/>
                  <a:gd name="T14" fmla="*/ 647 w 748"/>
                  <a:gd name="T15" fmla="*/ 0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8" h="609">
                    <a:moveTo>
                      <a:pt x="647" y="0"/>
                    </a:moveTo>
                    <a:lnTo>
                      <a:pt x="748" y="609"/>
                    </a:lnTo>
                    <a:lnTo>
                      <a:pt x="0" y="609"/>
                    </a:lnTo>
                    <a:lnTo>
                      <a:pt x="120" y="0"/>
                    </a:lnTo>
                    <a:lnTo>
                      <a:pt x="359" y="19"/>
                    </a:lnTo>
                    <a:lnTo>
                      <a:pt x="647" y="0"/>
                    </a:lnTo>
                    <a:lnTo>
                      <a:pt x="647" y="0"/>
                    </a:lnTo>
                    <a:lnTo>
                      <a:pt x="647" y="0"/>
                    </a:lnTo>
                    <a:close/>
                  </a:path>
                </a:pathLst>
              </a:custGeom>
              <a:solidFill>
                <a:srgbClr val="DEB69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63" name="Freeform 928">
                <a:extLst>
                  <a:ext uri="{FF2B5EF4-FFF2-40B4-BE49-F238E27FC236}">
                    <a16:creationId xmlns:a16="http://schemas.microsoft.com/office/drawing/2014/main" id="{148BD83D-F46A-40A7-9F33-C6BDA545DA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5" y="2008"/>
                <a:ext cx="217" cy="326"/>
              </a:xfrm>
              <a:custGeom>
                <a:avLst/>
                <a:gdLst>
                  <a:gd name="T0" fmla="*/ 85 w 92"/>
                  <a:gd name="T1" fmla="*/ 138 h 138"/>
                  <a:gd name="T2" fmla="*/ 63 w 92"/>
                  <a:gd name="T3" fmla="*/ 136 h 138"/>
                  <a:gd name="T4" fmla="*/ 2 w 92"/>
                  <a:gd name="T5" fmla="*/ 69 h 138"/>
                  <a:gd name="T6" fmla="*/ 4 w 92"/>
                  <a:gd name="T7" fmla="*/ 41 h 138"/>
                  <a:gd name="T8" fmla="*/ 49 w 92"/>
                  <a:gd name="T9" fmla="*/ 2 h 138"/>
                  <a:gd name="T10" fmla="*/ 49 w 92"/>
                  <a:gd name="T11" fmla="*/ 2 h 138"/>
                  <a:gd name="T12" fmla="*/ 90 w 92"/>
                  <a:gd name="T13" fmla="*/ 47 h 138"/>
                  <a:gd name="T14" fmla="*/ 85 w 92"/>
                  <a:gd name="T15" fmla="*/ 138 h 138"/>
                  <a:gd name="T16" fmla="*/ 85 w 92"/>
                  <a:gd name="T17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" h="138">
                    <a:moveTo>
                      <a:pt x="85" y="138"/>
                    </a:moveTo>
                    <a:cubicBezTo>
                      <a:pt x="63" y="136"/>
                      <a:pt x="63" y="136"/>
                      <a:pt x="63" y="136"/>
                    </a:cubicBezTo>
                    <a:cubicBezTo>
                      <a:pt x="28" y="134"/>
                      <a:pt x="0" y="104"/>
                      <a:pt x="2" y="69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6" y="19"/>
                      <a:pt x="26" y="0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ubicBezTo>
                      <a:pt x="74" y="3"/>
                      <a:pt x="92" y="23"/>
                      <a:pt x="90" y="47"/>
                    </a:cubicBezTo>
                    <a:cubicBezTo>
                      <a:pt x="85" y="138"/>
                      <a:pt x="85" y="138"/>
                      <a:pt x="85" y="138"/>
                    </a:cubicBezTo>
                    <a:cubicBezTo>
                      <a:pt x="85" y="138"/>
                      <a:pt x="85" y="138"/>
                      <a:pt x="85" y="138"/>
                    </a:cubicBezTo>
                    <a:close/>
                  </a:path>
                </a:pathLst>
              </a:custGeom>
              <a:solidFill>
                <a:srgbClr val="F6CA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64" name="Freeform 929">
                <a:extLst>
                  <a:ext uri="{FF2B5EF4-FFF2-40B4-BE49-F238E27FC236}">
                    <a16:creationId xmlns:a16="http://schemas.microsoft.com/office/drawing/2014/main" id="{71EB20EC-B456-4613-AC66-6D13DAA922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3" y="2084"/>
                <a:ext cx="217" cy="316"/>
              </a:xfrm>
              <a:custGeom>
                <a:avLst/>
                <a:gdLst>
                  <a:gd name="T0" fmla="*/ 0 w 92"/>
                  <a:gd name="T1" fmla="*/ 131 h 134"/>
                  <a:gd name="T2" fmla="*/ 20 w 92"/>
                  <a:gd name="T3" fmla="*/ 132 h 134"/>
                  <a:gd name="T4" fmla="*/ 89 w 92"/>
                  <a:gd name="T5" fmla="*/ 73 h 134"/>
                  <a:gd name="T6" fmla="*/ 90 w 92"/>
                  <a:gd name="T7" fmla="*/ 46 h 134"/>
                  <a:gd name="T8" fmla="*/ 51 w 92"/>
                  <a:gd name="T9" fmla="*/ 2 h 134"/>
                  <a:gd name="T10" fmla="*/ 51 w 92"/>
                  <a:gd name="T11" fmla="*/ 2 h 134"/>
                  <a:gd name="T12" fmla="*/ 6 w 92"/>
                  <a:gd name="T13" fmla="*/ 41 h 134"/>
                  <a:gd name="T14" fmla="*/ 0 w 92"/>
                  <a:gd name="T15" fmla="*/ 131 h 134"/>
                  <a:gd name="T16" fmla="*/ 0 w 92"/>
                  <a:gd name="T17" fmla="*/ 131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" h="134">
                    <a:moveTo>
                      <a:pt x="0" y="131"/>
                    </a:moveTo>
                    <a:cubicBezTo>
                      <a:pt x="20" y="132"/>
                      <a:pt x="20" y="132"/>
                      <a:pt x="20" y="132"/>
                    </a:cubicBezTo>
                    <a:cubicBezTo>
                      <a:pt x="56" y="134"/>
                      <a:pt x="86" y="108"/>
                      <a:pt x="89" y="73"/>
                    </a:cubicBezTo>
                    <a:cubicBezTo>
                      <a:pt x="90" y="46"/>
                      <a:pt x="90" y="46"/>
                      <a:pt x="90" y="46"/>
                    </a:cubicBezTo>
                    <a:cubicBezTo>
                      <a:pt x="92" y="23"/>
                      <a:pt x="74" y="3"/>
                      <a:pt x="51" y="2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27" y="0"/>
                      <a:pt x="7" y="18"/>
                      <a:pt x="6" y="41"/>
                    </a:cubicBezTo>
                    <a:cubicBezTo>
                      <a:pt x="0" y="131"/>
                      <a:pt x="0" y="131"/>
                      <a:pt x="0" y="131"/>
                    </a:cubicBezTo>
                    <a:cubicBezTo>
                      <a:pt x="0" y="131"/>
                      <a:pt x="0" y="131"/>
                      <a:pt x="0" y="131"/>
                    </a:cubicBezTo>
                    <a:close/>
                  </a:path>
                </a:pathLst>
              </a:custGeom>
              <a:solidFill>
                <a:srgbClr val="DEB69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65" name="Freeform 930">
                <a:extLst>
                  <a:ext uri="{FF2B5EF4-FFF2-40B4-BE49-F238E27FC236}">
                    <a16:creationId xmlns:a16="http://schemas.microsoft.com/office/drawing/2014/main" id="{8986AA6D-A27C-4133-B2E7-0ABFCC91BC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6" y="1353"/>
                <a:ext cx="1199" cy="1464"/>
              </a:xfrm>
              <a:custGeom>
                <a:avLst/>
                <a:gdLst>
                  <a:gd name="T0" fmla="*/ 236 w 508"/>
                  <a:gd name="T1" fmla="*/ 612 h 621"/>
                  <a:gd name="T2" fmla="*/ 236 w 508"/>
                  <a:gd name="T3" fmla="*/ 612 h 621"/>
                  <a:gd name="T4" fmla="*/ 7 w 508"/>
                  <a:gd name="T5" fmla="*/ 357 h 621"/>
                  <a:gd name="T6" fmla="*/ 15 w 508"/>
                  <a:gd name="T7" fmla="*/ 234 h 621"/>
                  <a:gd name="T8" fmla="*/ 273 w 508"/>
                  <a:gd name="T9" fmla="*/ 7 h 621"/>
                  <a:gd name="T10" fmla="*/ 273 w 508"/>
                  <a:gd name="T11" fmla="*/ 7 h 621"/>
                  <a:gd name="T12" fmla="*/ 501 w 508"/>
                  <a:gd name="T13" fmla="*/ 263 h 621"/>
                  <a:gd name="T14" fmla="*/ 494 w 508"/>
                  <a:gd name="T15" fmla="*/ 386 h 621"/>
                  <a:gd name="T16" fmla="*/ 236 w 508"/>
                  <a:gd name="T17" fmla="*/ 612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8" h="621">
                    <a:moveTo>
                      <a:pt x="236" y="612"/>
                    </a:moveTo>
                    <a:cubicBezTo>
                      <a:pt x="236" y="612"/>
                      <a:pt x="236" y="612"/>
                      <a:pt x="236" y="612"/>
                    </a:cubicBezTo>
                    <a:cubicBezTo>
                      <a:pt x="102" y="605"/>
                      <a:pt x="0" y="491"/>
                      <a:pt x="7" y="357"/>
                    </a:cubicBezTo>
                    <a:cubicBezTo>
                      <a:pt x="15" y="234"/>
                      <a:pt x="15" y="234"/>
                      <a:pt x="15" y="234"/>
                    </a:cubicBezTo>
                    <a:cubicBezTo>
                      <a:pt x="23" y="101"/>
                      <a:pt x="138" y="0"/>
                      <a:pt x="273" y="7"/>
                    </a:cubicBezTo>
                    <a:cubicBezTo>
                      <a:pt x="273" y="7"/>
                      <a:pt x="273" y="7"/>
                      <a:pt x="273" y="7"/>
                    </a:cubicBezTo>
                    <a:cubicBezTo>
                      <a:pt x="406" y="15"/>
                      <a:pt x="508" y="130"/>
                      <a:pt x="501" y="263"/>
                    </a:cubicBezTo>
                    <a:cubicBezTo>
                      <a:pt x="494" y="386"/>
                      <a:pt x="494" y="386"/>
                      <a:pt x="494" y="386"/>
                    </a:cubicBezTo>
                    <a:cubicBezTo>
                      <a:pt x="485" y="519"/>
                      <a:pt x="370" y="621"/>
                      <a:pt x="236" y="612"/>
                    </a:cubicBezTo>
                    <a:close/>
                  </a:path>
                </a:pathLst>
              </a:custGeom>
              <a:solidFill>
                <a:srgbClr val="BB91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66" name="Freeform 931">
                <a:extLst>
                  <a:ext uri="{FF2B5EF4-FFF2-40B4-BE49-F238E27FC236}">
                    <a16:creationId xmlns:a16="http://schemas.microsoft.com/office/drawing/2014/main" id="{178FE87F-BC5D-4E4B-A223-BAC732068B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3" y="1353"/>
                <a:ext cx="1182" cy="1464"/>
              </a:xfrm>
              <a:custGeom>
                <a:avLst/>
                <a:gdLst>
                  <a:gd name="T0" fmla="*/ 265 w 501"/>
                  <a:gd name="T1" fmla="*/ 7 h 621"/>
                  <a:gd name="T2" fmla="*/ 7 w 501"/>
                  <a:gd name="T3" fmla="*/ 234 h 621"/>
                  <a:gd name="T4" fmla="*/ 6 w 501"/>
                  <a:gd name="T5" fmla="*/ 257 h 621"/>
                  <a:gd name="T6" fmla="*/ 0 w 501"/>
                  <a:gd name="T7" fmla="*/ 382 h 621"/>
                  <a:gd name="T8" fmla="*/ 229 w 501"/>
                  <a:gd name="T9" fmla="*/ 612 h 621"/>
                  <a:gd name="T10" fmla="*/ 487 w 501"/>
                  <a:gd name="T11" fmla="*/ 386 h 621"/>
                  <a:gd name="T12" fmla="*/ 494 w 501"/>
                  <a:gd name="T13" fmla="*/ 263 h 621"/>
                  <a:gd name="T14" fmla="*/ 265 w 501"/>
                  <a:gd name="T15" fmla="*/ 7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01" h="621">
                    <a:moveTo>
                      <a:pt x="265" y="7"/>
                    </a:moveTo>
                    <a:cubicBezTo>
                      <a:pt x="131" y="0"/>
                      <a:pt x="16" y="101"/>
                      <a:pt x="7" y="234"/>
                    </a:cubicBezTo>
                    <a:cubicBezTo>
                      <a:pt x="6" y="257"/>
                      <a:pt x="6" y="257"/>
                      <a:pt x="6" y="257"/>
                    </a:cubicBezTo>
                    <a:cubicBezTo>
                      <a:pt x="0" y="382"/>
                      <a:pt x="0" y="382"/>
                      <a:pt x="0" y="382"/>
                    </a:cubicBezTo>
                    <a:cubicBezTo>
                      <a:pt x="5" y="504"/>
                      <a:pt x="103" y="605"/>
                      <a:pt x="229" y="612"/>
                    </a:cubicBezTo>
                    <a:cubicBezTo>
                      <a:pt x="363" y="621"/>
                      <a:pt x="478" y="519"/>
                      <a:pt x="487" y="386"/>
                    </a:cubicBezTo>
                    <a:cubicBezTo>
                      <a:pt x="494" y="263"/>
                      <a:pt x="494" y="263"/>
                      <a:pt x="494" y="263"/>
                    </a:cubicBezTo>
                    <a:cubicBezTo>
                      <a:pt x="501" y="130"/>
                      <a:pt x="399" y="15"/>
                      <a:pt x="265" y="7"/>
                    </a:cubicBezTo>
                    <a:close/>
                  </a:path>
                </a:pathLst>
              </a:custGeom>
              <a:solidFill>
                <a:srgbClr val="F6CA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67" name="Freeform 932">
                <a:extLst>
                  <a:ext uri="{FF2B5EF4-FFF2-40B4-BE49-F238E27FC236}">
                    <a16:creationId xmlns:a16="http://schemas.microsoft.com/office/drawing/2014/main" id="{71BE0A6B-04D7-45E9-9ADB-B7E14C2801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3" y="2018"/>
                <a:ext cx="642" cy="799"/>
              </a:xfrm>
              <a:custGeom>
                <a:avLst/>
                <a:gdLst>
                  <a:gd name="T0" fmla="*/ 266 w 272"/>
                  <a:gd name="T1" fmla="*/ 62 h 339"/>
                  <a:gd name="T2" fmla="*/ 266 w 272"/>
                  <a:gd name="T3" fmla="*/ 62 h 339"/>
                  <a:gd name="T4" fmla="*/ 221 w 272"/>
                  <a:gd name="T5" fmla="*/ 18 h 339"/>
                  <a:gd name="T6" fmla="*/ 164 w 272"/>
                  <a:gd name="T7" fmla="*/ 2 h 339"/>
                  <a:gd name="T8" fmla="*/ 85 w 272"/>
                  <a:gd name="T9" fmla="*/ 65 h 339"/>
                  <a:gd name="T10" fmla="*/ 95 w 272"/>
                  <a:gd name="T11" fmla="*/ 130 h 339"/>
                  <a:gd name="T12" fmla="*/ 65 w 272"/>
                  <a:gd name="T13" fmla="*/ 163 h 339"/>
                  <a:gd name="T14" fmla="*/ 58 w 272"/>
                  <a:gd name="T15" fmla="*/ 162 h 339"/>
                  <a:gd name="T16" fmla="*/ 33 w 272"/>
                  <a:gd name="T17" fmla="*/ 184 h 339"/>
                  <a:gd name="T18" fmla="*/ 28 w 272"/>
                  <a:gd name="T19" fmla="*/ 269 h 339"/>
                  <a:gd name="T20" fmla="*/ 28 w 272"/>
                  <a:gd name="T21" fmla="*/ 279 h 339"/>
                  <a:gd name="T22" fmla="*/ 0 w 272"/>
                  <a:gd name="T23" fmla="*/ 339 h 339"/>
                  <a:gd name="T24" fmla="*/ 114 w 272"/>
                  <a:gd name="T25" fmla="*/ 328 h 339"/>
                  <a:gd name="T26" fmla="*/ 139 w 272"/>
                  <a:gd name="T27" fmla="*/ 307 h 339"/>
                  <a:gd name="T28" fmla="*/ 272 w 272"/>
                  <a:gd name="T29" fmla="*/ 129 h 339"/>
                  <a:gd name="T30" fmla="*/ 266 w 272"/>
                  <a:gd name="T31" fmla="*/ 62 h 339"/>
                  <a:gd name="T32" fmla="*/ 266 w 272"/>
                  <a:gd name="T33" fmla="*/ 62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2" h="339">
                    <a:moveTo>
                      <a:pt x="266" y="62"/>
                    </a:moveTo>
                    <a:cubicBezTo>
                      <a:pt x="266" y="62"/>
                      <a:pt x="266" y="62"/>
                      <a:pt x="266" y="62"/>
                    </a:cubicBezTo>
                    <a:cubicBezTo>
                      <a:pt x="256" y="22"/>
                      <a:pt x="221" y="18"/>
                      <a:pt x="221" y="18"/>
                    </a:cubicBezTo>
                    <a:cubicBezTo>
                      <a:pt x="164" y="2"/>
                      <a:pt x="164" y="2"/>
                      <a:pt x="164" y="2"/>
                    </a:cubicBezTo>
                    <a:cubicBezTo>
                      <a:pt x="129" y="0"/>
                      <a:pt x="80" y="32"/>
                      <a:pt x="85" y="65"/>
                    </a:cubicBezTo>
                    <a:cubicBezTo>
                      <a:pt x="95" y="130"/>
                      <a:pt x="95" y="130"/>
                      <a:pt x="95" y="130"/>
                    </a:cubicBezTo>
                    <a:cubicBezTo>
                      <a:pt x="97" y="148"/>
                      <a:pt x="83" y="164"/>
                      <a:pt x="65" y="163"/>
                    </a:cubicBezTo>
                    <a:cubicBezTo>
                      <a:pt x="58" y="162"/>
                      <a:pt x="58" y="162"/>
                      <a:pt x="58" y="162"/>
                    </a:cubicBezTo>
                    <a:cubicBezTo>
                      <a:pt x="45" y="161"/>
                      <a:pt x="34" y="171"/>
                      <a:pt x="33" y="184"/>
                    </a:cubicBezTo>
                    <a:cubicBezTo>
                      <a:pt x="28" y="269"/>
                      <a:pt x="28" y="269"/>
                      <a:pt x="28" y="269"/>
                    </a:cubicBezTo>
                    <a:cubicBezTo>
                      <a:pt x="28" y="279"/>
                      <a:pt x="28" y="279"/>
                      <a:pt x="28" y="279"/>
                    </a:cubicBezTo>
                    <a:cubicBezTo>
                      <a:pt x="26" y="298"/>
                      <a:pt x="16" y="328"/>
                      <a:pt x="0" y="339"/>
                    </a:cubicBezTo>
                    <a:cubicBezTo>
                      <a:pt x="114" y="328"/>
                      <a:pt x="114" y="328"/>
                      <a:pt x="114" y="328"/>
                    </a:cubicBezTo>
                    <a:cubicBezTo>
                      <a:pt x="139" y="307"/>
                      <a:pt x="139" y="307"/>
                      <a:pt x="139" y="307"/>
                    </a:cubicBezTo>
                    <a:cubicBezTo>
                      <a:pt x="208" y="273"/>
                      <a:pt x="259" y="208"/>
                      <a:pt x="272" y="129"/>
                    </a:cubicBezTo>
                    <a:cubicBezTo>
                      <a:pt x="266" y="62"/>
                      <a:pt x="266" y="62"/>
                      <a:pt x="266" y="62"/>
                    </a:cubicBezTo>
                    <a:cubicBezTo>
                      <a:pt x="266" y="62"/>
                      <a:pt x="266" y="62"/>
                      <a:pt x="266" y="62"/>
                    </a:cubicBezTo>
                    <a:close/>
                  </a:path>
                </a:pathLst>
              </a:custGeom>
              <a:solidFill>
                <a:srgbClr val="DEB69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68" name="Freeform 933">
                <a:extLst>
                  <a:ext uri="{FF2B5EF4-FFF2-40B4-BE49-F238E27FC236}">
                    <a16:creationId xmlns:a16="http://schemas.microsoft.com/office/drawing/2014/main" id="{736BCBA8-04A7-479F-BFBE-89E0B837E5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0" y="2758"/>
                <a:ext cx="1792" cy="741"/>
              </a:xfrm>
              <a:custGeom>
                <a:avLst/>
                <a:gdLst>
                  <a:gd name="T0" fmla="*/ 384 w 759"/>
                  <a:gd name="T1" fmla="*/ 314 h 314"/>
                  <a:gd name="T2" fmla="*/ 759 w 759"/>
                  <a:gd name="T3" fmla="*/ 166 h 314"/>
                  <a:gd name="T4" fmla="*/ 733 w 759"/>
                  <a:gd name="T5" fmla="*/ 151 h 314"/>
                  <a:gd name="T6" fmla="*/ 521 w 759"/>
                  <a:gd name="T7" fmla="*/ 89 h 314"/>
                  <a:gd name="T8" fmla="*/ 502 w 759"/>
                  <a:gd name="T9" fmla="*/ 0 h 314"/>
                  <a:gd name="T10" fmla="*/ 443 w 759"/>
                  <a:gd name="T11" fmla="*/ 24 h 314"/>
                  <a:gd name="T12" fmla="*/ 367 w 759"/>
                  <a:gd name="T13" fmla="*/ 158 h 314"/>
                  <a:gd name="T14" fmla="*/ 306 w 759"/>
                  <a:gd name="T15" fmla="*/ 33 h 314"/>
                  <a:gd name="T16" fmla="*/ 246 w 759"/>
                  <a:gd name="T17" fmla="*/ 1 h 314"/>
                  <a:gd name="T18" fmla="*/ 214 w 759"/>
                  <a:gd name="T19" fmla="*/ 94 h 314"/>
                  <a:gd name="T20" fmla="*/ 0 w 759"/>
                  <a:gd name="T21" fmla="*/ 158 h 314"/>
                  <a:gd name="T22" fmla="*/ 384 w 759"/>
                  <a:gd name="T23" fmla="*/ 314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59" h="314">
                    <a:moveTo>
                      <a:pt x="384" y="314"/>
                    </a:moveTo>
                    <a:cubicBezTo>
                      <a:pt x="529" y="314"/>
                      <a:pt x="661" y="257"/>
                      <a:pt x="759" y="166"/>
                    </a:cubicBezTo>
                    <a:cubicBezTo>
                      <a:pt x="752" y="160"/>
                      <a:pt x="743" y="154"/>
                      <a:pt x="733" y="151"/>
                    </a:cubicBezTo>
                    <a:cubicBezTo>
                      <a:pt x="521" y="89"/>
                      <a:pt x="521" y="89"/>
                      <a:pt x="521" y="89"/>
                    </a:cubicBezTo>
                    <a:cubicBezTo>
                      <a:pt x="502" y="0"/>
                      <a:pt x="502" y="0"/>
                      <a:pt x="502" y="0"/>
                    </a:cubicBezTo>
                    <a:cubicBezTo>
                      <a:pt x="443" y="24"/>
                      <a:pt x="443" y="24"/>
                      <a:pt x="443" y="24"/>
                    </a:cubicBezTo>
                    <a:cubicBezTo>
                      <a:pt x="367" y="158"/>
                      <a:pt x="367" y="158"/>
                      <a:pt x="367" y="158"/>
                    </a:cubicBezTo>
                    <a:cubicBezTo>
                      <a:pt x="306" y="33"/>
                      <a:pt x="306" y="33"/>
                      <a:pt x="306" y="33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14" y="94"/>
                      <a:pt x="214" y="94"/>
                      <a:pt x="214" y="94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100" y="255"/>
                      <a:pt x="235" y="314"/>
                      <a:pt x="384" y="314"/>
                    </a:cubicBezTo>
                    <a:close/>
                  </a:path>
                </a:pathLst>
              </a:cu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69" name="Freeform 934">
                <a:extLst>
                  <a:ext uri="{FF2B5EF4-FFF2-40B4-BE49-F238E27FC236}">
                    <a16:creationId xmlns:a16="http://schemas.microsoft.com/office/drawing/2014/main" id="{47695F71-D4D8-4531-822A-31AC306A97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0" y="2841"/>
                <a:ext cx="217" cy="250"/>
              </a:xfrm>
              <a:custGeom>
                <a:avLst/>
                <a:gdLst>
                  <a:gd name="T0" fmla="*/ 217 w 217"/>
                  <a:gd name="T1" fmla="*/ 200 h 250"/>
                  <a:gd name="T2" fmla="*/ 113 w 217"/>
                  <a:gd name="T3" fmla="*/ 0 h 250"/>
                  <a:gd name="T4" fmla="*/ 0 w 217"/>
                  <a:gd name="T5" fmla="*/ 250 h 250"/>
                  <a:gd name="T6" fmla="*/ 148 w 217"/>
                  <a:gd name="T7" fmla="*/ 155 h 250"/>
                  <a:gd name="T8" fmla="*/ 217 w 217"/>
                  <a:gd name="T9" fmla="*/ 200 h 250"/>
                  <a:gd name="T10" fmla="*/ 217 w 217"/>
                  <a:gd name="T11" fmla="*/ 200 h 250"/>
                  <a:gd name="T12" fmla="*/ 217 w 217"/>
                  <a:gd name="T13" fmla="*/ 20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7" h="250">
                    <a:moveTo>
                      <a:pt x="217" y="200"/>
                    </a:moveTo>
                    <a:lnTo>
                      <a:pt x="113" y="0"/>
                    </a:lnTo>
                    <a:lnTo>
                      <a:pt x="0" y="250"/>
                    </a:lnTo>
                    <a:lnTo>
                      <a:pt x="148" y="155"/>
                    </a:lnTo>
                    <a:lnTo>
                      <a:pt x="217" y="200"/>
                    </a:lnTo>
                    <a:lnTo>
                      <a:pt x="217" y="200"/>
                    </a:lnTo>
                    <a:lnTo>
                      <a:pt x="217" y="200"/>
                    </a:lnTo>
                    <a:close/>
                  </a:path>
                </a:pathLst>
              </a:custGeom>
              <a:solidFill>
                <a:srgbClr val="008C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70" name="Freeform 935">
                <a:extLst>
                  <a:ext uri="{FF2B5EF4-FFF2-40B4-BE49-F238E27FC236}">
                    <a16:creationId xmlns:a16="http://schemas.microsoft.com/office/drawing/2014/main" id="{84BDDAE8-EFC7-44F7-9637-925CD05A3B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9" y="2817"/>
                <a:ext cx="241" cy="274"/>
              </a:xfrm>
              <a:custGeom>
                <a:avLst/>
                <a:gdLst>
                  <a:gd name="T0" fmla="*/ 127 w 241"/>
                  <a:gd name="T1" fmla="*/ 0 h 274"/>
                  <a:gd name="T2" fmla="*/ 241 w 241"/>
                  <a:gd name="T3" fmla="*/ 274 h 274"/>
                  <a:gd name="T4" fmla="*/ 120 w 241"/>
                  <a:gd name="T5" fmla="*/ 168 h 274"/>
                  <a:gd name="T6" fmla="*/ 0 w 241"/>
                  <a:gd name="T7" fmla="*/ 224 h 274"/>
                  <a:gd name="T8" fmla="*/ 127 w 241"/>
                  <a:gd name="T9" fmla="*/ 0 h 274"/>
                  <a:gd name="T10" fmla="*/ 127 w 241"/>
                  <a:gd name="T11" fmla="*/ 0 h 274"/>
                  <a:gd name="T12" fmla="*/ 127 w 241"/>
                  <a:gd name="T13" fmla="*/ 0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1" h="274">
                    <a:moveTo>
                      <a:pt x="127" y="0"/>
                    </a:moveTo>
                    <a:lnTo>
                      <a:pt x="241" y="274"/>
                    </a:lnTo>
                    <a:lnTo>
                      <a:pt x="120" y="168"/>
                    </a:lnTo>
                    <a:lnTo>
                      <a:pt x="0" y="224"/>
                    </a:lnTo>
                    <a:lnTo>
                      <a:pt x="127" y="0"/>
                    </a:lnTo>
                    <a:lnTo>
                      <a:pt x="127" y="0"/>
                    </a:lnTo>
                    <a:lnTo>
                      <a:pt x="127" y="0"/>
                    </a:lnTo>
                    <a:close/>
                  </a:path>
                </a:pathLst>
              </a:custGeom>
              <a:solidFill>
                <a:srgbClr val="008C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71" name="Freeform 936">
                <a:extLst>
                  <a:ext uri="{FF2B5EF4-FFF2-40B4-BE49-F238E27FC236}">
                    <a16:creationId xmlns:a16="http://schemas.microsoft.com/office/drawing/2014/main" id="{B49F9105-31EE-4AE8-8C32-AA61A1D22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3" y="1905"/>
                <a:ext cx="335" cy="162"/>
              </a:xfrm>
              <a:custGeom>
                <a:avLst/>
                <a:gdLst>
                  <a:gd name="T0" fmla="*/ 126 w 142"/>
                  <a:gd name="T1" fmla="*/ 69 h 69"/>
                  <a:gd name="T2" fmla="*/ 118 w 142"/>
                  <a:gd name="T3" fmla="*/ 67 h 69"/>
                  <a:gd name="T4" fmla="*/ 24 w 142"/>
                  <a:gd name="T5" fmla="*/ 61 h 69"/>
                  <a:gd name="T6" fmla="*/ 4 w 142"/>
                  <a:gd name="T7" fmla="*/ 56 h 69"/>
                  <a:gd name="T8" fmla="*/ 8 w 142"/>
                  <a:gd name="T9" fmla="*/ 37 h 69"/>
                  <a:gd name="T10" fmla="*/ 133 w 142"/>
                  <a:gd name="T11" fmla="*/ 43 h 69"/>
                  <a:gd name="T12" fmla="*/ 137 w 142"/>
                  <a:gd name="T13" fmla="*/ 63 h 69"/>
                  <a:gd name="T14" fmla="*/ 126 w 142"/>
                  <a:gd name="T15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" h="69">
                    <a:moveTo>
                      <a:pt x="126" y="69"/>
                    </a:moveTo>
                    <a:cubicBezTo>
                      <a:pt x="123" y="69"/>
                      <a:pt x="120" y="68"/>
                      <a:pt x="118" y="67"/>
                    </a:cubicBezTo>
                    <a:cubicBezTo>
                      <a:pt x="67" y="33"/>
                      <a:pt x="24" y="60"/>
                      <a:pt x="24" y="61"/>
                    </a:cubicBezTo>
                    <a:cubicBezTo>
                      <a:pt x="17" y="65"/>
                      <a:pt x="8" y="63"/>
                      <a:pt x="4" y="56"/>
                    </a:cubicBezTo>
                    <a:cubicBezTo>
                      <a:pt x="0" y="50"/>
                      <a:pt x="2" y="41"/>
                      <a:pt x="8" y="37"/>
                    </a:cubicBezTo>
                    <a:cubicBezTo>
                      <a:pt x="11" y="35"/>
                      <a:pt x="67" y="0"/>
                      <a:pt x="133" y="43"/>
                    </a:cubicBezTo>
                    <a:cubicBezTo>
                      <a:pt x="140" y="47"/>
                      <a:pt x="142" y="56"/>
                      <a:pt x="137" y="63"/>
                    </a:cubicBezTo>
                    <a:cubicBezTo>
                      <a:pt x="135" y="67"/>
                      <a:pt x="130" y="69"/>
                      <a:pt x="126" y="69"/>
                    </a:cubicBezTo>
                    <a:close/>
                  </a:path>
                </a:pathLst>
              </a:custGeom>
              <a:solidFill>
                <a:srgbClr val="66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72" name="Freeform 937">
                <a:extLst>
                  <a:ext uri="{FF2B5EF4-FFF2-40B4-BE49-F238E27FC236}">
                    <a16:creationId xmlns:a16="http://schemas.microsoft.com/office/drawing/2014/main" id="{F39A8293-ADEA-4BCE-B48B-033ABD2390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6" y="1938"/>
                <a:ext cx="325" cy="162"/>
              </a:xfrm>
              <a:custGeom>
                <a:avLst/>
                <a:gdLst>
                  <a:gd name="T0" fmla="*/ 122 w 138"/>
                  <a:gd name="T1" fmla="*/ 69 h 69"/>
                  <a:gd name="T2" fmla="*/ 114 w 138"/>
                  <a:gd name="T3" fmla="*/ 67 h 69"/>
                  <a:gd name="T4" fmla="*/ 24 w 138"/>
                  <a:gd name="T5" fmla="*/ 61 h 69"/>
                  <a:gd name="T6" fmla="*/ 4 w 138"/>
                  <a:gd name="T7" fmla="*/ 56 h 69"/>
                  <a:gd name="T8" fmla="*/ 8 w 138"/>
                  <a:gd name="T9" fmla="*/ 37 h 69"/>
                  <a:gd name="T10" fmla="*/ 130 w 138"/>
                  <a:gd name="T11" fmla="*/ 43 h 69"/>
                  <a:gd name="T12" fmla="*/ 133 w 138"/>
                  <a:gd name="T13" fmla="*/ 63 h 69"/>
                  <a:gd name="T14" fmla="*/ 122 w 138"/>
                  <a:gd name="T15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8" h="69">
                    <a:moveTo>
                      <a:pt x="122" y="69"/>
                    </a:moveTo>
                    <a:cubicBezTo>
                      <a:pt x="119" y="69"/>
                      <a:pt x="116" y="68"/>
                      <a:pt x="114" y="67"/>
                    </a:cubicBezTo>
                    <a:cubicBezTo>
                      <a:pt x="66" y="34"/>
                      <a:pt x="25" y="59"/>
                      <a:pt x="24" y="61"/>
                    </a:cubicBezTo>
                    <a:cubicBezTo>
                      <a:pt x="17" y="65"/>
                      <a:pt x="8" y="63"/>
                      <a:pt x="4" y="56"/>
                    </a:cubicBezTo>
                    <a:cubicBezTo>
                      <a:pt x="0" y="50"/>
                      <a:pt x="2" y="41"/>
                      <a:pt x="8" y="37"/>
                    </a:cubicBezTo>
                    <a:cubicBezTo>
                      <a:pt x="10" y="35"/>
                      <a:pt x="66" y="0"/>
                      <a:pt x="130" y="43"/>
                    </a:cubicBezTo>
                    <a:cubicBezTo>
                      <a:pt x="136" y="48"/>
                      <a:pt x="138" y="57"/>
                      <a:pt x="133" y="63"/>
                    </a:cubicBezTo>
                    <a:cubicBezTo>
                      <a:pt x="131" y="67"/>
                      <a:pt x="126" y="69"/>
                      <a:pt x="122" y="69"/>
                    </a:cubicBezTo>
                    <a:close/>
                  </a:path>
                </a:pathLst>
              </a:custGeom>
              <a:solidFill>
                <a:srgbClr val="66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73" name="Freeform 938">
                <a:extLst>
                  <a:ext uri="{FF2B5EF4-FFF2-40B4-BE49-F238E27FC236}">
                    <a16:creationId xmlns:a16="http://schemas.microsoft.com/office/drawing/2014/main" id="{CBED85F2-95FD-4776-855E-4A7AE86D9B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9" y="1202"/>
                <a:ext cx="1173" cy="1158"/>
              </a:xfrm>
              <a:custGeom>
                <a:avLst/>
                <a:gdLst>
                  <a:gd name="T0" fmla="*/ 268 w 497"/>
                  <a:gd name="T1" fmla="*/ 30 h 491"/>
                  <a:gd name="T2" fmla="*/ 273 w 497"/>
                  <a:gd name="T3" fmla="*/ 0 h 491"/>
                  <a:gd name="T4" fmla="*/ 208 w 497"/>
                  <a:gd name="T5" fmla="*/ 31 h 491"/>
                  <a:gd name="T6" fmla="*/ 12 w 497"/>
                  <a:gd name="T7" fmla="*/ 193 h 491"/>
                  <a:gd name="T8" fmla="*/ 5 w 497"/>
                  <a:gd name="T9" fmla="*/ 353 h 491"/>
                  <a:gd name="T10" fmla="*/ 0 w 497"/>
                  <a:gd name="T11" fmla="*/ 426 h 491"/>
                  <a:gd name="T12" fmla="*/ 17 w 497"/>
                  <a:gd name="T13" fmla="*/ 437 h 491"/>
                  <a:gd name="T14" fmla="*/ 31 w 497"/>
                  <a:gd name="T15" fmla="*/ 280 h 491"/>
                  <a:gd name="T16" fmla="*/ 120 w 497"/>
                  <a:gd name="T17" fmla="*/ 192 h 491"/>
                  <a:gd name="T18" fmla="*/ 131 w 497"/>
                  <a:gd name="T19" fmla="*/ 190 h 491"/>
                  <a:gd name="T20" fmla="*/ 252 w 497"/>
                  <a:gd name="T21" fmla="*/ 214 h 491"/>
                  <a:gd name="T22" fmla="*/ 362 w 497"/>
                  <a:gd name="T23" fmla="*/ 204 h 491"/>
                  <a:gd name="T24" fmla="*/ 372 w 497"/>
                  <a:gd name="T25" fmla="*/ 208 h 491"/>
                  <a:gd name="T26" fmla="*/ 445 w 497"/>
                  <a:gd name="T27" fmla="*/ 318 h 491"/>
                  <a:gd name="T28" fmla="*/ 435 w 497"/>
                  <a:gd name="T29" fmla="*/ 489 h 491"/>
                  <a:gd name="T30" fmla="*/ 442 w 497"/>
                  <a:gd name="T31" fmla="*/ 490 h 491"/>
                  <a:gd name="T32" fmla="*/ 475 w 497"/>
                  <a:gd name="T33" fmla="*/ 459 h 491"/>
                  <a:gd name="T34" fmla="*/ 489 w 497"/>
                  <a:gd name="T35" fmla="*/ 231 h 491"/>
                  <a:gd name="T36" fmla="*/ 268 w 497"/>
                  <a:gd name="T37" fmla="*/ 30 h 4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97" h="491">
                    <a:moveTo>
                      <a:pt x="268" y="30"/>
                    </a:moveTo>
                    <a:cubicBezTo>
                      <a:pt x="276" y="5"/>
                      <a:pt x="273" y="0"/>
                      <a:pt x="273" y="0"/>
                    </a:cubicBezTo>
                    <a:cubicBezTo>
                      <a:pt x="273" y="0"/>
                      <a:pt x="260" y="25"/>
                      <a:pt x="208" y="31"/>
                    </a:cubicBezTo>
                    <a:cubicBezTo>
                      <a:pt x="155" y="38"/>
                      <a:pt x="58" y="67"/>
                      <a:pt x="12" y="193"/>
                    </a:cubicBezTo>
                    <a:cubicBezTo>
                      <a:pt x="4" y="219"/>
                      <a:pt x="5" y="353"/>
                      <a:pt x="5" y="353"/>
                    </a:cubicBezTo>
                    <a:cubicBezTo>
                      <a:pt x="0" y="426"/>
                      <a:pt x="0" y="426"/>
                      <a:pt x="0" y="426"/>
                    </a:cubicBezTo>
                    <a:cubicBezTo>
                      <a:pt x="0" y="443"/>
                      <a:pt x="17" y="437"/>
                      <a:pt x="17" y="437"/>
                    </a:cubicBezTo>
                    <a:cubicBezTo>
                      <a:pt x="31" y="280"/>
                      <a:pt x="31" y="280"/>
                      <a:pt x="31" y="280"/>
                    </a:cubicBezTo>
                    <a:cubicBezTo>
                      <a:pt x="34" y="232"/>
                      <a:pt x="72" y="204"/>
                      <a:pt x="120" y="192"/>
                    </a:cubicBezTo>
                    <a:cubicBezTo>
                      <a:pt x="131" y="190"/>
                      <a:pt x="131" y="190"/>
                      <a:pt x="131" y="190"/>
                    </a:cubicBezTo>
                    <a:cubicBezTo>
                      <a:pt x="171" y="180"/>
                      <a:pt x="212" y="212"/>
                      <a:pt x="252" y="214"/>
                    </a:cubicBezTo>
                    <a:cubicBezTo>
                      <a:pt x="289" y="217"/>
                      <a:pt x="326" y="190"/>
                      <a:pt x="362" y="204"/>
                    </a:cubicBezTo>
                    <a:cubicBezTo>
                      <a:pt x="372" y="208"/>
                      <a:pt x="372" y="208"/>
                      <a:pt x="372" y="208"/>
                    </a:cubicBezTo>
                    <a:cubicBezTo>
                      <a:pt x="418" y="224"/>
                      <a:pt x="448" y="269"/>
                      <a:pt x="445" y="318"/>
                    </a:cubicBezTo>
                    <a:cubicBezTo>
                      <a:pt x="435" y="489"/>
                      <a:pt x="435" y="489"/>
                      <a:pt x="435" y="489"/>
                    </a:cubicBezTo>
                    <a:cubicBezTo>
                      <a:pt x="442" y="490"/>
                      <a:pt x="442" y="490"/>
                      <a:pt x="442" y="490"/>
                    </a:cubicBezTo>
                    <a:cubicBezTo>
                      <a:pt x="460" y="491"/>
                      <a:pt x="474" y="477"/>
                      <a:pt x="475" y="459"/>
                    </a:cubicBezTo>
                    <a:cubicBezTo>
                      <a:pt x="489" y="231"/>
                      <a:pt x="489" y="231"/>
                      <a:pt x="489" y="231"/>
                    </a:cubicBezTo>
                    <a:cubicBezTo>
                      <a:pt x="497" y="104"/>
                      <a:pt x="353" y="51"/>
                      <a:pt x="268" y="30"/>
                    </a:cubicBezTo>
                    <a:close/>
                  </a:path>
                </a:pathLst>
              </a:custGeom>
              <a:solidFill>
                <a:srgbClr val="66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74" name="Oval 939">
                <a:extLst>
                  <a:ext uri="{FF2B5EF4-FFF2-40B4-BE49-F238E27FC236}">
                    <a16:creationId xmlns:a16="http://schemas.microsoft.com/office/drawing/2014/main" id="{60D4424E-C980-4009-A254-21DB962134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86" y="2067"/>
                <a:ext cx="100" cy="99"/>
              </a:xfrm>
              <a:prstGeom prst="ellipse">
                <a:avLst/>
              </a:pr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75" name="Oval 940">
                <a:extLst>
                  <a:ext uri="{FF2B5EF4-FFF2-40B4-BE49-F238E27FC236}">
                    <a16:creationId xmlns:a16="http://schemas.microsoft.com/office/drawing/2014/main" id="{68FA9120-A092-4360-8EF2-F92756DCA6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70" y="2100"/>
                <a:ext cx="99" cy="102"/>
              </a:xfrm>
              <a:prstGeom prst="ellipse">
                <a:avLst/>
              </a:pr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76" name="Freeform 941">
                <a:extLst>
                  <a:ext uri="{FF2B5EF4-FFF2-40B4-BE49-F238E27FC236}">
                    <a16:creationId xmlns:a16="http://schemas.microsoft.com/office/drawing/2014/main" id="{A0E0AD1F-C31C-45F8-8A55-373F28724B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1" y="2591"/>
                <a:ext cx="207" cy="118"/>
              </a:xfrm>
              <a:custGeom>
                <a:avLst/>
                <a:gdLst>
                  <a:gd name="T0" fmla="*/ 79 w 88"/>
                  <a:gd name="T1" fmla="*/ 2 h 50"/>
                  <a:gd name="T2" fmla="*/ 88 w 88"/>
                  <a:gd name="T3" fmla="*/ 42 h 50"/>
                  <a:gd name="T4" fmla="*/ 88 w 88"/>
                  <a:gd name="T5" fmla="*/ 42 h 50"/>
                  <a:gd name="T6" fmla="*/ 2 w 88"/>
                  <a:gd name="T7" fmla="*/ 35 h 50"/>
                  <a:gd name="T8" fmla="*/ 0 w 88"/>
                  <a:gd name="T9" fmla="*/ 34 h 50"/>
                  <a:gd name="T10" fmla="*/ 15 w 88"/>
                  <a:gd name="T11" fmla="*/ 0 h 50"/>
                  <a:gd name="T12" fmla="*/ 15 w 88"/>
                  <a:gd name="T13" fmla="*/ 0 h 50"/>
                  <a:gd name="T14" fmla="*/ 76 w 88"/>
                  <a:gd name="T15" fmla="*/ 3 h 50"/>
                  <a:gd name="T16" fmla="*/ 79 w 88"/>
                  <a:gd name="T17" fmla="*/ 2 h 50"/>
                  <a:gd name="T18" fmla="*/ 79 w 88"/>
                  <a:gd name="T19" fmla="*/ 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8" h="50">
                    <a:moveTo>
                      <a:pt x="79" y="2"/>
                    </a:moveTo>
                    <a:cubicBezTo>
                      <a:pt x="88" y="42"/>
                      <a:pt x="88" y="42"/>
                      <a:pt x="88" y="42"/>
                    </a:cubicBezTo>
                    <a:cubicBezTo>
                      <a:pt x="88" y="42"/>
                      <a:pt x="88" y="42"/>
                      <a:pt x="88" y="42"/>
                    </a:cubicBezTo>
                    <a:cubicBezTo>
                      <a:pt x="60" y="50"/>
                      <a:pt x="29" y="47"/>
                      <a:pt x="2" y="35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34" y="6"/>
                      <a:pt x="55" y="7"/>
                      <a:pt x="76" y="3"/>
                    </a:cubicBezTo>
                    <a:cubicBezTo>
                      <a:pt x="79" y="2"/>
                      <a:pt x="79" y="2"/>
                      <a:pt x="79" y="2"/>
                    </a:cubicBezTo>
                    <a:cubicBezTo>
                      <a:pt x="79" y="2"/>
                      <a:pt x="79" y="2"/>
                      <a:pt x="79" y="2"/>
                    </a:cubicBezTo>
                    <a:close/>
                  </a:path>
                </a:pathLst>
              </a:custGeom>
              <a:solidFill>
                <a:srgbClr val="8E7A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77" name="Freeform 942">
                <a:extLst>
                  <a:ext uri="{FF2B5EF4-FFF2-40B4-BE49-F238E27FC236}">
                    <a16:creationId xmlns:a16="http://schemas.microsoft.com/office/drawing/2014/main" id="{EF7A9EF5-9493-4F1E-8AF4-312DE1F106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475"/>
                <a:ext cx="333" cy="92"/>
              </a:xfrm>
              <a:custGeom>
                <a:avLst/>
                <a:gdLst>
                  <a:gd name="T0" fmla="*/ 0 w 141"/>
                  <a:gd name="T1" fmla="*/ 0 h 39"/>
                  <a:gd name="T2" fmla="*/ 69 w 141"/>
                  <a:gd name="T3" fmla="*/ 38 h 39"/>
                  <a:gd name="T4" fmla="*/ 141 w 141"/>
                  <a:gd name="T5" fmla="*/ 6 h 39"/>
                  <a:gd name="T6" fmla="*/ 0 w 141"/>
                  <a:gd name="T7" fmla="*/ 0 h 39"/>
                  <a:gd name="T8" fmla="*/ 0 w 141"/>
                  <a:gd name="T9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" h="39">
                    <a:moveTo>
                      <a:pt x="0" y="0"/>
                    </a:moveTo>
                    <a:cubicBezTo>
                      <a:pt x="15" y="22"/>
                      <a:pt x="40" y="36"/>
                      <a:pt x="69" y="38"/>
                    </a:cubicBezTo>
                    <a:cubicBezTo>
                      <a:pt x="98" y="39"/>
                      <a:pt x="124" y="27"/>
                      <a:pt x="141" y="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278" name="Freeform 943">
                <a:extLst>
                  <a:ext uri="{FF2B5EF4-FFF2-40B4-BE49-F238E27FC236}">
                    <a16:creationId xmlns:a16="http://schemas.microsoft.com/office/drawing/2014/main" id="{A5A7C365-C946-44F7-BF32-107F5A0290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3" y="1153"/>
                <a:ext cx="783" cy="1148"/>
              </a:xfrm>
              <a:custGeom>
                <a:avLst/>
                <a:gdLst>
                  <a:gd name="T0" fmla="*/ 332 w 332"/>
                  <a:gd name="T1" fmla="*/ 64 h 487"/>
                  <a:gd name="T2" fmla="*/ 287 w 332"/>
                  <a:gd name="T3" fmla="*/ 51 h 487"/>
                  <a:gd name="T4" fmla="*/ 289 w 332"/>
                  <a:gd name="T5" fmla="*/ 0 h 487"/>
                  <a:gd name="T6" fmla="*/ 219 w 332"/>
                  <a:gd name="T7" fmla="*/ 40 h 487"/>
                  <a:gd name="T8" fmla="*/ 12 w 332"/>
                  <a:gd name="T9" fmla="*/ 203 h 487"/>
                  <a:gd name="T10" fmla="*/ 7 w 332"/>
                  <a:gd name="T11" fmla="*/ 343 h 487"/>
                  <a:gd name="T12" fmla="*/ 1 w 332"/>
                  <a:gd name="T13" fmla="*/ 453 h 487"/>
                  <a:gd name="T14" fmla="*/ 30 w 332"/>
                  <a:gd name="T15" fmla="*/ 486 h 487"/>
                  <a:gd name="T16" fmla="*/ 36 w 332"/>
                  <a:gd name="T17" fmla="*/ 487 h 487"/>
                  <a:gd name="T18" fmla="*/ 47 w 332"/>
                  <a:gd name="T19" fmla="*/ 313 h 487"/>
                  <a:gd name="T20" fmla="*/ 119 w 332"/>
                  <a:gd name="T21" fmla="*/ 217 h 487"/>
                  <a:gd name="T22" fmla="*/ 151 w 332"/>
                  <a:gd name="T23" fmla="*/ 163 h 487"/>
                  <a:gd name="T24" fmla="*/ 317 w 332"/>
                  <a:gd name="T25" fmla="*/ 139 h 487"/>
                  <a:gd name="T26" fmla="*/ 260 w 332"/>
                  <a:gd name="T27" fmla="*/ 103 h 487"/>
                  <a:gd name="T28" fmla="*/ 332 w 332"/>
                  <a:gd name="T29" fmla="*/ 64 h 4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2" h="487">
                    <a:moveTo>
                      <a:pt x="332" y="64"/>
                    </a:moveTo>
                    <a:cubicBezTo>
                      <a:pt x="316" y="58"/>
                      <a:pt x="301" y="55"/>
                      <a:pt x="287" y="51"/>
                    </a:cubicBezTo>
                    <a:cubicBezTo>
                      <a:pt x="295" y="25"/>
                      <a:pt x="289" y="0"/>
                      <a:pt x="289" y="0"/>
                    </a:cubicBezTo>
                    <a:cubicBezTo>
                      <a:pt x="289" y="0"/>
                      <a:pt x="272" y="33"/>
                      <a:pt x="219" y="40"/>
                    </a:cubicBezTo>
                    <a:cubicBezTo>
                      <a:pt x="167" y="47"/>
                      <a:pt x="56" y="77"/>
                      <a:pt x="12" y="203"/>
                    </a:cubicBezTo>
                    <a:cubicBezTo>
                      <a:pt x="3" y="228"/>
                      <a:pt x="7" y="343"/>
                      <a:pt x="7" y="343"/>
                    </a:cubicBezTo>
                    <a:cubicBezTo>
                      <a:pt x="1" y="453"/>
                      <a:pt x="1" y="453"/>
                      <a:pt x="1" y="453"/>
                    </a:cubicBezTo>
                    <a:cubicBezTo>
                      <a:pt x="0" y="470"/>
                      <a:pt x="13" y="485"/>
                      <a:pt x="30" y="486"/>
                    </a:cubicBezTo>
                    <a:cubicBezTo>
                      <a:pt x="36" y="487"/>
                      <a:pt x="36" y="487"/>
                      <a:pt x="36" y="487"/>
                    </a:cubicBezTo>
                    <a:cubicBezTo>
                      <a:pt x="47" y="313"/>
                      <a:pt x="47" y="313"/>
                      <a:pt x="47" y="313"/>
                    </a:cubicBezTo>
                    <a:cubicBezTo>
                      <a:pt x="50" y="269"/>
                      <a:pt x="78" y="232"/>
                      <a:pt x="119" y="217"/>
                    </a:cubicBezTo>
                    <a:cubicBezTo>
                      <a:pt x="129" y="194"/>
                      <a:pt x="140" y="174"/>
                      <a:pt x="151" y="163"/>
                    </a:cubicBezTo>
                    <a:cubicBezTo>
                      <a:pt x="206" y="103"/>
                      <a:pt x="223" y="177"/>
                      <a:pt x="317" y="139"/>
                    </a:cubicBezTo>
                    <a:cubicBezTo>
                      <a:pt x="272" y="127"/>
                      <a:pt x="260" y="103"/>
                      <a:pt x="260" y="103"/>
                    </a:cubicBezTo>
                    <a:cubicBezTo>
                      <a:pt x="260" y="103"/>
                      <a:pt x="305" y="102"/>
                      <a:pt x="332" y="64"/>
                    </a:cubicBezTo>
                    <a:close/>
                  </a:path>
                </a:pathLst>
              </a:custGeom>
              <a:solidFill>
                <a:srgbClr val="8E7A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</p:grpSp>
        <p:sp>
          <p:nvSpPr>
            <p:cNvPr id="279" name="Right Brace 278">
              <a:extLst>
                <a:ext uri="{FF2B5EF4-FFF2-40B4-BE49-F238E27FC236}">
                  <a16:creationId xmlns:a16="http://schemas.microsoft.com/office/drawing/2014/main" id="{6493A83B-237C-4B67-8382-5229C55286AA}"/>
                </a:ext>
              </a:extLst>
            </p:cNvPr>
            <p:cNvSpPr/>
            <p:nvPr/>
          </p:nvSpPr>
          <p:spPr>
            <a:xfrm rot="5400000">
              <a:off x="6988745" y="2336756"/>
              <a:ext cx="183947" cy="2294060"/>
            </a:xfrm>
            <a:prstGeom prst="rightBrace">
              <a:avLst>
                <a:gd name="adj1" fmla="val 0"/>
                <a:gd name="adj2" fmla="val 50000"/>
              </a:avLst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grpSp>
          <p:nvGrpSpPr>
            <p:cNvPr id="280" name="Group 279">
              <a:extLst>
                <a:ext uri="{FF2B5EF4-FFF2-40B4-BE49-F238E27FC236}">
                  <a16:creationId xmlns:a16="http://schemas.microsoft.com/office/drawing/2014/main" id="{656C8345-0D55-48E1-B471-284706AF2707}"/>
                </a:ext>
              </a:extLst>
            </p:cNvPr>
            <p:cNvGrpSpPr/>
            <p:nvPr/>
          </p:nvGrpSpPr>
          <p:grpSpPr>
            <a:xfrm>
              <a:off x="6739412" y="3864354"/>
              <a:ext cx="731797" cy="914896"/>
              <a:chOff x="5997806" y="4552950"/>
              <a:chExt cx="330020" cy="815480"/>
            </a:xfrm>
          </p:grpSpPr>
          <p:pic>
            <p:nvPicPr>
              <p:cNvPr id="281" name="Picture 280">
                <a:extLst>
                  <a:ext uri="{FF2B5EF4-FFF2-40B4-BE49-F238E27FC236}">
                    <a16:creationId xmlns:a16="http://schemas.microsoft.com/office/drawing/2014/main" id="{308B2CB5-B03D-45C0-989C-263E337DFD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997806" y="4552950"/>
                <a:ext cx="330020" cy="815480"/>
              </a:xfrm>
              <a:prstGeom prst="rect">
                <a:avLst/>
              </a:prstGeom>
            </p:spPr>
          </p:pic>
          <p:sp>
            <p:nvSpPr>
              <p:cNvPr id="282" name="Rectangle 281">
                <a:extLst>
                  <a:ext uri="{FF2B5EF4-FFF2-40B4-BE49-F238E27FC236}">
                    <a16:creationId xmlns:a16="http://schemas.microsoft.com/office/drawing/2014/main" id="{3274B191-5F59-4968-AC2E-D58E1C62D9EF}"/>
                  </a:ext>
                </a:extLst>
              </p:cNvPr>
              <p:cNvSpPr/>
              <p:nvPr/>
            </p:nvSpPr>
            <p:spPr bwMode="auto">
              <a:xfrm>
                <a:off x="6101306" y="5293989"/>
                <a:ext cx="121634" cy="74441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6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83" name="Rectangle 282">
                <a:extLst>
                  <a:ext uri="{FF2B5EF4-FFF2-40B4-BE49-F238E27FC236}">
                    <a16:creationId xmlns:a16="http://schemas.microsoft.com/office/drawing/2014/main" id="{E2F1D0CD-877E-49F9-8D3C-F7202BB6A8F9}"/>
                  </a:ext>
                </a:extLst>
              </p:cNvPr>
              <p:cNvSpPr/>
              <p:nvPr/>
            </p:nvSpPr>
            <p:spPr bwMode="auto">
              <a:xfrm>
                <a:off x="6101306" y="5204670"/>
                <a:ext cx="121634" cy="74441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6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84" name="Rectangle 283">
                <a:extLst>
                  <a:ext uri="{FF2B5EF4-FFF2-40B4-BE49-F238E27FC236}">
                    <a16:creationId xmlns:a16="http://schemas.microsoft.com/office/drawing/2014/main" id="{092C79AE-73EB-4B89-8A30-DDCB1FD27017}"/>
                  </a:ext>
                </a:extLst>
              </p:cNvPr>
              <p:cNvSpPr/>
              <p:nvPr/>
            </p:nvSpPr>
            <p:spPr bwMode="auto">
              <a:xfrm>
                <a:off x="6101306" y="5115353"/>
                <a:ext cx="121634" cy="74441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6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85" name="Rectangle 284">
                <a:extLst>
                  <a:ext uri="{FF2B5EF4-FFF2-40B4-BE49-F238E27FC236}">
                    <a16:creationId xmlns:a16="http://schemas.microsoft.com/office/drawing/2014/main" id="{12073DBB-DC88-4062-A767-DB58A2546688}"/>
                  </a:ext>
                </a:extLst>
              </p:cNvPr>
              <p:cNvSpPr/>
              <p:nvPr/>
            </p:nvSpPr>
            <p:spPr bwMode="auto">
              <a:xfrm>
                <a:off x="6101306" y="5026036"/>
                <a:ext cx="121634" cy="74441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6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86" name="Rectangle 285">
                <a:extLst>
                  <a:ext uri="{FF2B5EF4-FFF2-40B4-BE49-F238E27FC236}">
                    <a16:creationId xmlns:a16="http://schemas.microsoft.com/office/drawing/2014/main" id="{573B982A-AC38-4BB1-92A6-6AFFDC0B2B5C}"/>
                  </a:ext>
                </a:extLst>
              </p:cNvPr>
              <p:cNvSpPr/>
              <p:nvPr/>
            </p:nvSpPr>
            <p:spPr bwMode="auto">
              <a:xfrm>
                <a:off x="6101306" y="4936719"/>
                <a:ext cx="121634" cy="74441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6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87" name="Rectangle 286">
                <a:extLst>
                  <a:ext uri="{FF2B5EF4-FFF2-40B4-BE49-F238E27FC236}">
                    <a16:creationId xmlns:a16="http://schemas.microsoft.com/office/drawing/2014/main" id="{F6FF5A95-812F-40BF-B478-B0360ABC7199}"/>
                  </a:ext>
                </a:extLst>
              </p:cNvPr>
              <p:cNvSpPr/>
              <p:nvPr/>
            </p:nvSpPr>
            <p:spPr bwMode="auto">
              <a:xfrm>
                <a:off x="6101306" y="4847402"/>
                <a:ext cx="121634" cy="74441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6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88" name="Rectangle 287">
                <a:extLst>
                  <a:ext uri="{FF2B5EF4-FFF2-40B4-BE49-F238E27FC236}">
                    <a16:creationId xmlns:a16="http://schemas.microsoft.com/office/drawing/2014/main" id="{7078207B-596D-454E-9144-8DF922098B04}"/>
                  </a:ext>
                </a:extLst>
              </p:cNvPr>
              <p:cNvSpPr/>
              <p:nvPr/>
            </p:nvSpPr>
            <p:spPr bwMode="auto">
              <a:xfrm>
                <a:off x="6101306" y="4758085"/>
                <a:ext cx="121634" cy="74441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6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89" name="Rectangle 288">
                <a:extLst>
                  <a:ext uri="{FF2B5EF4-FFF2-40B4-BE49-F238E27FC236}">
                    <a16:creationId xmlns:a16="http://schemas.microsoft.com/office/drawing/2014/main" id="{9093F4C2-34DD-4E33-84C7-E49846111932}"/>
                  </a:ext>
                </a:extLst>
              </p:cNvPr>
              <p:cNvSpPr/>
              <p:nvPr/>
            </p:nvSpPr>
            <p:spPr bwMode="auto">
              <a:xfrm>
                <a:off x="6101306" y="4668768"/>
                <a:ext cx="121634" cy="74441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6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90" name="Rectangle 289">
              <a:extLst>
                <a:ext uri="{FF2B5EF4-FFF2-40B4-BE49-F238E27FC236}">
                  <a16:creationId xmlns:a16="http://schemas.microsoft.com/office/drawing/2014/main" id="{4DB6938A-5949-4213-B4A6-550AA05FE633}"/>
                </a:ext>
              </a:extLst>
            </p:cNvPr>
            <p:cNvSpPr/>
            <p:nvPr/>
          </p:nvSpPr>
          <p:spPr bwMode="auto">
            <a:xfrm>
              <a:off x="5802120" y="5154601"/>
              <a:ext cx="131568" cy="88450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268927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82">
                  <a:solidFill>
                    <a:schemeClr val="tx1"/>
                  </a:solidFill>
                  <a:ea typeface="Segoe UI" pitchFamily="34" charset="0"/>
                  <a:cs typeface="Segoe UI" pitchFamily="34" charset="0"/>
                </a:rPr>
                <a:t>Utilization</a:t>
              </a:r>
            </a:p>
          </p:txBody>
        </p:sp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FDE4663C-4925-4438-B39E-9D5ECDE72207}"/>
                </a:ext>
              </a:extLst>
            </p:cNvPr>
            <p:cNvSpPr txBox="1"/>
            <p:nvPr/>
          </p:nvSpPr>
          <p:spPr>
            <a:xfrm>
              <a:off x="5758164" y="2452145"/>
              <a:ext cx="2677120" cy="384912"/>
            </a:xfrm>
            <a:prstGeom prst="rect">
              <a:avLst/>
            </a:prstGeom>
            <a:solidFill>
              <a:schemeClr val="accent4"/>
            </a:solidFill>
            <a:ln w="6350">
              <a:solidFill>
                <a:schemeClr val="accent4"/>
              </a:solidFill>
            </a:ln>
          </p:spPr>
          <p:txBody>
            <a:bodyPr wrap="square" lIns="89642" tIns="44821" rIns="89642" bIns="44821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372" b="1">
                  <a:solidFill>
                    <a:schemeClr val="bg1"/>
                  </a:solidFill>
                </a:rPr>
                <a:t>Pooled desktops</a:t>
              </a:r>
            </a:p>
          </p:txBody>
        </p:sp>
        <p:grpSp>
          <p:nvGrpSpPr>
            <p:cNvPr id="292" name="Group 291">
              <a:extLst>
                <a:ext uri="{FF2B5EF4-FFF2-40B4-BE49-F238E27FC236}">
                  <a16:creationId xmlns:a16="http://schemas.microsoft.com/office/drawing/2014/main" id="{3785D5D6-B34C-4CBE-A48E-FF933DDB0967}"/>
                </a:ext>
              </a:extLst>
            </p:cNvPr>
            <p:cNvGrpSpPr/>
            <p:nvPr/>
          </p:nvGrpSpPr>
          <p:grpSpPr>
            <a:xfrm>
              <a:off x="6958556" y="3616373"/>
              <a:ext cx="246033" cy="207368"/>
              <a:chOff x="6004725" y="3849989"/>
              <a:chExt cx="303928" cy="256164"/>
            </a:xfrm>
          </p:grpSpPr>
          <p:sp>
            <p:nvSpPr>
              <p:cNvPr id="293" name="Graphic 7">
                <a:extLst>
                  <a:ext uri="{FF2B5EF4-FFF2-40B4-BE49-F238E27FC236}">
                    <a16:creationId xmlns:a16="http://schemas.microsoft.com/office/drawing/2014/main" id="{0EBBC608-FF0E-466F-82BB-878C57B74EAD}"/>
                  </a:ext>
                </a:extLst>
              </p:cNvPr>
              <p:cNvSpPr/>
              <p:nvPr/>
            </p:nvSpPr>
            <p:spPr>
              <a:xfrm>
                <a:off x="6004725" y="3849989"/>
                <a:ext cx="136087" cy="256164"/>
              </a:xfrm>
              <a:custGeom>
                <a:avLst/>
                <a:gdLst>
                  <a:gd name="connsiteX0" fmla="*/ 432462 w 462642"/>
                  <a:gd name="connsiteY0" fmla="*/ 449281 h 870857"/>
                  <a:gd name="connsiteX1" fmla="*/ 292771 w 462642"/>
                  <a:gd name="connsiteY1" fmla="*/ 370169 h 870857"/>
                  <a:gd name="connsiteX2" fmla="*/ 177845 w 462642"/>
                  <a:gd name="connsiteY2" fmla="*/ 318598 h 870857"/>
                  <a:gd name="connsiteX3" fmla="*/ 156918 w 462642"/>
                  <a:gd name="connsiteY3" fmla="*/ 268714 h 870857"/>
                  <a:gd name="connsiteX4" fmla="*/ 167177 w 462642"/>
                  <a:gd name="connsiteY4" fmla="*/ 233689 h 870857"/>
                  <a:gd name="connsiteX5" fmla="*/ 197739 w 462642"/>
                  <a:gd name="connsiteY5" fmla="*/ 210911 h 870857"/>
                  <a:gd name="connsiteX6" fmla="*/ 285750 w 462642"/>
                  <a:gd name="connsiteY6" fmla="*/ 208598 h 870857"/>
                  <a:gd name="connsiteX7" fmla="*/ 315468 w 462642"/>
                  <a:gd name="connsiteY7" fmla="*/ 226913 h 870857"/>
                  <a:gd name="connsiteX8" fmla="*/ 348724 w 462642"/>
                  <a:gd name="connsiteY8" fmla="*/ 265203 h 870857"/>
                  <a:gd name="connsiteX9" fmla="*/ 369597 w 462642"/>
                  <a:gd name="connsiteY9" fmla="*/ 293724 h 870857"/>
                  <a:gd name="connsiteX10" fmla="*/ 471950 w 462642"/>
                  <a:gd name="connsiteY10" fmla="*/ 217497 h 870857"/>
                  <a:gd name="connsiteX11" fmla="*/ 453662 w 462642"/>
                  <a:gd name="connsiteY11" fmla="*/ 189847 h 870857"/>
                  <a:gd name="connsiteX12" fmla="*/ 407915 w 462642"/>
                  <a:gd name="connsiteY12" fmla="*/ 137623 h 870857"/>
                  <a:gd name="connsiteX13" fmla="*/ 348778 w 462642"/>
                  <a:gd name="connsiteY13" fmla="*/ 97944 h 870857"/>
                  <a:gd name="connsiteX14" fmla="*/ 311386 w 462642"/>
                  <a:gd name="connsiteY14" fmla="*/ 83521 h 870857"/>
                  <a:gd name="connsiteX15" fmla="*/ 311386 w 462642"/>
                  <a:gd name="connsiteY15" fmla="*/ 0 h 870857"/>
                  <a:gd name="connsiteX16" fmla="*/ 182581 w 462642"/>
                  <a:gd name="connsiteY16" fmla="*/ 0 h 870857"/>
                  <a:gd name="connsiteX17" fmla="*/ 182581 w 462642"/>
                  <a:gd name="connsiteY17" fmla="*/ 81343 h 870857"/>
                  <a:gd name="connsiteX18" fmla="*/ 78459 w 462642"/>
                  <a:gd name="connsiteY18" fmla="*/ 137378 h 870857"/>
                  <a:gd name="connsiteX19" fmla="*/ 23649 w 462642"/>
                  <a:gd name="connsiteY19" fmla="*/ 276524 h 870857"/>
                  <a:gd name="connsiteX20" fmla="*/ 77806 w 462642"/>
                  <a:gd name="connsiteY20" fmla="*/ 412296 h 870857"/>
                  <a:gd name="connsiteX21" fmla="*/ 214149 w 462642"/>
                  <a:gd name="connsiteY21" fmla="*/ 484795 h 870857"/>
                  <a:gd name="connsiteX22" fmla="*/ 329375 w 462642"/>
                  <a:gd name="connsiteY22" fmla="*/ 538952 h 870857"/>
                  <a:gd name="connsiteX23" fmla="*/ 353759 w 462642"/>
                  <a:gd name="connsiteY23" fmla="*/ 597707 h 870857"/>
                  <a:gd name="connsiteX24" fmla="*/ 340696 w 462642"/>
                  <a:gd name="connsiteY24" fmla="*/ 640543 h 870857"/>
                  <a:gd name="connsiteX25" fmla="*/ 303249 w 462642"/>
                  <a:gd name="connsiteY25" fmla="*/ 670914 h 870857"/>
                  <a:gd name="connsiteX26" fmla="*/ 251079 w 462642"/>
                  <a:gd name="connsiteY26" fmla="*/ 682181 h 870857"/>
                  <a:gd name="connsiteX27" fmla="*/ 127390 w 462642"/>
                  <a:gd name="connsiteY27" fmla="*/ 599830 h 870857"/>
                  <a:gd name="connsiteX28" fmla="*/ 108857 w 462642"/>
                  <a:gd name="connsiteY28" fmla="*/ 568969 h 870857"/>
                  <a:gd name="connsiteX29" fmla="*/ 0 w 462642"/>
                  <a:gd name="connsiteY29" fmla="*/ 637985 h 870857"/>
                  <a:gd name="connsiteX30" fmla="*/ 16165 w 462642"/>
                  <a:gd name="connsiteY30" fmla="*/ 666913 h 870857"/>
                  <a:gd name="connsiteX31" fmla="*/ 66131 w 462642"/>
                  <a:gd name="connsiteY31" fmla="*/ 732282 h 870857"/>
                  <a:gd name="connsiteX32" fmla="*/ 133432 w 462642"/>
                  <a:gd name="connsiteY32" fmla="*/ 781295 h 870857"/>
                  <a:gd name="connsiteX33" fmla="*/ 182608 w 462642"/>
                  <a:gd name="connsiteY33" fmla="*/ 800835 h 870857"/>
                  <a:gd name="connsiteX34" fmla="*/ 182608 w 462642"/>
                  <a:gd name="connsiteY34" fmla="*/ 884437 h 870857"/>
                  <a:gd name="connsiteX35" fmla="*/ 311413 w 462642"/>
                  <a:gd name="connsiteY35" fmla="*/ 884437 h 870857"/>
                  <a:gd name="connsiteX36" fmla="*/ 311413 w 462642"/>
                  <a:gd name="connsiteY36" fmla="*/ 802114 h 870857"/>
                  <a:gd name="connsiteX37" fmla="*/ 425768 w 462642"/>
                  <a:gd name="connsiteY37" fmla="*/ 743141 h 870857"/>
                  <a:gd name="connsiteX38" fmla="*/ 487163 w 462642"/>
                  <a:gd name="connsiteY38" fmla="*/ 597680 h 870857"/>
                  <a:gd name="connsiteX39" fmla="*/ 432462 w 462642"/>
                  <a:gd name="connsiteY39" fmla="*/ 449281 h 870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462642" h="870857">
                    <a:moveTo>
                      <a:pt x="432462" y="449281"/>
                    </a:moveTo>
                    <a:cubicBezTo>
                      <a:pt x="399751" y="418665"/>
                      <a:pt x="354031" y="392757"/>
                      <a:pt x="292771" y="370169"/>
                    </a:cubicBezTo>
                    <a:cubicBezTo>
                      <a:pt x="239105" y="350275"/>
                      <a:pt x="200433" y="332940"/>
                      <a:pt x="177845" y="318598"/>
                    </a:cubicBezTo>
                    <a:cubicBezTo>
                      <a:pt x="168892" y="312910"/>
                      <a:pt x="156918" y="301534"/>
                      <a:pt x="156918" y="268714"/>
                    </a:cubicBezTo>
                    <a:cubicBezTo>
                      <a:pt x="156918" y="254100"/>
                      <a:pt x="160319" y="242670"/>
                      <a:pt x="167177" y="233689"/>
                    </a:cubicBezTo>
                    <a:cubicBezTo>
                      <a:pt x="175233" y="223402"/>
                      <a:pt x="185193" y="215973"/>
                      <a:pt x="197739" y="210911"/>
                    </a:cubicBezTo>
                    <a:cubicBezTo>
                      <a:pt x="228437" y="198501"/>
                      <a:pt x="264849" y="200978"/>
                      <a:pt x="285750" y="208598"/>
                    </a:cubicBezTo>
                    <a:cubicBezTo>
                      <a:pt x="296772" y="212625"/>
                      <a:pt x="306515" y="218667"/>
                      <a:pt x="315468" y="226913"/>
                    </a:cubicBezTo>
                    <a:cubicBezTo>
                      <a:pt x="326136" y="236764"/>
                      <a:pt x="337294" y="249637"/>
                      <a:pt x="348724" y="265203"/>
                    </a:cubicBezTo>
                    <a:lnTo>
                      <a:pt x="369597" y="293724"/>
                    </a:lnTo>
                    <a:lnTo>
                      <a:pt x="471950" y="217497"/>
                    </a:lnTo>
                    <a:lnTo>
                      <a:pt x="453662" y="189847"/>
                    </a:lnTo>
                    <a:cubicBezTo>
                      <a:pt x="441334" y="171205"/>
                      <a:pt x="425904" y="153597"/>
                      <a:pt x="407915" y="137623"/>
                    </a:cubicBezTo>
                    <a:cubicBezTo>
                      <a:pt x="389763" y="121430"/>
                      <a:pt x="369842" y="108095"/>
                      <a:pt x="348778" y="97944"/>
                    </a:cubicBezTo>
                    <a:cubicBezTo>
                      <a:pt x="336722" y="92120"/>
                      <a:pt x="324231" y="87303"/>
                      <a:pt x="311386" y="83521"/>
                    </a:cubicBezTo>
                    <a:lnTo>
                      <a:pt x="311386" y="0"/>
                    </a:lnTo>
                    <a:lnTo>
                      <a:pt x="182581" y="0"/>
                    </a:lnTo>
                    <a:lnTo>
                      <a:pt x="182581" y="81343"/>
                    </a:lnTo>
                    <a:cubicBezTo>
                      <a:pt x="141759" y="90215"/>
                      <a:pt x="106843" y="108993"/>
                      <a:pt x="78459" y="137378"/>
                    </a:cubicBezTo>
                    <a:cubicBezTo>
                      <a:pt x="42073" y="173736"/>
                      <a:pt x="23649" y="220599"/>
                      <a:pt x="23649" y="276524"/>
                    </a:cubicBezTo>
                    <a:cubicBezTo>
                      <a:pt x="23649" y="336069"/>
                      <a:pt x="41883" y="381762"/>
                      <a:pt x="77806" y="412296"/>
                    </a:cubicBezTo>
                    <a:cubicBezTo>
                      <a:pt x="109102" y="438912"/>
                      <a:pt x="153761" y="462616"/>
                      <a:pt x="214149" y="484795"/>
                    </a:cubicBezTo>
                    <a:cubicBezTo>
                      <a:pt x="266972" y="504199"/>
                      <a:pt x="305725" y="522405"/>
                      <a:pt x="329375" y="538952"/>
                    </a:cubicBezTo>
                    <a:cubicBezTo>
                      <a:pt x="339852" y="546300"/>
                      <a:pt x="353759" y="560342"/>
                      <a:pt x="353759" y="597707"/>
                    </a:cubicBezTo>
                    <a:cubicBezTo>
                      <a:pt x="353759" y="614172"/>
                      <a:pt x="349459" y="628215"/>
                      <a:pt x="340696" y="640543"/>
                    </a:cubicBezTo>
                    <a:cubicBezTo>
                      <a:pt x="331089" y="653932"/>
                      <a:pt x="318870" y="663838"/>
                      <a:pt x="303249" y="670914"/>
                    </a:cubicBezTo>
                    <a:cubicBezTo>
                      <a:pt x="286539" y="678452"/>
                      <a:pt x="269449" y="682181"/>
                      <a:pt x="251079" y="682181"/>
                    </a:cubicBezTo>
                    <a:cubicBezTo>
                      <a:pt x="200950" y="682181"/>
                      <a:pt x="160455" y="655238"/>
                      <a:pt x="127390" y="599830"/>
                    </a:cubicBezTo>
                    <a:lnTo>
                      <a:pt x="108857" y="568969"/>
                    </a:lnTo>
                    <a:lnTo>
                      <a:pt x="0" y="637985"/>
                    </a:lnTo>
                    <a:lnTo>
                      <a:pt x="16165" y="666913"/>
                    </a:lnTo>
                    <a:cubicBezTo>
                      <a:pt x="29500" y="690780"/>
                      <a:pt x="46346" y="712797"/>
                      <a:pt x="66131" y="732282"/>
                    </a:cubicBezTo>
                    <a:cubicBezTo>
                      <a:pt x="86052" y="751876"/>
                      <a:pt x="108667" y="768368"/>
                      <a:pt x="133432" y="781295"/>
                    </a:cubicBezTo>
                    <a:cubicBezTo>
                      <a:pt x="149325" y="789568"/>
                      <a:pt x="165762" y="796100"/>
                      <a:pt x="182608" y="800835"/>
                    </a:cubicBezTo>
                    <a:lnTo>
                      <a:pt x="182608" y="884437"/>
                    </a:lnTo>
                    <a:lnTo>
                      <a:pt x="311413" y="884437"/>
                    </a:lnTo>
                    <a:lnTo>
                      <a:pt x="311413" y="802114"/>
                    </a:lnTo>
                    <a:cubicBezTo>
                      <a:pt x="355772" y="792072"/>
                      <a:pt x="394145" y="772341"/>
                      <a:pt x="425768" y="743141"/>
                    </a:cubicBezTo>
                    <a:cubicBezTo>
                      <a:pt x="466480" y="705585"/>
                      <a:pt x="487163" y="656654"/>
                      <a:pt x="487163" y="597680"/>
                    </a:cubicBezTo>
                    <a:cubicBezTo>
                      <a:pt x="487136" y="533046"/>
                      <a:pt x="468766" y="483135"/>
                      <a:pt x="432462" y="449281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272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30"/>
              </a:p>
            </p:txBody>
          </p:sp>
          <p:sp>
            <p:nvSpPr>
              <p:cNvPr id="294" name="Graphic 7">
                <a:extLst>
                  <a:ext uri="{FF2B5EF4-FFF2-40B4-BE49-F238E27FC236}">
                    <a16:creationId xmlns:a16="http://schemas.microsoft.com/office/drawing/2014/main" id="{704A16D8-0CAD-45F8-9EE3-5CECA27E0EDF}"/>
                  </a:ext>
                </a:extLst>
              </p:cNvPr>
              <p:cNvSpPr/>
              <p:nvPr/>
            </p:nvSpPr>
            <p:spPr>
              <a:xfrm>
                <a:off x="6172566" y="3849989"/>
                <a:ext cx="136087" cy="256164"/>
              </a:xfrm>
              <a:custGeom>
                <a:avLst/>
                <a:gdLst>
                  <a:gd name="connsiteX0" fmla="*/ 432462 w 462642"/>
                  <a:gd name="connsiteY0" fmla="*/ 449281 h 870857"/>
                  <a:gd name="connsiteX1" fmla="*/ 292771 w 462642"/>
                  <a:gd name="connsiteY1" fmla="*/ 370169 h 870857"/>
                  <a:gd name="connsiteX2" fmla="*/ 177845 w 462642"/>
                  <a:gd name="connsiteY2" fmla="*/ 318598 h 870857"/>
                  <a:gd name="connsiteX3" fmla="*/ 156918 w 462642"/>
                  <a:gd name="connsiteY3" fmla="*/ 268714 h 870857"/>
                  <a:gd name="connsiteX4" fmla="*/ 167177 w 462642"/>
                  <a:gd name="connsiteY4" fmla="*/ 233689 h 870857"/>
                  <a:gd name="connsiteX5" fmla="*/ 197739 w 462642"/>
                  <a:gd name="connsiteY5" fmla="*/ 210911 h 870857"/>
                  <a:gd name="connsiteX6" fmla="*/ 285750 w 462642"/>
                  <a:gd name="connsiteY6" fmla="*/ 208598 h 870857"/>
                  <a:gd name="connsiteX7" fmla="*/ 315468 w 462642"/>
                  <a:gd name="connsiteY7" fmla="*/ 226913 h 870857"/>
                  <a:gd name="connsiteX8" fmla="*/ 348724 w 462642"/>
                  <a:gd name="connsiteY8" fmla="*/ 265203 h 870857"/>
                  <a:gd name="connsiteX9" fmla="*/ 369597 w 462642"/>
                  <a:gd name="connsiteY9" fmla="*/ 293724 h 870857"/>
                  <a:gd name="connsiteX10" fmla="*/ 471950 w 462642"/>
                  <a:gd name="connsiteY10" fmla="*/ 217497 h 870857"/>
                  <a:gd name="connsiteX11" fmla="*/ 453662 w 462642"/>
                  <a:gd name="connsiteY11" fmla="*/ 189847 h 870857"/>
                  <a:gd name="connsiteX12" fmla="*/ 407915 w 462642"/>
                  <a:gd name="connsiteY12" fmla="*/ 137623 h 870857"/>
                  <a:gd name="connsiteX13" fmla="*/ 348778 w 462642"/>
                  <a:gd name="connsiteY13" fmla="*/ 97944 h 870857"/>
                  <a:gd name="connsiteX14" fmla="*/ 311386 w 462642"/>
                  <a:gd name="connsiteY14" fmla="*/ 83521 h 870857"/>
                  <a:gd name="connsiteX15" fmla="*/ 311386 w 462642"/>
                  <a:gd name="connsiteY15" fmla="*/ 0 h 870857"/>
                  <a:gd name="connsiteX16" fmla="*/ 182581 w 462642"/>
                  <a:gd name="connsiteY16" fmla="*/ 0 h 870857"/>
                  <a:gd name="connsiteX17" fmla="*/ 182581 w 462642"/>
                  <a:gd name="connsiteY17" fmla="*/ 81343 h 870857"/>
                  <a:gd name="connsiteX18" fmla="*/ 78459 w 462642"/>
                  <a:gd name="connsiteY18" fmla="*/ 137378 h 870857"/>
                  <a:gd name="connsiteX19" fmla="*/ 23649 w 462642"/>
                  <a:gd name="connsiteY19" fmla="*/ 276524 h 870857"/>
                  <a:gd name="connsiteX20" fmla="*/ 77806 w 462642"/>
                  <a:gd name="connsiteY20" fmla="*/ 412296 h 870857"/>
                  <a:gd name="connsiteX21" fmla="*/ 214149 w 462642"/>
                  <a:gd name="connsiteY21" fmla="*/ 484795 h 870857"/>
                  <a:gd name="connsiteX22" fmla="*/ 329375 w 462642"/>
                  <a:gd name="connsiteY22" fmla="*/ 538952 h 870857"/>
                  <a:gd name="connsiteX23" fmla="*/ 353759 w 462642"/>
                  <a:gd name="connsiteY23" fmla="*/ 597707 h 870857"/>
                  <a:gd name="connsiteX24" fmla="*/ 340696 w 462642"/>
                  <a:gd name="connsiteY24" fmla="*/ 640543 h 870857"/>
                  <a:gd name="connsiteX25" fmla="*/ 303249 w 462642"/>
                  <a:gd name="connsiteY25" fmla="*/ 670914 h 870857"/>
                  <a:gd name="connsiteX26" fmla="*/ 251079 w 462642"/>
                  <a:gd name="connsiteY26" fmla="*/ 682181 h 870857"/>
                  <a:gd name="connsiteX27" fmla="*/ 127390 w 462642"/>
                  <a:gd name="connsiteY27" fmla="*/ 599830 h 870857"/>
                  <a:gd name="connsiteX28" fmla="*/ 108857 w 462642"/>
                  <a:gd name="connsiteY28" fmla="*/ 568969 h 870857"/>
                  <a:gd name="connsiteX29" fmla="*/ 0 w 462642"/>
                  <a:gd name="connsiteY29" fmla="*/ 637985 h 870857"/>
                  <a:gd name="connsiteX30" fmla="*/ 16165 w 462642"/>
                  <a:gd name="connsiteY30" fmla="*/ 666913 h 870857"/>
                  <a:gd name="connsiteX31" fmla="*/ 66131 w 462642"/>
                  <a:gd name="connsiteY31" fmla="*/ 732282 h 870857"/>
                  <a:gd name="connsiteX32" fmla="*/ 133432 w 462642"/>
                  <a:gd name="connsiteY32" fmla="*/ 781295 h 870857"/>
                  <a:gd name="connsiteX33" fmla="*/ 182608 w 462642"/>
                  <a:gd name="connsiteY33" fmla="*/ 800835 h 870857"/>
                  <a:gd name="connsiteX34" fmla="*/ 182608 w 462642"/>
                  <a:gd name="connsiteY34" fmla="*/ 884437 h 870857"/>
                  <a:gd name="connsiteX35" fmla="*/ 311413 w 462642"/>
                  <a:gd name="connsiteY35" fmla="*/ 884437 h 870857"/>
                  <a:gd name="connsiteX36" fmla="*/ 311413 w 462642"/>
                  <a:gd name="connsiteY36" fmla="*/ 802114 h 870857"/>
                  <a:gd name="connsiteX37" fmla="*/ 425768 w 462642"/>
                  <a:gd name="connsiteY37" fmla="*/ 743141 h 870857"/>
                  <a:gd name="connsiteX38" fmla="*/ 487163 w 462642"/>
                  <a:gd name="connsiteY38" fmla="*/ 597680 h 870857"/>
                  <a:gd name="connsiteX39" fmla="*/ 432462 w 462642"/>
                  <a:gd name="connsiteY39" fmla="*/ 449281 h 870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462642" h="870857">
                    <a:moveTo>
                      <a:pt x="432462" y="449281"/>
                    </a:moveTo>
                    <a:cubicBezTo>
                      <a:pt x="399751" y="418665"/>
                      <a:pt x="354031" y="392757"/>
                      <a:pt x="292771" y="370169"/>
                    </a:cubicBezTo>
                    <a:cubicBezTo>
                      <a:pt x="239105" y="350275"/>
                      <a:pt x="200433" y="332940"/>
                      <a:pt x="177845" y="318598"/>
                    </a:cubicBezTo>
                    <a:cubicBezTo>
                      <a:pt x="168892" y="312910"/>
                      <a:pt x="156918" y="301534"/>
                      <a:pt x="156918" y="268714"/>
                    </a:cubicBezTo>
                    <a:cubicBezTo>
                      <a:pt x="156918" y="254100"/>
                      <a:pt x="160319" y="242670"/>
                      <a:pt x="167177" y="233689"/>
                    </a:cubicBezTo>
                    <a:cubicBezTo>
                      <a:pt x="175233" y="223402"/>
                      <a:pt x="185193" y="215973"/>
                      <a:pt x="197739" y="210911"/>
                    </a:cubicBezTo>
                    <a:cubicBezTo>
                      <a:pt x="228437" y="198501"/>
                      <a:pt x="264849" y="200978"/>
                      <a:pt x="285750" y="208598"/>
                    </a:cubicBezTo>
                    <a:cubicBezTo>
                      <a:pt x="296772" y="212625"/>
                      <a:pt x="306515" y="218667"/>
                      <a:pt x="315468" y="226913"/>
                    </a:cubicBezTo>
                    <a:cubicBezTo>
                      <a:pt x="326136" y="236764"/>
                      <a:pt x="337294" y="249637"/>
                      <a:pt x="348724" y="265203"/>
                    </a:cubicBezTo>
                    <a:lnTo>
                      <a:pt x="369597" y="293724"/>
                    </a:lnTo>
                    <a:lnTo>
                      <a:pt x="471950" y="217497"/>
                    </a:lnTo>
                    <a:lnTo>
                      <a:pt x="453662" y="189847"/>
                    </a:lnTo>
                    <a:cubicBezTo>
                      <a:pt x="441334" y="171205"/>
                      <a:pt x="425904" y="153597"/>
                      <a:pt x="407915" y="137623"/>
                    </a:cubicBezTo>
                    <a:cubicBezTo>
                      <a:pt x="389763" y="121430"/>
                      <a:pt x="369842" y="108095"/>
                      <a:pt x="348778" y="97944"/>
                    </a:cubicBezTo>
                    <a:cubicBezTo>
                      <a:pt x="336722" y="92120"/>
                      <a:pt x="324231" y="87303"/>
                      <a:pt x="311386" y="83521"/>
                    </a:cubicBezTo>
                    <a:lnTo>
                      <a:pt x="311386" y="0"/>
                    </a:lnTo>
                    <a:lnTo>
                      <a:pt x="182581" y="0"/>
                    </a:lnTo>
                    <a:lnTo>
                      <a:pt x="182581" y="81343"/>
                    </a:lnTo>
                    <a:cubicBezTo>
                      <a:pt x="141759" y="90215"/>
                      <a:pt x="106843" y="108993"/>
                      <a:pt x="78459" y="137378"/>
                    </a:cubicBezTo>
                    <a:cubicBezTo>
                      <a:pt x="42073" y="173736"/>
                      <a:pt x="23649" y="220599"/>
                      <a:pt x="23649" y="276524"/>
                    </a:cubicBezTo>
                    <a:cubicBezTo>
                      <a:pt x="23649" y="336069"/>
                      <a:pt x="41883" y="381762"/>
                      <a:pt x="77806" y="412296"/>
                    </a:cubicBezTo>
                    <a:cubicBezTo>
                      <a:pt x="109102" y="438912"/>
                      <a:pt x="153761" y="462616"/>
                      <a:pt x="214149" y="484795"/>
                    </a:cubicBezTo>
                    <a:cubicBezTo>
                      <a:pt x="266972" y="504199"/>
                      <a:pt x="305725" y="522405"/>
                      <a:pt x="329375" y="538952"/>
                    </a:cubicBezTo>
                    <a:cubicBezTo>
                      <a:pt x="339852" y="546300"/>
                      <a:pt x="353759" y="560342"/>
                      <a:pt x="353759" y="597707"/>
                    </a:cubicBezTo>
                    <a:cubicBezTo>
                      <a:pt x="353759" y="614172"/>
                      <a:pt x="349459" y="628215"/>
                      <a:pt x="340696" y="640543"/>
                    </a:cubicBezTo>
                    <a:cubicBezTo>
                      <a:pt x="331089" y="653932"/>
                      <a:pt x="318870" y="663838"/>
                      <a:pt x="303249" y="670914"/>
                    </a:cubicBezTo>
                    <a:cubicBezTo>
                      <a:pt x="286539" y="678452"/>
                      <a:pt x="269449" y="682181"/>
                      <a:pt x="251079" y="682181"/>
                    </a:cubicBezTo>
                    <a:cubicBezTo>
                      <a:pt x="200950" y="682181"/>
                      <a:pt x="160455" y="655238"/>
                      <a:pt x="127390" y="599830"/>
                    </a:cubicBezTo>
                    <a:lnTo>
                      <a:pt x="108857" y="568969"/>
                    </a:lnTo>
                    <a:lnTo>
                      <a:pt x="0" y="637985"/>
                    </a:lnTo>
                    <a:lnTo>
                      <a:pt x="16165" y="666913"/>
                    </a:lnTo>
                    <a:cubicBezTo>
                      <a:pt x="29500" y="690780"/>
                      <a:pt x="46346" y="712797"/>
                      <a:pt x="66131" y="732282"/>
                    </a:cubicBezTo>
                    <a:cubicBezTo>
                      <a:pt x="86052" y="751876"/>
                      <a:pt x="108667" y="768368"/>
                      <a:pt x="133432" y="781295"/>
                    </a:cubicBezTo>
                    <a:cubicBezTo>
                      <a:pt x="149325" y="789568"/>
                      <a:pt x="165762" y="796100"/>
                      <a:pt x="182608" y="800835"/>
                    </a:cubicBezTo>
                    <a:lnTo>
                      <a:pt x="182608" y="884437"/>
                    </a:lnTo>
                    <a:lnTo>
                      <a:pt x="311413" y="884437"/>
                    </a:lnTo>
                    <a:lnTo>
                      <a:pt x="311413" y="802114"/>
                    </a:lnTo>
                    <a:cubicBezTo>
                      <a:pt x="355772" y="792072"/>
                      <a:pt x="394145" y="772341"/>
                      <a:pt x="425768" y="743141"/>
                    </a:cubicBezTo>
                    <a:cubicBezTo>
                      <a:pt x="466480" y="705585"/>
                      <a:pt x="487163" y="656654"/>
                      <a:pt x="487163" y="597680"/>
                    </a:cubicBezTo>
                    <a:cubicBezTo>
                      <a:pt x="487136" y="533046"/>
                      <a:pt x="468766" y="483135"/>
                      <a:pt x="432462" y="449281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272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3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0571728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C9B46D-1EE0-4891-89E3-BB93E00E29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VD Notes from the Field – PoC Success Lis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3967FC-C248-4143-874C-9DB84AAA0C7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6920" y="1075182"/>
            <a:ext cx="11655078" cy="4930581"/>
          </a:xfrm>
        </p:spPr>
        <p:txBody>
          <a:bodyPr/>
          <a:lstStyle/>
          <a:p>
            <a:pPr lvl="1"/>
            <a:r>
              <a:rPr lang="en-US" sz="1800" dirty="0"/>
              <a:t>All the VMs we build will join Active Directory Domain – no blockers to joining for POC attendees</a:t>
            </a:r>
          </a:p>
          <a:p>
            <a:pPr lvl="1"/>
            <a:r>
              <a:rPr lang="en-US" sz="1800" dirty="0"/>
              <a:t>For the VMs we spin up, best to have Admin rights at the OS level; recommend we have a Domain Admin in the room (OU management rights)</a:t>
            </a:r>
          </a:p>
          <a:p>
            <a:pPr lvl="1"/>
            <a:r>
              <a:rPr lang="en-US" sz="1800" dirty="0"/>
              <a:t>All the work we do in WVD will be from Windows machines w/PowerShell– no Macs or other Linux systems.  </a:t>
            </a:r>
          </a:p>
          <a:p>
            <a:pPr lvl="2"/>
            <a:r>
              <a:rPr lang="en-US" dirty="0"/>
              <a:t>PowerShell on Mac/Linux cannot be used to manage WVD; same with VS Code</a:t>
            </a:r>
          </a:p>
          <a:p>
            <a:pPr lvl="2"/>
            <a:r>
              <a:rPr lang="en-US" dirty="0"/>
              <a:t>Individuals managing WVD will need Admin rights on their local machines to add WVD binaries to PowerShell</a:t>
            </a:r>
          </a:p>
          <a:p>
            <a:pPr lvl="1"/>
            <a:r>
              <a:rPr lang="en-US" sz="1800" dirty="0"/>
              <a:t>It’s best to have GPO manipulation capabilities</a:t>
            </a:r>
          </a:p>
          <a:p>
            <a:pPr lvl="2"/>
            <a:r>
              <a:rPr lang="en-US" dirty="0"/>
              <a:t>GPOs for FSLogix </a:t>
            </a:r>
          </a:p>
          <a:p>
            <a:pPr lvl="2"/>
            <a:r>
              <a:rPr lang="en-US" dirty="0"/>
              <a:t>We sometimes run into a GPO blocker that requires remediation </a:t>
            </a:r>
          </a:p>
          <a:p>
            <a:pPr lvl="1"/>
            <a:r>
              <a:rPr lang="en-US" sz="1800" dirty="0"/>
              <a:t>See </a:t>
            </a:r>
            <a:r>
              <a:rPr lang="en-US" sz="1800" u="sng" dirty="0">
                <a:hlinkClick r:id="rId2"/>
              </a:rPr>
              <a:t>https://docs.microsoft.com/en-us/azure/virtual-desktop/overview</a:t>
            </a:r>
            <a:r>
              <a:rPr lang="en-US" sz="1800" dirty="0"/>
              <a:t> for a list of URLs we need to be able to access over 443 &amp; 1688 </a:t>
            </a:r>
          </a:p>
          <a:p>
            <a:pPr lvl="2"/>
            <a:r>
              <a:rPr lang="en-US" dirty="0"/>
              <a:t>You will have to create a custom forced route to our KMS: </a:t>
            </a:r>
            <a:r>
              <a:rPr lang="en-US" dirty="0">
                <a:hlinkClick r:id="rId3"/>
              </a:rPr>
              <a:t>https://docs.microsoft.com/en-us/azure/virtual-machines/troubleshooting/custom-routes-enable-kms-activation</a:t>
            </a:r>
            <a:endParaRPr lang="en-US" dirty="0"/>
          </a:p>
          <a:p>
            <a:pPr lvl="1"/>
            <a:r>
              <a:rPr lang="en-US" sz="1800" dirty="0"/>
              <a:t>Best to have ability to manipulate host-based Firewall on the VMs just in case there are exclude rules hindering communications</a:t>
            </a:r>
          </a:p>
          <a:p>
            <a:pPr lvl="1"/>
            <a:r>
              <a:rPr lang="en-US" sz="1800" dirty="0"/>
              <a:t>Check Subscription Core Counts – ensure both Regional and VM types have headroom</a:t>
            </a:r>
          </a:p>
        </p:txBody>
      </p:sp>
    </p:spTree>
    <p:extLst>
      <p:ext uri="{BB962C8B-B14F-4D97-AF65-F5344CB8AC3E}">
        <p14:creationId xmlns:p14="http://schemas.microsoft.com/office/powerpoint/2010/main" val="4132464546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C56BD00-37DF-4342-AF93-70C885A9A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VD V2 Is Coming… (May 2020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2F2BE7-906F-4C13-A571-0958305B7C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730" y="1403838"/>
            <a:ext cx="11742540" cy="3853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52475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1E5B6F-794F-440A-8C6B-A95892CF5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Deploy Common Names across OU’s, GPO’s, Resource Groups, HostPools &amp; VM Names in A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D67E6FC-B03A-4DE8-8947-86645B0BC93A}"/>
              </a:ext>
            </a:extLst>
          </p:cNvPr>
          <p:cNvSpPr/>
          <p:nvPr/>
        </p:nvSpPr>
        <p:spPr bwMode="auto">
          <a:xfrm>
            <a:off x="6457072" y="3888065"/>
            <a:ext cx="1712285" cy="1457864"/>
          </a:xfrm>
          <a:prstGeom prst="rect">
            <a:avLst/>
          </a:prstGeom>
          <a:solidFill>
            <a:srgbClr val="FFB90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u="sng" dirty="0">
                <a:solidFill>
                  <a:schemeClr val="tx2"/>
                </a:solidFill>
              </a:rPr>
              <a:t>PAF05086</a:t>
            </a:r>
            <a:r>
              <a:rPr lang="en-US" sz="1600" dirty="0">
                <a:solidFill>
                  <a:schemeClr val="tx2"/>
                </a:solidFill>
              </a:rPr>
              <a:t> Host Pool</a:t>
            </a:r>
          </a:p>
        </p:txBody>
      </p:sp>
      <p:pic>
        <p:nvPicPr>
          <p:cNvPr id="11" name="Virtual machines">
            <a:extLst>
              <a:ext uri="{FF2B5EF4-FFF2-40B4-BE49-F238E27FC236}">
                <a16:creationId xmlns:a16="http://schemas.microsoft.com/office/drawing/2014/main" id="{AF498FFC-2753-48D3-A8F7-27F4F0467FE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duotone>
              <a:prstClr val="black"/>
              <a:srgbClr val="292929">
                <a:lumMod val="50000"/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7867" y="4764386"/>
            <a:ext cx="468965" cy="436611"/>
          </a:xfrm>
          <a:prstGeom prst="rect">
            <a:avLst/>
          </a:prstGeom>
        </p:spPr>
      </p:pic>
      <p:pic>
        <p:nvPicPr>
          <p:cNvPr id="12" name="Virtual machines">
            <a:extLst>
              <a:ext uri="{FF2B5EF4-FFF2-40B4-BE49-F238E27FC236}">
                <a16:creationId xmlns:a16="http://schemas.microsoft.com/office/drawing/2014/main" id="{97250A51-6908-455B-A958-CFD44C61E6C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duotone>
              <a:prstClr val="black"/>
              <a:srgbClr val="292929">
                <a:lumMod val="50000"/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1474" y="4764386"/>
            <a:ext cx="468965" cy="436611"/>
          </a:xfrm>
          <a:prstGeom prst="rect">
            <a:avLst/>
          </a:prstGeom>
        </p:spPr>
      </p:pic>
      <p:pic>
        <p:nvPicPr>
          <p:cNvPr id="13" name="Virtual machines">
            <a:extLst>
              <a:ext uri="{FF2B5EF4-FFF2-40B4-BE49-F238E27FC236}">
                <a16:creationId xmlns:a16="http://schemas.microsoft.com/office/drawing/2014/main" id="{2D932F89-529C-491D-ABB4-0B37FDA4255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duotone>
              <a:prstClr val="black"/>
              <a:srgbClr val="292929">
                <a:lumMod val="50000"/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1472" y="3982887"/>
            <a:ext cx="468965" cy="436611"/>
          </a:xfrm>
          <a:prstGeom prst="rect">
            <a:avLst/>
          </a:prstGeom>
        </p:spPr>
      </p:pic>
      <p:pic>
        <p:nvPicPr>
          <p:cNvPr id="14" name="Virtual machines">
            <a:extLst>
              <a:ext uri="{FF2B5EF4-FFF2-40B4-BE49-F238E27FC236}">
                <a16:creationId xmlns:a16="http://schemas.microsoft.com/office/drawing/2014/main" id="{CCB2AC9B-0B2B-4518-86E5-935B50D188B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duotone>
              <a:prstClr val="black"/>
              <a:srgbClr val="292929">
                <a:lumMod val="50000"/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7866" y="3987436"/>
            <a:ext cx="468965" cy="436611"/>
          </a:xfrm>
          <a:prstGeom prst="rect">
            <a:avLst/>
          </a:prstGeom>
        </p:spPr>
      </p:pic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B1B380F8-EFA3-4A34-A4AE-72C53E034A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7874" y="4401986"/>
            <a:ext cx="780290" cy="78029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78C3344-3BA7-4BFB-A551-6EEDB1CD95F2}"/>
              </a:ext>
            </a:extLst>
          </p:cNvPr>
          <p:cNvSpPr txBox="1"/>
          <p:nvPr/>
        </p:nvSpPr>
        <p:spPr>
          <a:xfrm>
            <a:off x="3166697" y="3843726"/>
            <a:ext cx="2557910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\\FSLFS\Share\</a:t>
            </a:r>
            <a:r>
              <a:rPr lang="en-US" sz="1600" b="1" u="sng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AF05086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669FA7E-809E-4068-A7DC-DEEF8A91671E}"/>
              </a:ext>
            </a:extLst>
          </p:cNvPr>
          <p:cNvSpPr txBox="1"/>
          <p:nvPr/>
        </p:nvSpPr>
        <p:spPr>
          <a:xfrm>
            <a:off x="7150903" y="5495674"/>
            <a:ext cx="4980553" cy="145886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Name is consistent across all components – easy to see which parts are relate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4C4B033-21C3-40DE-9362-41E1AC3F7EC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382" y="3389967"/>
            <a:ext cx="2695575" cy="150495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835E0C42-D6AE-4183-ACB4-8BDBBF0CE312}"/>
              </a:ext>
            </a:extLst>
          </p:cNvPr>
          <p:cNvSpPr txBox="1"/>
          <p:nvPr/>
        </p:nvSpPr>
        <p:spPr>
          <a:xfrm>
            <a:off x="2848857" y="1804993"/>
            <a:ext cx="2916669" cy="161890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287338" indent="-287338">
              <a:lnSpc>
                <a:spcPct val="90000"/>
              </a:lnSpc>
              <a:spcAft>
                <a:spcPts val="600"/>
              </a:spcAft>
            </a:pPr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3. Create GPO’s for each OU w/the same name</a:t>
            </a:r>
          </a:p>
          <a:p>
            <a:pPr marL="287338" indent="-287338">
              <a:lnSpc>
                <a:spcPct val="90000"/>
              </a:lnSpc>
              <a:spcAft>
                <a:spcPts val="600"/>
              </a:spcAft>
            </a:pPr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4. GPO points to FSL Profile share w/same nam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7A82E86-A132-465A-ACCB-B14C32B64EBC}"/>
              </a:ext>
            </a:extLst>
          </p:cNvPr>
          <p:cNvSpPr txBox="1"/>
          <p:nvPr/>
        </p:nvSpPr>
        <p:spPr>
          <a:xfrm>
            <a:off x="0" y="1771062"/>
            <a:ext cx="2998315" cy="161890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AutoNum type="arabicPeriod"/>
            </a:pPr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reate an OU Structure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AutoNum type="arabicPeriod"/>
            </a:pPr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Naming convention is </a:t>
            </a:r>
            <a:r>
              <a:rPr lang="en-US" sz="1800" b="1" i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OU, HostPool, Share, and VM Name all match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8EA2B618-9837-4DA4-B161-11F8C944760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97491" y="3412847"/>
            <a:ext cx="1666875" cy="389684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DF7CBAEE-A072-4766-B495-FCBF66EEA74D}"/>
              </a:ext>
            </a:extLst>
          </p:cNvPr>
          <p:cNvSpPr/>
          <p:nvPr/>
        </p:nvSpPr>
        <p:spPr bwMode="auto">
          <a:xfrm>
            <a:off x="1332931" y="3723191"/>
            <a:ext cx="1191681" cy="357490"/>
          </a:xfrm>
          <a:prstGeom prst="roundRect">
            <a:avLst/>
          </a:prstGeom>
          <a:noFill/>
          <a:ln w="57150">
            <a:solidFill>
              <a:schemeClr val="accent2">
                <a:lumMod val="50000"/>
                <a:lumOff val="50000"/>
              </a:schemeClr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D8EC225E-C6DC-4517-A3DB-B5E6304F63EE}"/>
              </a:ext>
            </a:extLst>
          </p:cNvPr>
          <p:cNvCxnSpPr>
            <a:cxnSpLocks/>
            <a:endCxn id="23" idx="1"/>
          </p:cNvCxnSpPr>
          <p:nvPr/>
        </p:nvCxnSpPr>
        <p:spPr>
          <a:xfrm flipV="1">
            <a:off x="2688603" y="3607689"/>
            <a:ext cx="608888" cy="253720"/>
          </a:xfrm>
          <a:prstGeom prst="straightConnector1">
            <a:avLst/>
          </a:prstGeom>
          <a:ln w="381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C994CEB0-5729-4B1D-86E4-41A39E2C71FF}"/>
              </a:ext>
            </a:extLst>
          </p:cNvPr>
          <p:cNvCxnSpPr>
            <a:cxnSpLocks/>
            <a:stCxn id="23" idx="3"/>
          </p:cNvCxnSpPr>
          <p:nvPr/>
        </p:nvCxnSpPr>
        <p:spPr>
          <a:xfrm>
            <a:off x="4964366" y="3607689"/>
            <a:ext cx="266142" cy="280376"/>
          </a:xfrm>
          <a:prstGeom prst="bentConnector2">
            <a:avLst/>
          </a:prstGeom>
          <a:ln w="381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F5E3772E-324A-4DBD-9EB1-DDDBF986E03B}"/>
              </a:ext>
            </a:extLst>
          </p:cNvPr>
          <p:cNvSpPr txBox="1"/>
          <p:nvPr/>
        </p:nvSpPr>
        <p:spPr>
          <a:xfrm>
            <a:off x="5912911" y="1786406"/>
            <a:ext cx="3166101" cy="213904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287338" indent="-287338">
              <a:lnSpc>
                <a:spcPct val="90000"/>
              </a:lnSpc>
              <a:spcAft>
                <a:spcPts val="600"/>
              </a:spcAft>
            </a:pPr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5. Create a HostPool of the same name that populates the OU</a:t>
            </a:r>
          </a:p>
          <a:p>
            <a:pPr marL="287338" indent="-287338">
              <a:lnSpc>
                <a:spcPct val="90000"/>
              </a:lnSpc>
              <a:spcAft>
                <a:spcPts val="600"/>
              </a:spcAft>
            </a:pPr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</a:t>
            </a: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. Deploy to Resource Group of the same name </a:t>
            </a:r>
            <a:r>
              <a:rPr lang="en-US" sz="1400" b="1" u="sng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AF05086</a:t>
            </a:r>
          </a:p>
          <a:p>
            <a:pPr marL="287338" indent="-287338">
              <a:lnSpc>
                <a:spcPct val="90000"/>
              </a:lnSpc>
              <a:spcAft>
                <a:spcPts val="600"/>
              </a:spcAft>
            </a:pPr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6. Name VMs with same name</a:t>
            </a: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10CE7706-2161-44A9-8ABB-313179DB14A0}"/>
              </a:ext>
            </a:extLst>
          </p:cNvPr>
          <p:cNvCxnSpPr>
            <a:cxnSpLocks/>
          </p:cNvCxnSpPr>
          <p:nvPr/>
        </p:nvCxnSpPr>
        <p:spPr>
          <a:xfrm flipH="1">
            <a:off x="8050437" y="3613010"/>
            <a:ext cx="1294903" cy="863922"/>
          </a:xfrm>
          <a:prstGeom prst="straightConnector1">
            <a:avLst/>
          </a:prstGeom>
          <a:ln w="381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DA1A279C-2088-4114-ADB0-E9CB7551920D}"/>
              </a:ext>
            </a:extLst>
          </p:cNvPr>
          <p:cNvSpPr txBox="1"/>
          <p:nvPr/>
        </p:nvSpPr>
        <p:spPr>
          <a:xfrm>
            <a:off x="8823623" y="2356452"/>
            <a:ext cx="2309643" cy="1625060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VM NetBIOS names are </a:t>
            </a:r>
            <a:r>
              <a:rPr lang="en-US" sz="2400" b="1" u="sng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AF05086-0, -1, etc.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E3633DA4-6001-45A2-B773-D5B333F82E07}"/>
              </a:ext>
            </a:extLst>
          </p:cNvPr>
          <p:cNvCxnSpPr/>
          <p:nvPr/>
        </p:nvCxnSpPr>
        <p:spPr>
          <a:xfrm flipV="1">
            <a:off x="755176" y="3802531"/>
            <a:ext cx="0" cy="2120597"/>
          </a:xfrm>
          <a:prstGeom prst="straightConnector1">
            <a:avLst/>
          </a:prstGeom>
          <a:ln w="41275">
            <a:solidFill>
              <a:srgbClr val="FF0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9DFB7438-DB7F-441F-9F83-45457FAF13C0}"/>
              </a:ext>
            </a:extLst>
          </p:cNvPr>
          <p:cNvSpPr txBox="1"/>
          <p:nvPr/>
        </p:nvSpPr>
        <p:spPr>
          <a:xfrm>
            <a:off x="699831" y="4862829"/>
            <a:ext cx="2231305" cy="12926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rgbClr val="FF0000"/>
                </a:solidFill>
              </a:rPr>
              <a:t>Block Inheritance Here</a:t>
            </a:r>
          </a:p>
        </p:txBody>
      </p:sp>
    </p:spTree>
    <p:extLst>
      <p:ext uri="{BB962C8B-B14F-4D97-AF65-F5344CB8AC3E}">
        <p14:creationId xmlns:p14="http://schemas.microsoft.com/office/powerpoint/2010/main" val="18785102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30" grpId="0"/>
      <p:bldP spid="22" grpId="0"/>
      <p:bldP spid="41" grpId="0"/>
      <p:bldP spid="43" grpId="0"/>
      <p:bldP spid="4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990287-DFFB-4F3D-8332-2F180B8F2C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low Office Activation to Roam w/Us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4FCBD9-82E3-4BD2-8F62-DB290DE755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4653582"/>
          </a:xfrm>
        </p:spPr>
        <p:txBody>
          <a:bodyPr/>
          <a:lstStyle/>
          <a:p>
            <a:r>
              <a:rPr lang="en-US" sz="1600" dirty="0"/>
              <a:t>Reference: </a:t>
            </a:r>
            <a:r>
              <a:rPr lang="en-US" sz="1600" u="sng" dirty="0">
                <a:hlinkClick r:id="rId2"/>
              </a:rPr>
              <a:t>https://docs.microsoft.com/en-us/DeployOffice/overview-of-shared-computer-activation-for-office-365-proplus</a:t>
            </a:r>
            <a:r>
              <a:rPr lang="en-US" sz="1600" dirty="0"/>
              <a:t> </a:t>
            </a:r>
          </a:p>
          <a:p>
            <a:r>
              <a:rPr lang="en-US" sz="3200" dirty="0"/>
              <a:t>Users can activate Office 365 </a:t>
            </a:r>
            <a:r>
              <a:rPr lang="en-US" sz="3200" dirty="0" err="1"/>
              <a:t>ProPlus</a:t>
            </a:r>
            <a:r>
              <a:rPr lang="en-US" sz="3200" dirty="0"/>
              <a:t> only on a limited number of devices, such as 5 PCs. </a:t>
            </a:r>
          </a:p>
          <a:p>
            <a:pPr lvl="1"/>
            <a:r>
              <a:rPr lang="en-US" sz="2400" dirty="0"/>
              <a:t>Gallery Multi-User Win10 Images in Azure w/O365 ship with Shared Computer Activation (SCA) - doesn't count against that limit</a:t>
            </a:r>
          </a:p>
          <a:p>
            <a:pPr lvl="1"/>
            <a:r>
              <a:rPr lang="en-US" sz="2400" dirty="0"/>
              <a:t>Alternatively, you can </a:t>
            </a:r>
            <a:r>
              <a:rPr lang="en-US" sz="2400" dirty="0">
                <a:hlinkClick r:id="rId3"/>
              </a:rPr>
              <a:t>“clean” install O365 and enable SCA</a:t>
            </a:r>
            <a:endParaRPr lang="en-US" sz="2400" dirty="0"/>
          </a:p>
          <a:p>
            <a:r>
              <a:rPr lang="en-US" sz="3200" dirty="0"/>
              <a:t>3 steps required to enable Office Activation to roam:</a:t>
            </a:r>
          </a:p>
          <a:p>
            <a:pPr lvl="1"/>
            <a:r>
              <a:rPr lang="en-US" sz="2000"/>
              <a:t>[Note </a:t>
            </a:r>
            <a:r>
              <a:rPr lang="en-US" sz="2000" dirty="0"/>
              <a:t>that the O365 Container is separate from the </a:t>
            </a:r>
            <a:r>
              <a:rPr lang="en-US" sz="2000"/>
              <a:t>Profile Container]</a:t>
            </a:r>
            <a:endParaRPr lang="en-US" sz="2000" dirty="0"/>
          </a:p>
          <a:p>
            <a:pPr lvl="1"/>
            <a:r>
              <a:rPr lang="en-US" sz="2000" dirty="0"/>
              <a:t>In </a:t>
            </a:r>
            <a:r>
              <a:rPr lang="en-US" sz="2000" b="1" dirty="0"/>
              <a:t>O365 Containers </a:t>
            </a:r>
            <a:r>
              <a:rPr lang="en-US" sz="2000" dirty="0"/>
              <a:t>node, change “Enabled” key from “Not Configured” to “Enabled”</a:t>
            </a:r>
          </a:p>
          <a:p>
            <a:pPr lvl="1"/>
            <a:r>
              <a:rPr lang="en-US" sz="2000" dirty="0"/>
              <a:t>Enable “VHD Location” key and provide a path to a file share on FSLogix Server</a:t>
            </a:r>
          </a:p>
          <a:p>
            <a:pPr lvl="1"/>
            <a:r>
              <a:rPr lang="en-US" sz="2000" dirty="0"/>
              <a:t>Set “Include Office activation data in the container” to Enable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F6E5637-F385-4925-9F56-02BB51BC345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67663" y="5887648"/>
            <a:ext cx="9456673" cy="384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06390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32E436E-B486-492F-86C0-3301559C4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4885"/>
          </a:xfrm>
        </p:spPr>
        <p:txBody>
          <a:bodyPr/>
          <a:lstStyle/>
          <a:p>
            <a:r>
              <a:rPr lang="en-US" sz="3200" b="1" dirty="0"/>
              <a:t>Plan to build a Gold Image VM from Scratch – Choose the Correct O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D047CD-27CE-47CE-AADA-67BEC6FA1D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4996561"/>
          </a:xfrm>
        </p:spPr>
        <p:txBody>
          <a:bodyPr/>
          <a:lstStyle/>
          <a:p>
            <a:r>
              <a:rPr lang="en-US" sz="2800" u="sng" dirty="0">
                <a:hlinkClick r:id="rId2"/>
              </a:rPr>
              <a:t>Create a VM from a managed image</a:t>
            </a:r>
            <a:endParaRPr lang="en-US" sz="2800" u="sng" dirty="0"/>
          </a:p>
          <a:p>
            <a:endParaRPr lang="en-US" u="sng" dirty="0"/>
          </a:p>
          <a:p>
            <a:endParaRPr lang="en-US" u="sng" dirty="0"/>
          </a:p>
          <a:p>
            <a:endParaRPr lang="en-US" u="sng" dirty="0"/>
          </a:p>
          <a:p>
            <a:endParaRPr lang="en-US" u="sng" dirty="0"/>
          </a:p>
          <a:p>
            <a:endParaRPr lang="en-US" u="sng" dirty="0"/>
          </a:p>
          <a:p>
            <a:endParaRPr lang="en-US" u="sng" dirty="0"/>
          </a:p>
          <a:p>
            <a:endParaRPr lang="en-US" u="sng" dirty="0"/>
          </a:p>
          <a:p>
            <a:r>
              <a:rPr lang="en-US" sz="2400" dirty="0"/>
              <a:t>Build the VM like you would any other (we’re not creating anything WVD-centric at this point, just a VM to customize)</a:t>
            </a:r>
            <a:endParaRPr lang="en-US" sz="2400" u="sng" dirty="0"/>
          </a:p>
        </p:txBody>
      </p:sp>
      <p:pic>
        <p:nvPicPr>
          <p:cNvPr id="8194" name="Picture 4" descr="image005">
            <a:extLst>
              <a:ext uri="{FF2B5EF4-FFF2-40B4-BE49-F238E27FC236}">
                <a16:creationId xmlns:a16="http://schemas.microsoft.com/office/drawing/2014/main" id="{FE4287A9-9CE2-46D8-A0AE-79FDFFC3DB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244" y="2015331"/>
            <a:ext cx="8865088" cy="3491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7139A40-CCE9-45D9-A25F-AB51E0417A9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7775" y="3854108"/>
            <a:ext cx="5774094" cy="346417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8987C912-F7D1-4E78-9EFB-446A0CD5E6C6}"/>
              </a:ext>
            </a:extLst>
          </p:cNvPr>
          <p:cNvSpPr/>
          <p:nvPr/>
        </p:nvSpPr>
        <p:spPr bwMode="auto">
          <a:xfrm>
            <a:off x="3817774" y="3896809"/>
            <a:ext cx="5546845" cy="346417"/>
          </a:xfrm>
          <a:prstGeom prst="roundRect">
            <a:avLst>
              <a:gd name="adj" fmla="val 16667"/>
            </a:avLst>
          </a:prstGeom>
          <a:solidFill>
            <a:srgbClr val="FFFF00">
              <a:alpha val="34000"/>
            </a:srgb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Arrow: Left 6">
            <a:extLst>
              <a:ext uri="{FF2B5EF4-FFF2-40B4-BE49-F238E27FC236}">
                <a16:creationId xmlns:a16="http://schemas.microsoft.com/office/drawing/2014/main" id="{EC6B83F6-EA25-4425-A453-48E05EA55C79}"/>
              </a:ext>
            </a:extLst>
          </p:cNvPr>
          <p:cNvSpPr/>
          <p:nvPr/>
        </p:nvSpPr>
        <p:spPr bwMode="auto">
          <a:xfrm>
            <a:off x="4896623" y="2574936"/>
            <a:ext cx="4114027" cy="1156012"/>
          </a:xfrm>
          <a:prstGeom prst="leftArrow">
            <a:avLst/>
          </a:prstGeom>
          <a:solidFill>
            <a:srgbClr val="00B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Region is the same as where you are deploying WVD </a:t>
            </a:r>
            <a:r>
              <a:rPr lang="en-US" sz="1200" b="1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HostPools</a:t>
            </a:r>
            <a:r>
              <a:rPr lang="en-US" sz="12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, Subnets in same Region</a:t>
            </a:r>
          </a:p>
        </p:txBody>
      </p:sp>
      <p:sp>
        <p:nvSpPr>
          <p:cNvPr id="8" name="Arrow: Left 7">
            <a:extLst>
              <a:ext uri="{FF2B5EF4-FFF2-40B4-BE49-F238E27FC236}">
                <a16:creationId xmlns:a16="http://schemas.microsoft.com/office/drawing/2014/main" id="{101D93C6-E49A-40EF-93BB-6E01B698167D}"/>
              </a:ext>
            </a:extLst>
          </p:cNvPr>
          <p:cNvSpPr/>
          <p:nvPr/>
        </p:nvSpPr>
        <p:spPr bwMode="auto">
          <a:xfrm rot="794445">
            <a:off x="8766705" y="3715719"/>
            <a:ext cx="2676250" cy="1328184"/>
          </a:xfrm>
          <a:prstGeom prst="leftArrow">
            <a:avLst/>
          </a:prstGeom>
          <a:solidFill>
            <a:srgbClr val="00B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Ensure this is the version showing</a:t>
            </a:r>
          </a:p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Browse to find it….</a:t>
            </a:r>
          </a:p>
        </p:txBody>
      </p:sp>
    </p:spTree>
    <p:extLst>
      <p:ext uri="{BB962C8B-B14F-4D97-AF65-F5344CB8AC3E}">
        <p14:creationId xmlns:p14="http://schemas.microsoft.com/office/powerpoint/2010/main" val="258599023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32E436E-B486-492F-86C0-3301559C4E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ld Image Build - Customize the VM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D047CD-27CE-47CE-AADA-67BEC6FA1D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740" y="1011198"/>
            <a:ext cx="11018520" cy="5182957"/>
          </a:xfrm>
        </p:spPr>
        <p:txBody>
          <a:bodyPr/>
          <a:lstStyle/>
          <a:p>
            <a:r>
              <a:rPr lang="en-US" sz="1800" dirty="0"/>
              <a:t>Login to the VM you just created and configure it how you like </a:t>
            </a:r>
          </a:p>
          <a:p>
            <a:r>
              <a:rPr lang="en-US" sz="1800" dirty="0"/>
              <a:t>Guides: </a:t>
            </a:r>
            <a:endParaRPr lang="en-US" sz="1800" dirty="0">
              <a:hlinkClick r:id="rId2"/>
            </a:endParaRPr>
          </a:p>
          <a:p>
            <a:pPr lvl="1"/>
            <a:r>
              <a:rPr lang="en-US" sz="1400" u="sng" dirty="0">
                <a:hlinkClick r:id="rId2"/>
              </a:rPr>
              <a:t>Software preparation and installation</a:t>
            </a:r>
            <a:r>
              <a:rPr lang="en-US" sz="1400" dirty="0"/>
              <a:t> – MS Guidance</a:t>
            </a:r>
          </a:p>
          <a:p>
            <a:pPr lvl="1"/>
            <a:r>
              <a:rPr lang="en-US" sz="1400" dirty="0">
                <a:hlinkClick r:id="rId3"/>
              </a:rPr>
              <a:t>https://www.robinhobo.com/how-to-create-a-custom-windows-10-multi-user-image-with-lob-applications-for-windows-virtual-desktop-preview-wvd-hostpool-deployments/</a:t>
            </a:r>
            <a:r>
              <a:rPr lang="en-US" sz="1400" dirty="0"/>
              <a:t> (3</a:t>
            </a:r>
            <a:r>
              <a:rPr lang="en-US" sz="1400" baseline="30000" dirty="0"/>
              <a:t>rd</a:t>
            </a:r>
            <a:r>
              <a:rPr lang="en-US" sz="1400" dirty="0"/>
              <a:t> party, but great!)</a:t>
            </a:r>
          </a:p>
          <a:p>
            <a:r>
              <a:rPr lang="en-US" sz="2000" dirty="0"/>
              <a:t>Key configs:</a:t>
            </a:r>
          </a:p>
          <a:p>
            <a:pPr lvl="1"/>
            <a:r>
              <a:rPr lang="en-US" sz="1400" dirty="0"/>
              <a:t>VERY important to get Office &amp; OneDrive deployed </a:t>
            </a:r>
            <a:r>
              <a:rPr lang="en-US" sz="1400" b="1" dirty="0"/>
              <a:t>per-machine</a:t>
            </a:r>
          </a:p>
          <a:p>
            <a:pPr lvl="2"/>
            <a:r>
              <a:rPr lang="en-US" sz="1100" dirty="0">
                <a:hlinkClick r:id="rId4"/>
              </a:rPr>
              <a:t>Install OneDrive in per-machine mode</a:t>
            </a:r>
            <a:endParaRPr lang="en-US" sz="1100" dirty="0"/>
          </a:p>
          <a:p>
            <a:pPr lvl="2"/>
            <a:r>
              <a:rPr lang="en-US" sz="1100" dirty="0">
                <a:hlinkClick r:id="rId5"/>
              </a:rPr>
              <a:t>Install Office in shared computer activation mode</a:t>
            </a:r>
            <a:endParaRPr lang="en-US" sz="1100" dirty="0"/>
          </a:p>
          <a:p>
            <a:pPr lvl="1"/>
            <a:r>
              <a:rPr lang="en-US" sz="1400" dirty="0"/>
              <a:t>VERY important to register VM with Azure-based KMS</a:t>
            </a:r>
          </a:p>
          <a:p>
            <a:pPr lvl="2"/>
            <a:r>
              <a:rPr lang="en-US" sz="1100" dirty="0"/>
              <a:t>Code:  </a:t>
            </a:r>
            <a:r>
              <a:rPr lang="en-US" sz="1100" dirty="0">
                <a:solidFill>
                  <a:srgbClr val="0000FF"/>
                </a:solidFill>
                <a:latin typeface="Lucida Console" panose="020B0609040504020204" pitchFamily="49" charset="0"/>
              </a:rPr>
              <a:t>Invoke-Expression</a:t>
            </a:r>
            <a:r>
              <a:rPr lang="en-US" sz="1100" dirty="0">
                <a:solidFill>
                  <a:prstClr val="black"/>
                </a:solidFill>
                <a:latin typeface="Lucida Console" panose="020B0609040504020204" pitchFamily="49" charset="0"/>
              </a:rPr>
              <a:t> </a:t>
            </a:r>
            <a:r>
              <a:rPr lang="en-US" sz="1100" dirty="0">
                <a:solidFill>
                  <a:srgbClr val="8B0000"/>
                </a:solidFill>
                <a:latin typeface="Lucida Console" panose="020B0609040504020204" pitchFamily="49" charset="0"/>
              </a:rPr>
              <a:t>"</a:t>
            </a:r>
            <a:r>
              <a:rPr lang="en-US" sz="1100" dirty="0">
                <a:solidFill>
                  <a:srgbClr val="A82D00"/>
                </a:solidFill>
                <a:latin typeface="Lucida Console" panose="020B0609040504020204" pitchFamily="49" charset="0"/>
              </a:rPr>
              <a:t>$</a:t>
            </a:r>
            <a:r>
              <a:rPr lang="en-US" sz="1100" dirty="0" err="1">
                <a:solidFill>
                  <a:srgbClr val="A82D00"/>
                </a:solidFill>
                <a:latin typeface="Lucida Console" panose="020B0609040504020204" pitchFamily="49" charset="0"/>
              </a:rPr>
              <a:t>env:windir</a:t>
            </a:r>
            <a:r>
              <a:rPr lang="en-US" sz="1100" dirty="0">
                <a:solidFill>
                  <a:srgbClr val="8B0000"/>
                </a:solidFill>
                <a:latin typeface="Lucida Console" panose="020B0609040504020204" pitchFamily="49" charset="0"/>
              </a:rPr>
              <a:t>\system32\cscript.exe </a:t>
            </a:r>
            <a:r>
              <a:rPr lang="en-US" sz="1100" dirty="0">
                <a:solidFill>
                  <a:srgbClr val="A82D00"/>
                </a:solidFill>
                <a:latin typeface="Lucida Console" panose="020B0609040504020204" pitchFamily="49" charset="0"/>
              </a:rPr>
              <a:t>$</a:t>
            </a:r>
            <a:r>
              <a:rPr lang="en-US" sz="1100" dirty="0" err="1">
                <a:solidFill>
                  <a:srgbClr val="A82D00"/>
                </a:solidFill>
                <a:latin typeface="Lucida Console" panose="020B0609040504020204" pitchFamily="49" charset="0"/>
              </a:rPr>
              <a:t>env:windir</a:t>
            </a:r>
            <a:r>
              <a:rPr lang="en-US" sz="1100" dirty="0">
                <a:solidFill>
                  <a:srgbClr val="8B0000"/>
                </a:solidFill>
                <a:latin typeface="Lucida Console" panose="020B0609040504020204" pitchFamily="49" charset="0"/>
              </a:rPr>
              <a:t>\system32\slmgr.vbs /</a:t>
            </a:r>
            <a:r>
              <a:rPr lang="en-US" sz="1100" dirty="0" err="1">
                <a:solidFill>
                  <a:srgbClr val="8B0000"/>
                </a:solidFill>
                <a:latin typeface="Lucida Console" panose="020B0609040504020204" pitchFamily="49" charset="0"/>
              </a:rPr>
              <a:t>skms</a:t>
            </a:r>
            <a:r>
              <a:rPr lang="en-US" sz="1100" dirty="0">
                <a:solidFill>
                  <a:srgbClr val="8B0000"/>
                </a:solidFill>
                <a:latin typeface="Lucida Console" panose="020B0609040504020204" pitchFamily="49" charset="0"/>
              </a:rPr>
              <a:t> kms.core.windows.net:1688" </a:t>
            </a:r>
            <a:endParaRPr lang="en-US" sz="1100" dirty="0"/>
          </a:p>
          <a:p>
            <a:pPr lvl="2"/>
            <a:r>
              <a:rPr lang="en-US" sz="1100" dirty="0"/>
              <a:t>DO NOT EVER activate manually w/an on-prem, non-multi-user Key (it will change VM forever to single-user)</a:t>
            </a:r>
          </a:p>
          <a:p>
            <a:pPr lvl="1"/>
            <a:r>
              <a:rPr lang="en-US" sz="1400" dirty="0"/>
              <a:t>Don’t forget your GPU drivers: </a:t>
            </a:r>
            <a:r>
              <a:rPr lang="en-US" sz="1400" dirty="0">
                <a:hlinkClick r:id="rId6"/>
              </a:rPr>
              <a:t>https://docs.microsoft.com/en-us/azure/virtual-desktop/configure-vm-gpu</a:t>
            </a:r>
            <a:r>
              <a:rPr lang="en-US" sz="1400" dirty="0"/>
              <a:t> </a:t>
            </a:r>
          </a:p>
          <a:p>
            <a:r>
              <a:rPr lang="en-US" sz="1800" dirty="0"/>
              <a:t>Popular Add-Ons:</a:t>
            </a:r>
          </a:p>
          <a:p>
            <a:pPr lvl="1"/>
            <a:r>
              <a:rPr lang="en-US" sz="1400" dirty="0"/>
              <a:t>FSLogix agent to achieve persistent user experience across VMs (Profile and Office cache)</a:t>
            </a:r>
          </a:p>
          <a:p>
            <a:pPr lvl="1"/>
            <a:r>
              <a:rPr lang="en-US" sz="1400" dirty="0"/>
              <a:t>WVD Full client to put Remote Apps in the Start Menu</a:t>
            </a:r>
          </a:p>
          <a:p>
            <a:pPr lvl="1"/>
            <a:r>
              <a:rPr lang="en-US" sz="1400" dirty="0"/>
              <a:t>Institutional antivirus</a:t>
            </a:r>
          </a:p>
          <a:p>
            <a:pPr lvl="1"/>
            <a:r>
              <a:rPr lang="en-US" sz="1400" dirty="0"/>
              <a:t>Management / monitoring tools</a:t>
            </a:r>
          </a:p>
          <a:p>
            <a:pPr lvl="1"/>
            <a:r>
              <a:rPr lang="en-US" sz="1400" dirty="0">
                <a:hlinkClick r:id="rId7"/>
              </a:rPr>
              <a:t>Sepago Agent </a:t>
            </a:r>
            <a:r>
              <a:rPr lang="en-US" sz="1400" dirty="0"/>
              <a:t>for monitoring VMs</a:t>
            </a:r>
          </a:p>
          <a:p>
            <a:pPr lvl="1"/>
            <a:r>
              <a:rPr lang="en-US" sz="1400" dirty="0">
                <a:hlinkClick r:id="rId8"/>
              </a:rPr>
              <a:t>Nerdio for Azure </a:t>
            </a:r>
            <a:r>
              <a:rPr lang="en-US" sz="1400" dirty="0"/>
              <a:t>– WVD management, imaging, and deployment management tools</a:t>
            </a:r>
          </a:p>
        </p:txBody>
      </p:sp>
    </p:spTree>
    <p:extLst>
      <p:ext uri="{BB962C8B-B14F-4D97-AF65-F5344CB8AC3E}">
        <p14:creationId xmlns:p14="http://schemas.microsoft.com/office/powerpoint/2010/main" val="137019772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32E436E-B486-492F-86C0-3301559C4E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ld Image Build - Turn the VM Into an Azure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D047CD-27CE-47CE-AADA-67BEC6FA1D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63724"/>
          </a:xfrm>
        </p:spPr>
        <p:txBody>
          <a:bodyPr/>
          <a:lstStyle/>
          <a:p>
            <a:pPr lvl="0"/>
            <a:r>
              <a:rPr lang="en-US" dirty="0"/>
              <a:t>Once done with customization:</a:t>
            </a:r>
          </a:p>
          <a:p>
            <a:pPr lvl="1"/>
            <a:r>
              <a:rPr lang="en-US" dirty="0"/>
              <a:t>Sysprep the system and shut it down </a:t>
            </a:r>
          </a:p>
          <a:p>
            <a:pPr lvl="1"/>
            <a:r>
              <a:rPr lang="en-US" dirty="0"/>
              <a:t>Verify in the Azure console VM is “Stopped (deallocated)” </a:t>
            </a:r>
          </a:p>
          <a:p>
            <a:pPr lvl="1"/>
            <a:r>
              <a:rPr lang="en-US" dirty="0"/>
              <a:t>Ref:  </a:t>
            </a:r>
            <a:r>
              <a:rPr lang="en-US" u="sng" dirty="0">
                <a:hlinkClick r:id="rId2"/>
              </a:rPr>
              <a:t>https://docs.microsoft.com/en-us/azure/virtual-machines/windows/capture-image-resource</a:t>
            </a:r>
            <a:endParaRPr lang="en-US" dirty="0"/>
          </a:p>
          <a:p>
            <a:r>
              <a:rPr lang="en-US" dirty="0"/>
              <a:t>After VM shut down select “Capture” on the VM’s management page:</a:t>
            </a:r>
          </a:p>
        </p:txBody>
      </p:sp>
      <p:pic>
        <p:nvPicPr>
          <p:cNvPr id="9220" name="Picture 5" descr="image008">
            <a:extLst>
              <a:ext uri="{FF2B5EF4-FFF2-40B4-BE49-F238E27FC236}">
                <a16:creationId xmlns:a16="http://schemas.microsoft.com/office/drawing/2014/main" id="{84612441-F084-4F37-9D20-9F899741ED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059" y="3876031"/>
            <a:ext cx="11035075" cy="2164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3C3E081-01CD-4D68-9A83-07068765306B}"/>
              </a:ext>
            </a:extLst>
          </p:cNvPr>
          <p:cNvSpPr/>
          <p:nvPr/>
        </p:nvSpPr>
        <p:spPr bwMode="auto">
          <a:xfrm>
            <a:off x="4599991" y="4030823"/>
            <a:ext cx="1138335" cy="262845"/>
          </a:xfrm>
          <a:prstGeom prst="roundRect">
            <a:avLst/>
          </a:prstGeom>
          <a:solidFill>
            <a:srgbClr val="FFFF00">
              <a:alpha val="34000"/>
            </a:srgb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15682999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C7C0D40-28CD-4AA5-9031-0B809DE90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file IOPS Planning Guidan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9BFFE0-A37B-408F-88A2-AE0BBC3043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3726982"/>
          </a:xfrm>
        </p:spPr>
        <p:txBody>
          <a:bodyPr/>
          <a:lstStyle/>
          <a:p>
            <a:r>
              <a:rPr lang="en-US" dirty="0"/>
              <a:t>IOPS impacts on a VM are:  </a:t>
            </a:r>
          </a:p>
          <a:p>
            <a:pPr lvl="1"/>
            <a:r>
              <a:rPr lang="en-US" dirty="0"/>
              <a:t>1.5-3 IOPS per App Pool</a:t>
            </a:r>
          </a:p>
          <a:p>
            <a:pPr lvl="1"/>
            <a:r>
              <a:rPr lang="en-US" dirty="0"/>
              <a:t>3-8 IOPS per Desktop pool</a:t>
            </a:r>
          </a:p>
          <a:p>
            <a:pPr lvl="1"/>
            <a:r>
              <a:rPr lang="en-US" dirty="0"/>
              <a:t>Logon/logoff will multiply each number between 5x and 10x IOPS</a:t>
            </a:r>
          </a:p>
          <a:p>
            <a:pPr lvl="1"/>
            <a:r>
              <a:rPr lang="en-US" dirty="0"/>
              <a:t>This is a planning estimate w/o knowing anything about workloads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997447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_v03.potx" id="{5E894424-2207-423C-A364-F5291691CAB1}" vid="{DF080804-2077-43CC-975F-A513A0AE6AD8}"/>
    </a:ext>
  </a:extLst>
</a:theme>
</file>

<file path=ppt/theme/theme10.xml><?xml version="1.0" encoding="utf-8"?>
<a:theme xmlns:a="http://schemas.openxmlformats.org/drawingml/2006/main" name="1_Microsoft 365 PPT Template - 2018">
  <a:themeElements>
    <a:clrScheme name="Microsoft 365">
      <a:dk1>
        <a:srgbClr val="282828"/>
      </a:dk1>
      <a:lt1>
        <a:srgbClr val="FFFFFF"/>
      </a:lt1>
      <a:dk2>
        <a:srgbClr val="282828"/>
      </a:dk2>
      <a:lt2>
        <a:srgbClr val="FFFFFF"/>
      </a:lt2>
      <a:accent1>
        <a:srgbClr val="0078D7"/>
      </a:accent1>
      <a:accent2>
        <a:srgbClr val="002050"/>
      </a:accent2>
      <a:accent3>
        <a:srgbClr val="939393"/>
      </a:accent3>
      <a:accent4>
        <a:srgbClr val="00BCF2"/>
      </a:accent4>
      <a:accent5>
        <a:srgbClr val="6C6E6C"/>
      </a:accent5>
      <a:accent6>
        <a:srgbClr val="2E2F2E"/>
      </a:accent6>
      <a:hlink>
        <a:srgbClr val="0078D7"/>
      </a:hlink>
      <a:folHlink>
        <a:srgbClr val="0078D7"/>
      </a:folHlink>
    </a:clrScheme>
    <a:fontScheme name="Custom 2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73EB1BD4-8DD0-42C8-81CF-E8FE58869E13}" vid="{7127501C-7AE5-48D0-B874-F536F38BF7C1}"/>
    </a:ext>
  </a:extLst>
</a:theme>
</file>

<file path=ppt/theme/theme11.xml><?xml version="1.0" encoding="utf-8"?>
<a:theme xmlns:a="http://schemas.openxmlformats.org/drawingml/2006/main" name="1_5-51011_Government_Leaders_Cloud_Forum">
  <a:themeElements>
    <a:clrScheme name="TT Blue on LtGray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107C10"/>
      </a:accent3>
      <a:accent4>
        <a:srgbClr val="D73B01"/>
      </a:accent4>
      <a:accent5>
        <a:srgbClr val="737373"/>
      </a:accent5>
      <a:accent6>
        <a:srgbClr val="D2D2D2"/>
      </a:accent6>
      <a:hlink>
        <a:srgbClr val="00188F"/>
      </a:hlink>
      <a:folHlink>
        <a:srgbClr val="00188F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GovCloudForum_Template_16x9.potx" id="{F20053EC-3F92-4DE8-8888-68F9854B32F4}" vid="{F473CEE3-1451-4243-9B18-6970ACA07E9A}"/>
    </a:ext>
  </a:extLst>
</a:theme>
</file>

<file path=ppt/theme/theme12.xml><?xml version="1.0" encoding="utf-8"?>
<a:theme xmlns:a="http://schemas.openxmlformats.org/drawingml/2006/main" name="2_WHITE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RDP Interoperability Template" id="{A764AEFB-53C6-46C6-BAD3-B54CADAE8876}" vid="{906031F9-1FD5-4435-8768-38C8D14EF749}"/>
    </a:ext>
  </a:extLst>
</a:theme>
</file>

<file path=ppt/theme/theme13.xml><?xml version="1.0" encoding="utf-8"?>
<a:theme xmlns:a="http://schemas.openxmlformats.org/drawingml/2006/main" name="MGXFY15 GS Template - white layout">
  <a:themeElements>
    <a:clrScheme name="Custom 7">
      <a:dk1>
        <a:srgbClr val="505050"/>
      </a:dk1>
      <a:lt1>
        <a:srgbClr val="FFFFFF"/>
      </a:lt1>
      <a:dk2>
        <a:srgbClr val="002050"/>
      </a:dk2>
      <a:lt2>
        <a:srgbClr val="D2D2D2"/>
      </a:lt2>
      <a:accent1>
        <a:srgbClr val="0072C6"/>
      </a:accent1>
      <a:accent2>
        <a:srgbClr val="4668C5"/>
      </a:accent2>
      <a:accent3>
        <a:srgbClr val="00188F"/>
      </a:accent3>
      <a:accent4>
        <a:srgbClr val="008272"/>
      </a:accent4>
      <a:accent5>
        <a:srgbClr val="68217A"/>
      </a:accent5>
      <a:accent6>
        <a:srgbClr val="007233"/>
      </a:accent6>
      <a:hlink>
        <a:srgbClr val="008272"/>
      </a:hlink>
      <a:folHlink>
        <a:srgbClr val="00827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8DFC0E8C-F612-43D4-B8FC-667019544AE0}" vid="{994DF28D-DE75-4646-8A9A-D8C01370DE62}"/>
    </a:ext>
  </a:extLst>
</a:theme>
</file>

<file path=ppt/theme/theme14.xml><?xml version="1.0" encoding="utf-8"?>
<a:theme xmlns:a="http://schemas.openxmlformats.org/drawingml/2006/main" name="1_5-30660_TR21_BO_CT_Template">
  <a:themeElements>
    <a:clrScheme name="Custom 12">
      <a:dk1>
        <a:srgbClr val="505050"/>
      </a:dk1>
      <a:lt1>
        <a:srgbClr val="FFFFFF"/>
      </a:lt1>
      <a:dk2>
        <a:srgbClr val="0078D7"/>
      </a:dk2>
      <a:lt2>
        <a:srgbClr val="D2D2D2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4DB0FF"/>
      </a:hlink>
      <a:folHlink>
        <a:srgbClr val="7F7F7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3175"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1_BO_CT_Template.potx [Read-Only]" id="{75943521-E3C3-4031-9F22-7C26411915FC}" vid="{7540FE32-89F5-4624-B769-BFB809EDCFE3}"/>
    </a:ext>
  </a:extLst>
</a:theme>
</file>

<file path=ppt/theme/theme15.xml><?xml version="1.0" encoding="utf-8"?>
<a:theme xmlns:a="http://schemas.openxmlformats.org/drawingml/2006/main" name="2_5-50033_TR23_BO_CT_Template">
  <a:themeElements>
    <a:clrScheme name="TR23">
      <a:dk1>
        <a:srgbClr val="505050"/>
      </a:dk1>
      <a:lt1>
        <a:srgbClr val="FFFFFF"/>
      </a:lt1>
      <a:dk2>
        <a:srgbClr val="0078D7"/>
      </a:dk2>
      <a:lt2>
        <a:srgbClr val="F8F8F8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002050"/>
      </a:hlink>
      <a:folHlink>
        <a:srgbClr val="002050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3_BO_CT_Template.potx [Read-Only]" id="{1530D5E8-20CA-4CF3-8212-8BA00317751E}" vid="{ACFB5AF2-7E03-452D-A202-569D7361D7E7}"/>
    </a:ext>
  </a:extLst>
</a:theme>
</file>

<file path=ppt/theme/theme16.xml><?xml version="1.0" encoding="utf-8"?>
<a:theme xmlns:a="http://schemas.openxmlformats.org/drawingml/2006/main" name="Azure 1">
  <a:themeElements>
    <a:clrScheme name="Custom 3">
      <a:dk1>
        <a:srgbClr val="000000"/>
      </a:dk1>
      <a:lt1>
        <a:srgbClr val="FFFFFF"/>
      </a:lt1>
      <a:dk2>
        <a:srgbClr val="0078D3"/>
      </a:dk2>
      <a:lt2>
        <a:srgbClr val="FFFFFF"/>
      </a:lt2>
      <a:accent1>
        <a:srgbClr val="EBEBEB"/>
      </a:accent1>
      <a:accent2>
        <a:srgbClr val="75757A"/>
      </a:accent2>
      <a:accent3>
        <a:srgbClr val="000041"/>
      </a:accent3>
      <a:accent4>
        <a:srgbClr val="0078D3"/>
      </a:accent4>
      <a:accent5>
        <a:srgbClr val="50E6FF"/>
      </a:accent5>
      <a:accent6>
        <a:srgbClr val="EBEBEB"/>
      </a:accent6>
      <a:hlink>
        <a:srgbClr val="0078D4"/>
      </a:hlink>
      <a:folHlink>
        <a:srgbClr val="0078D4"/>
      </a:folHlink>
    </a:clrScheme>
    <a:fontScheme name="Dynamics 36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65B3B778-14F5-8246-A9D9-04A8D8071A60}" vid="{C9E98E11-734C-F14F-ADE3-6075149E5497}"/>
    </a:ext>
  </a:extLst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.potx" id="{C7000453-3526-4386-9DA2-46B29A4A4A92}" vid="{534B2013-2CEB-4777-BD7E-60DC2D4FD2E8}"/>
    </a:ext>
  </a:extLst>
</a:theme>
</file>

<file path=ppt/theme/theme3.xml><?xml version="1.0" encoding="utf-8"?>
<a:theme xmlns:a="http://schemas.openxmlformats.org/drawingml/2006/main" name="WHITE TEMPLATE">
  <a:themeElements>
    <a:clrScheme name="ST_Illustration_White_Blue">
      <a:dk1>
        <a:srgbClr val="1A1A1A"/>
      </a:dk1>
      <a:lt1>
        <a:srgbClr val="FFFFFF"/>
      </a:lt1>
      <a:dk2>
        <a:srgbClr val="0D0D0D"/>
      </a:dk2>
      <a:lt2>
        <a:srgbClr val="D2D2D2"/>
      </a:lt2>
      <a:accent1>
        <a:srgbClr val="0078D4"/>
      </a:accent1>
      <a:accent2>
        <a:srgbClr val="002050"/>
      </a:accent2>
      <a:accent3>
        <a:srgbClr val="107C10"/>
      </a:accent3>
      <a:accent4>
        <a:srgbClr val="D73B01"/>
      </a:accent4>
      <a:accent5>
        <a:srgbClr val="737373"/>
      </a:accent5>
      <a:accent6>
        <a:srgbClr val="E6E6E6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Illustration_2018_Productivity_005.potx" id="{AA606812-F977-4A00-980C-EC807AB967DA}" vid="{D86BCC24-D797-4BAA-8B11-B4CE606927A1}"/>
    </a:ext>
  </a:extLst>
</a:theme>
</file>

<file path=ppt/theme/theme4.xml><?xml version="1.0" encoding="utf-8"?>
<a:theme xmlns:a="http://schemas.openxmlformats.org/drawingml/2006/main" name="Microsoft 365 PPT Template - 2018">
  <a:themeElements>
    <a:clrScheme name="Microsoft 365">
      <a:dk1>
        <a:srgbClr val="282828"/>
      </a:dk1>
      <a:lt1>
        <a:srgbClr val="FFFFFF"/>
      </a:lt1>
      <a:dk2>
        <a:srgbClr val="282828"/>
      </a:dk2>
      <a:lt2>
        <a:srgbClr val="FFFFFF"/>
      </a:lt2>
      <a:accent1>
        <a:srgbClr val="0078D7"/>
      </a:accent1>
      <a:accent2>
        <a:srgbClr val="002050"/>
      </a:accent2>
      <a:accent3>
        <a:srgbClr val="939393"/>
      </a:accent3>
      <a:accent4>
        <a:srgbClr val="00BCF2"/>
      </a:accent4>
      <a:accent5>
        <a:srgbClr val="6C6E6C"/>
      </a:accent5>
      <a:accent6>
        <a:srgbClr val="2E2F2E"/>
      </a:accent6>
      <a:hlink>
        <a:srgbClr val="0078D7"/>
      </a:hlink>
      <a:folHlink>
        <a:srgbClr val="0078D7"/>
      </a:folHlink>
    </a:clrScheme>
    <a:fontScheme name="Custom 2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73EB1BD4-8DD0-42C8-81CF-E8FE58869E13}" vid="{7127501C-7AE5-48D0-B874-F536F38BF7C1}"/>
    </a:ext>
  </a:extLst>
</a:theme>
</file>

<file path=ppt/theme/theme5.xml><?xml version="1.0" encoding="utf-8"?>
<a:theme xmlns:a="http://schemas.openxmlformats.org/drawingml/2006/main" name="2_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.potx" id="{C7000453-3526-4386-9DA2-46B29A4A4A92}" vid="{534B2013-2CEB-4777-BD7E-60DC2D4FD2E8}"/>
    </a:ext>
  </a:extLst>
</a:theme>
</file>

<file path=ppt/theme/theme6.xml><?xml version="1.0" encoding="utf-8"?>
<a:theme xmlns:a="http://schemas.openxmlformats.org/drawingml/2006/main" name="3_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_v03" id="{F4E7AC97-C3BC-4DAC-B23A-C0D4DABB7CB5}" vid="{F1FB81AB-2433-4475-9273-C3E09225E34D}"/>
    </a:ext>
  </a:extLst>
</a:theme>
</file>

<file path=ppt/theme/theme7.xml><?xml version="1.0" encoding="utf-8"?>
<a:theme xmlns:a="http://schemas.openxmlformats.org/drawingml/2006/main" name="4_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.potx" id="{C7000453-3526-4386-9DA2-46B29A4A4A92}" vid="{534B2013-2CEB-4777-BD7E-60DC2D4FD2E8}"/>
    </a:ext>
  </a:extLst>
</a:theme>
</file>

<file path=ppt/theme/theme8.xml><?xml version="1.0" encoding="utf-8"?>
<a:theme xmlns:a="http://schemas.openxmlformats.org/drawingml/2006/main" name="1_WHITE TEMPLATE">
  <a:themeElements>
    <a:clrScheme name="2016 - Template BLUE, light back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B4009E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01.potx" id="{85FDBBA0-EF23-4239-B210-6D16F248693D}" vid="{CD38365E-7401-4665-AF36-7000951ED6D4}"/>
    </a:ext>
  </a:extLst>
</a:theme>
</file>

<file path=ppt/theme/theme9.xml><?xml version="1.0" encoding="utf-8"?>
<a:theme xmlns:a="http://schemas.openxmlformats.org/drawingml/2006/main" name="5_Microsoft 365 PPT Template - 2018">
  <a:themeElements>
    <a:clrScheme name="Custom 4">
      <a:dk1>
        <a:srgbClr val="282828"/>
      </a:dk1>
      <a:lt1>
        <a:srgbClr val="FFFFFF"/>
      </a:lt1>
      <a:dk2>
        <a:srgbClr val="282828"/>
      </a:dk2>
      <a:lt2>
        <a:srgbClr val="FFFFFF"/>
      </a:lt2>
      <a:accent1>
        <a:srgbClr val="0078D4"/>
      </a:accent1>
      <a:accent2>
        <a:srgbClr val="002050"/>
      </a:accent2>
      <a:accent3>
        <a:srgbClr val="939393"/>
      </a:accent3>
      <a:accent4>
        <a:srgbClr val="00BCF2"/>
      </a:accent4>
      <a:accent5>
        <a:srgbClr val="6C6E6C"/>
      </a:accent5>
      <a:accent6>
        <a:srgbClr val="2E2F2E"/>
      </a:accent6>
      <a:hlink>
        <a:srgbClr val="0078D4"/>
      </a:hlink>
      <a:folHlink>
        <a:srgbClr val="0078D4"/>
      </a:folHlink>
    </a:clrScheme>
    <a:fontScheme name="Custom 2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 365 PPT Template 2018_2" id="{01A7FB2A-7862-441E-89D5-C3EE05893CAC}" vid="{DEC62A46-47F5-4825-899D-4E8B117FF749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E8CAF3553339444B77BFF265E1C0432" ma:contentTypeVersion="8" ma:contentTypeDescription="Create a new document." ma:contentTypeScope="" ma:versionID="626ada6fdc2a85547189a7d24eebbf8f">
  <xsd:schema xmlns:xsd="http://www.w3.org/2001/XMLSchema" xmlns:xs="http://www.w3.org/2001/XMLSchema" xmlns:p="http://schemas.microsoft.com/office/2006/metadata/properties" xmlns:ns2="2c809d3d-ac93-40e9-945e-ff524420fbcc" targetNamespace="http://schemas.microsoft.com/office/2006/metadata/properties" ma:root="true" ma:fieldsID="2bc87d15a34a609199946b283e7ff2e5" ns2:_="">
    <xsd:import namespace="2c809d3d-ac93-40e9-945e-ff524420fbc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809d3d-ac93-40e9-945e-ff524420fb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6E35D12-A30C-4272-9830-54126CF4355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0C6E9EA-4652-4982-8F68-1A2159C7A6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c809d3d-ac93-40e9-945e-ff524420fbc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A110148-91F4-447D-80FD-CCA244BFFFF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crosoft_Ignite_2018_16x9_Breakout_Template_v03</Template>
  <TotalTime>0</TotalTime>
  <Words>3021</Words>
  <Application>Microsoft Office PowerPoint</Application>
  <PresentationFormat>Widescreen</PresentationFormat>
  <Paragraphs>271</Paragraphs>
  <Slides>30</Slides>
  <Notes>3</Notes>
  <HiddenSlides>1</HiddenSlides>
  <MMClips>2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60" baseType="lpstr">
      <vt:lpstr>Arial</vt:lpstr>
      <vt:lpstr>Arial Nova</vt:lpstr>
      <vt:lpstr>Calibri</vt:lpstr>
      <vt:lpstr>Consolas</vt:lpstr>
      <vt:lpstr>Courier New</vt:lpstr>
      <vt:lpstr>Lucida Console</vt:lpstr>
      <vt:lpstr>Segoe Light</vt:lpstr>
      <vt:lpstr>Segoe Pro Light</vt:lpstr>
      <vt:lpstr>Segoe UI</vt:lpstr>
      <vt:lpstr>Segoe UI Light</vt:lpstr>
      <vt:lpstr>Segoe UI Semibold</vt:lpstr>
      <vt:lpstr>Segoe UI Semilight</vt:lpstr>
      <vt:lpstr>Wingdings</vt:lpstr>
      <vt:lpstr>5-50203_Microsoft_Ignite_Template</vt:lpstr>
      <vt:lpstr>1_5-50203_Microsoft_Ignite_Template</vt:lpstr>
      <vt:lpstr>WHITE TEMPLATE</vt:lpstr>
      <vt:lpstr>Microsoft 365 PPT Template - 2018</vt:lpstr>
      <vt:lpstr>2_5-50203_Microsoft_Ignite_Template</vt:lpstr>
      <vt:lpstr>3_5-50203_Microsoft_Ignite_Template</vt:lpstr>
      <vt:lpstr>4_5-50203_Microsoft_Ignite_Template</vt:lpstr>
      <vt:lpstr>1_WHITE TEMPLATE</vt:lpstr>
      <vt:lpstr>5_Microsoft 365 PPT Template - 2018</vt:lpstr>
      <vt:lpstr>1_Microsoft 365 PPT Template - 2018</vt:lpstr>
      <vt:lpstr>1_5-51011_Government_Leaders_Cloud_Forum</vt:lpstr>
      <vt:lpstr>2_WHITE TEMPLATE</vt:lpstr>
      <vt:lpstr>MGXFY15 GS Template - white layout</vt:lpstr>
      <vt:lpstr>1_5-30660_TR21_BO_CT_Template</vt:lpstr>
      <vt:lpstr>2_5-50033_TR23_BO_CT_Template</vt:lpstr>
      <vt:lpstr>Azure 1</vt:lpstr>
      <vt:lpstr>think-cell Slide</vt:lpstr>
      <vt:lpstr>WVD POC Notes From the Field</vt:lpstr>
      <vt:lpstr>WVD Notes from the Field – POC Prep</vt:lpstr>
      <vt:lpstr>WVD Notes from the Field – PoC Success List</vt:lpstr>
      <vt:lpstr>Deploy Common Names across OU’s, GPO’s, Resource Groups, HostPools &amp; VM Names in AD</vt:lpstr>
      <vt:lpstr>Allow Office Activation to Roam w/User</vt:lpstr>
      <vt:lpstr>Plan to build a Gold Image VM from Scratch – Choose the Correct OS</vt:lpstr>
      <vt:lpstr>Gold Image Build - Customize the VM</vt:lpstr>
      <vt:lpstr>Gold Image Build - Turn the VM Into an Azure Image</vt:lpstr>
      <vt:lpstr>Profile IOPS Planning Guidance</vt:lpstr>
      <vt:lpstr>WVD Best Practices</vt:lpstr>
      <vt:lpstr>Short List of WVD Best Practices (1 of 3)</vt:lpstr>
      <vt:lpstr>Short List of WVD Best Practices (2 of 3)</vt:lpstr>
      <vt:lpstr>PowerPoint Presentation</vt:lpstr>
      <vt:lpstr>Short List of WVD Best Practices (3 of 3)</vt:lpstr>
      <vt:lpstr>Sustainment / Refinement Steps</vt:lpstr>
      <vt:lpstr>Create a Custom URL for your WVD Deployment</vt:lpstr>
      <vt:lpstr>Build a Custom WVD Deployment Template (raw)</vt:lpstr>
      <vt:lpstr>Adjust Idle Session Logoff</vt:lpstr>
      <vt:lpstr>Scale based on schedule and load</vt:lpstr>
      <vt:lpstr>Scaling Windows Virtual Desktop with Azure Automation</vt:lpstr>
      <vt:lpstr>Scaling up and Down and/or Adding Hosts to WVD</vt:lpstr>
      <vt:lpstr>Optimizing load balancing</vt:lpstr>
      <vt:lpstr>Breadth Mode Deployments: Set-RdsHostPool [-TenantName] &lt;string&gt; [-Name] &lt;string&gt; [-BreadthFirstLoadBalancer] [-MaxSessionlimit &lt;int&gt;]    </vt:lpstr>
      <vt:lpstr>PowerPoint Presentation</vt:lpstr>
      <vt:lpstr>Swapping in a New Gold Image for a Host Pool</vt:lpstr>
      <vt:lpstr>Make the banner for 'Access local resources' go away... </vt:lpstr>
      <vt:lpstr>Set WVD VM Time Zone via GPO &amp; Disable AAD Joins</vt:lpstr>
      <vt:lpstr>Allow iOS and macOS to log in with email (rather than the full URL)</vt:lpstr>
      <vt:lpstr>Optimizing Costs – When to Use Reserved Instances</vt:lpstr>
      <vt:lpstr>WVD V2 Is Coming… (May 2020)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9-02-09T18:46:07Z</dcterms:created>
  <dcterms:modified xsi:type="dcterms:W3CDTF">2020-04-28T07:28:4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rmcbrine@microsoft.com</vt:lpwstr>
  </property>
  <property fmtid="{D5CDD505-2E9C-101B-9397-08002B2CF9AE}" pid="5" name="MSIP_Label_f42aa342-8706-4288-bd11-ebb85995028c_SetDate">
    <vt:lpwstr>2019-05-15T12:52:46.2180739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ActionId">
    <vt:lpwstr>7cd33ad4-f459-47d5-a630-a3514bae960a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  <property fmtid="{D5CDD505-2E9C-101B-9397-08002B2CF9AE}" pid="11" name="ContentTypeId">
    <vt:lpwstr>0x0101006E8CAF3553339444B77BFF265E1C0432</vt:lpwstr>
  </property>
</Properties>
</file>